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2.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3.xml" ContentType="application/vnd.openxmlformats-officedocument.them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4.xml" ContentType="application/vnd.openxmlformats-officedocument.them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heme/theme5.xml" ContentType="application/vnd.openxmlformats-officedocument.theme+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21.xml" ContentType="application/vnd.openxmlformats-officedocument.presentationml.tags+xml"/>
  <Override PartName="/ppt/notesSlides/notesSlide13.xml" ContentType="application/vnd.openxmlformats-officedocument.presentationml.notesSlide+xml"/>
  <Override PartName="/ppt/tags/tag322.xml" ContentType="application/vnd.openxmlformats-officedocument.presentationml.tags+xml"/>
  <Override PartName="/ppt/notesSlides/notesSlide14.xml" ContentType="application/vnd.openxmlformats-officedocument.presentationml.notesSlide+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48" r:id="rId5"/>
    <p:sldMasterId id="2147484089" r:id="rId6"/>
    <p:sldMasterId id="2147484190" r:id="rId7"/>
    <p:sldMasterId id="2147484291" r:id="rId8"/>
  </p:sldMasterIdLst>
  <p:notesMasterIdLst>
    <p:notesMasterId r:id="rId35"/>
  </p:notesMasterIdLst>
  <p:sldIdLst>
    <p:sldId id="369" r:id="rId9"/>
    <p:sldId id="2147470322" r:id="rId10"/>
    <p:sldId id="2147478859" r:id="rId11"/>
    <p:sldId id="2113417195" r:id="rId12"/>
    <p:sldId id="2113417196" r:id="rId13"/>
    <p:sldId id="2113417185" r:id="rId14"/>
    <p:sldId id="2829" r:id="rId15"/>
    <p:sldId id="661" r:id="rId16"/>
    <p:sldId id="2147478879" r:id="rId17"/>
    <p:sldId id="2113417201" r:id="rId18"/>
    <p:sldId id="2147478881" r:id="rId19"/>
    <p:sldId id="618" r:id="rId20"/>
    <p:sldId id="2147478878" r:id="rId21"/>
    <p:sldId id="417" r:id="rId22"/>
    <p:sldId id="2147478877" r:id="rId23"/>
    <p:sldId id="2126986363" r:id="rId24"/>
    <p:sldId id="2147478868" r:id="rId25"/>
    <p:sldId id="2147478869" r:id="rId26"/>
    <p:sldId id="2126986366" r:id="rId27"/>
    <p:sldId id="2147478867" r:id="rId28"/>
    <p:sldId id="2147478880" r:id="rId29"/>
    <p:sldId id="2113417186" r:id="rId30"/>
    <p:sldId id="2113417189" r:id="rId31"/>
    <p:sldId id="4419" r:id="rId32"/>
    <p:sldId id="2113417190" r:id="rId33"/>
    <p:sldId id="371" r:id="rId34"/>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96" userDrawn="1">
          <p15:clr>
            <a:srgbClr val="A4A3A4"/>
          </p15:clr>
        </p15:guide>
        <p15:guide id="2" pos="495" userDrawn="1">
          <p15:clr>
            <a:srgbClr val="A4A3A4"/>
          </p15:clr>
        </p15:guide>
        <p15:guide id="3" pos="7185" userDrawn="1">
          <p15:clr>
            <a:srgbClr val="A4A3A4"/>
          </p15:clr>
        </p15:guide>
        <p15:guide id="4" orient="horz" pos="3917"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8989F05-222C-51EF-4DC8-8661C47312AD}" name="Mahoney, Dave" initials="DM" userId="S::E091573@mcgladrey.rsm.net::060085b6-0c45-4917-9752-212b17667795" providerId="AD"/>
  <p188:author id="{F74F1FA7-1CF6-1392-FE5A-6A84A9C27CDA}" name="Gabriel, Daniel" initials="GD" userId="S::e076250@mcgladrey.rsm.net::641aaec0-9dd4-44ff-880f-491709dba85e"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C38A09-5551-4B25-8EA3-8B8573918790}" v="3" dt="2024-06-26T12:01:26.473"/>
  </p1510:revLst>
</p1510:revInfo>
</file>

<file path=ppt/tableStyles.xml><?xml version="1.0" encoding="utf-8"?>
<a:tblStyleLst xmlns:a="http://schemas.openxmlformats.org/drawingml/2006/main" def="{5C22544A-7EE6-4342-B048-85BDC9FD1C3A}">
  <a:tblStyle styleId="{F00E33DE-B108-42B1-86B7-2A99E0A285B7}" styleName="f00e33de-b108-42b1-86b7-2a99e0a285b7">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Style>
        <a:tcBdr/>
        <a:fill>
          <a:solidFill>
            <a:srgbClr val="D8EBD6"/>
          </a:solidFill>
        </a:fill>
      </a:tcStyle>
    </a:band2H>
    <a:band1V>
      <a:tcStyle>
        <a:tcBdr/>
      </a:tcStyle>
    </a:band1V>
    <a:band2V>
      <a:tcStyle>
        <a:tcBdr/>
      </a:tcStyle>
    </a:band2V>
    <a:lastCol>
      <a:tcStyle>
        <a:tcBdr/>
      </a:tcStyle>
    </a:lastCol>
    <a:firstCol>
      <a:tcTxStyle b="on">
        <a:srgbClr val="FFFFFF"/>
      </a:tcTxStyle>
      <a:tcStyle>
        <a:tcBdr/>
        <a:fill>
          <a:solidFill>
            <a:srgbClr val="3F9C35"/>
          </a:solidFill>
        </a:fill>
      </a:tcStyle>
    </a:firstCol>
    <a:lastRow>
      <a:tcTxStyle b="on">
        <a:srgbClr val="3F9C35"/>
      </a:tcTxStyle>
      <a:tcStyle>
        <a:tcBdr>
          <a:top>
            <a:ln w="6350" cmpd="sng">
              <a:solidFill>
                <a:srgbClr val="3F9C35"/>
              </a:solidFill>
            </a:ln>
          </a:top>
        </a:tcBdr>
      </a:tcStyle>
    </a:lastRow>
    <a:seCell>
      <a:tcStyle>
        <a:tcBdr/>
      </a:tcStyle>
    </a:seCell>
    <a:swCell>
      <a:tcTxStyle b="on">
        <a:srgbClr val="FFFFFF"/>
      </a:tcTxStyle>
      <a:tcStyle>
        <a:tcBdr/>
      </a:tcStyle>
    </a:swCell>
    <a:firstRow>
      <a:tcTxStyle b="on">
        <a:srgbClr val="FFFFFF"/>
      </a:tcTxStyle>
      <a:tcStyle>
        <a:tcBdr>
          <a:top>
            <a:ln>
              <a:noFill/>
            </a:ln>
          </a:top>
          <a:bottom>
            <a:ln>
              <a:noFill/>
            </a:ln>
          </a:bottom>
        </a:tcBdr>
        <a:fill>
          <a:solidFill>
            <a:srgbClr val="3F9C35"/>
          </a:solidFill>
        </a:fill>
      </a:tcStyle>
    </a:firstRow>
    <a:neCell>
      <a:tcStyle>
        <a:tcBdr/>
      </a:tcStyle>
    </a:neCell>
    <a:nwCell>
      <a:tcStyle>
        <a:tcBdr/>
      </a:tcStyle>
    </a:nwCell>
  </a:tblStyle>
  <a:tblStyle styleId="{C025DB24-0B92-4D11-B9EE-D6AD37E14127}" styleName="c025db24-0b92-4d11-b9ee-d6ad37e14127">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Style>
        <a:tcBdr/>
        <a:fill>
          <a:solidFill>
            <a:srgbClr val="E7E7E8"/>
          </a:solidFill>
        </a:fill>
      </a:tcStyle>
    </a:band2H>
    <a:band1V>
      <a:tcStyle>
        <a:tcBdr/>
      </a:tcStyle>
    </a:band1V>
    <a:band2V>
      <a:tcStyle>
        <a:tcBdr/>
      </a:tcStyle>
    </a:band2V>
    <a:lastCol>
      <a:tcTxStyle b="on">
        <a:srgbClr val="63666A"/>
      </a:tcTxStyle>
      <a:tcStyle>
        <a:tcBdr/>
      </a:tcStyle>
    </a:lastCol>
    <a:firstCol>
      <a:tcTxStyle b="on">
        <a:srgbClr val="009CDE"/>
      </a:tcTxStyle>
      <a:tcStyle>
        <a:tcBdr/>
      </a:tcStyle>
    </a:firstCol>
    <a:lastRow>
      <a:tcTxStyle b="on">
        <a:srgbClr val="009CDE"/>
      </a:tcTxStyle>
      <a:tcStyle>
        <a:tcBdr>
          <a:top>
            <a:ln w="6350" cmpd="sng">
              <a:solidFill>
                <a:srgbClr val="009CDE"/>
              </a:solidFill>
            </a:ln>
          </a:top>
        </a:tcBdr>
      </a:tcStyle>
    </a:lastRow>
    <a:seCell>
      <a:tcStyle>
        <a:tcBdr/>
      </a:tcStyle>
    </a:seCell>
    <a:swCell>
      <a:tcStyle>
        <a:tcBdr/>
      </a:tcStyle>
    </a:swCell>
    <a:firstRow>
      <a:tcTxStyle b="on">
        <a:srgbClr val="FFFFFF"/>
      </a:tcTxStyle>
      <a:tcStyle>
        <a:tcBdr>
          <a:top>
            <a:ln>
              <a:noFill/>
            </a:ln>
          </a:top>
          <a:bottom>
            <a:ln>
              <a:noFill/>
            </a:ln>
          </a:bottom>
        </a:tcBdr>
        <a:fill>
          <a:solidFill>
            <a:srgbClr val="009CDE"/>
          </a:solidFill>
        </a:fill>
      </a:tcStyle>
    </a:firstRow>
    <a:neCell>
      <a:tcStyle>
        <a:tcBdr/>
      </a:tcStyle>
    </a:neCell>
    <a:nwCell>
      <a:tcStyle>
        <a:tcBdr/>
      </a:tcStyle>
    </a:nwCell>
  </a:tblStyle>
  <a:tblStyle styleId="{903E5EFF-F953-4903-8252-9029DD030F80}" styleName="903e5eff-f953-4903-8252-9029dd030f80">
    <a:tblBg>
      <a:fill>
        <a:noFill/>
      </a:fill>
    </a:tblBg>
    <a:wholeTbl>
      <a:tcTxStyle b="off">
        <a:srgbClr val="63666A"/>
      </a:tcTxStyle>
      <a:tcStyle>
        <a:tcBdr>
          <a:left>
            <a:ln>
              <a:noFill/>
            </a:ln>
          </a:left>
          <a:right>
            <a:ln>
              <a:noFill/>
            </a:ln>
          </a:right>
          <a:top>
            <a:ln>
              <a:noFill/>
            </a:ln>
          </a:top>
          <a:bottom>
            <a:ln>
              <a:noFill/>
            </a:ln>
          </a:bottom>
          <a:insideH>
            <a:ln w="12700" cmpd="sng">
              <a:solidFill>
                <a:srgbClr val="00153D"/>
              </a:solidFill>
            </a:ln>
          </a:insideH>
          <a:insideV>
            <a:ln w="12700" cmpd="sng">
              <a:solidFill>
                <a:srgbClr val="00153D"/>
              </a:solid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left>
            <a:ln w="12700" cmpd="sng">
              <a:solidFill>
                <a:srgbClr val="00153D"/>
              </a:solidFill>
            </a:ln>
          </a:left>
          <a:insideH>
            <a:ln w="38100" cmpd="sng">
              <a:solidFill>
                <a:srgbClr val="FFFFFF"/>
              </a:solidFill>
            </a:ln>
          </a:insideH>
        </a:tcBdr>
        <a:fill>
          <a:solidFill>
            <a:srgbClr val="FFFFFF"/>
          </a:solidFill>
        </a:fill>
      </a:tcStyle>
    </a:lastCol>
    <a:firstCol>
      <a:tcTxStyle b="on">
        <a:srgbClr val="FFFFFF"/>
      </a:tcTxStyle>
      <a:tcStyle>
        <a:tcBdr>
          <a:left>
            <a:ln w="12700" cmpd="sng">
              <a:solidFill>
                <a:srgbClr val="FFFFFF"/>
              </a:solidFill>
            </a:ln>
          </a:left>
          <a:right>
            <a:ln w="12700" cmpd="sng">
              <a:solidFill>
                <a:srgbClr val="FFFFFF"/>
              </a:solidFill>
            </a:ln>
          </a:right>
          <a:insideH>
            <a:ln w="38100" cmpd="sng">
              <a:solidFill>
                <a:srgbClr val="FFFFFF"/>
              </a:solidFill>
            </a:ln>
          </a:insideH>
        </a:tcBdr>
        <a:fill>
          <a:solidFill>
            <a:srgbClr val="009CDE"/>
          </a:solidFill>
        </a:fill>
      </a:tcStyle>
    </a:firstCol>
    <a:lastRow>
      <a:tcTxStyle b="on">
        <a:srgbClr val="00153D"/>
      </a:tcTxStyle>
      <a:tcStyle>
        <a:tcBdr>
          <a:top>
            <a:ln w="6350" cmpd="sng">
              <a:solidFill>
                <a:srgbClr val="00153D"/>
              </a:solidFill>
            </a:ln>
          </a:top>
          <a:bottom>
            <a:ln w="38100" cmpd="sng">
              <a:solidFill>
                <a:srgbClr val="FFFFFF"/>
              </a:solidFill>
            </a:ln>
          </a:bottom>
        </a:tcBdr>
        <a:fill>
          <a:solidFill>
            <a:srgbClr val="FFFFFF"/>
          </a:solidFill>
        </a:fill>
      </a:tcStyle>
    </a:lastRow>
    <a:seCell>
      <a:tcTxStyle b="on">
        <a:srgbClr val="00153D"/>
      </a:tcTxStyle>
      <a:tcStyle>
        <a:tcBdr>
          <a:top>
            <a:ln w="12700" cmpd="sng">
              <a:solidFill>
                <a:srgbClr val="00153D"/>
              </a:solidFill>
            </a:ln>
          </a:top>
          <a:bottom>
            <a:ln>
              <a:noFill/>
            </a:ln>
          </a:bottom>
        </a:tcBdr>
        <a:fill>
          <a:solidFill>
            <a:srgbClr val="FFFFFF"/>
          </a:solidFill>
        </a:fill>
      </a:tcStyle>
    </a:seCell>
    <a:swCell>
      <a:tcTxStyle b="on">
        <a:srgbClr val="FFFFFF"/>
      </a:tcTxStyle>
      <a:tcStyle>
        <a:tcBdr>
          <a:top>
            <a:ln w="12700" cmpd="sng">
              <a:solidFill>
                <a:srgbClr val="FFFFFF"/>
              </a:solidFill>
            </a:ln>
          </a:top>
        </a:tcBdr>
        <a:fill>
          <a:solidFill>
            <a:srgbClr val="009CDE"/>
          </a:solidFill>
        </a:fill>
      </a:tcStyle>
    </a:swCell>
    <a:firstRow>
      <a:tcTxStyle b="on">
        <a:srgbClr val="FFFFFF"/>
      </a:tcTxStyle>
      <a:tcStyle>
        <a:tcBdr>
          <a:top>
            <a:ln w="12700" cmpd="sng">
              <a:solidFill>
                <a:srgbClr val="FFFFFF"/>
              </a:solidFill>
            </a:ln>
          </a:top>
          <a:bottom>
            <a:ln w="38100" cmpd="sng">
              <a:solidFill>
                <a:srgbClr val="FFFFFF"/>
              </a:solidFill>
            </a:ln>
          </a:bottom>
          <a:insideV>
            <a:ln w="12700" cmpd="sng">
              <a:solidFill>
                <a:srgbClr val="FFFFFF"/>
              </a:solidFill>
            </a:ln>
          </a:insideV>
        </a:tcBdr>
        <a:fill>
          <a:solidFill>
            <a:srgbClr val="00153D"/>
          </a:solidFill>
        </a:fill>
      </a:tcStyle>
    </a:firstRow>
    <a:neCell>
      <a:tcTxStyle b="on">
        <a:srgbClr val="FFFFFF"/>
      </a:tcTxStyle>
      <a:tcStyle>
        <a:tcBdr>
          <a:left>
            <a:ln w="12700" cmpd="sng">
              <a:solidFill>
                <a:srgbClr val="FFFFFF"/>
              </a:solidFill>
            </a:ln>
          </a:left>
          <a:right>
            <a:ln w="12700" cmpd="sng">
              <a:solidFill>
                <a:srgbClr val="FFFFFF"/>
              </a:solidFill>
            </a:ln>
          </a:right>
        </a:tcBdr>
        <a:fill>
          <a:solidFill>
            <a:srgbClr val="00153D"/>
          </a:solidFill>
        </a:fill>
      </a:tcStyle>
    </a:neCell>
    <a:nwCell>
      <a:tcTxStyle b="on">
        <a:srgbClr val="FFFFFF"/>
      </a:tcTxStyle>
      <a:tcStyle>
        <a:tcBdr>
          <a:left>
            <a:ln>
              <a:noFill/>
            </a:ln>
          </a:left>
          <a:right>
            <a:ln>
              <a:noFill/>
            </a:ln>
          </a:right>
          <a:top>
            <a:ln>
              <a:noFill/>
            </a:ln>
          </a:top>
          <a:bottom>
            <a:ln>
              <a:noFill/>
            </a:ln>
          </a:bottom>
        </a:tcBdr>
        <a:fill>
          <a:noFill/>
        </a:fill>
      </a:tcStyle>
    </a:nwCell>
  </a:tblStyle>
  <a:tblStyle styleId="{3E4F4FC5-3449-4122-ACA0-B496D124FBF5}" styleName="3e4f4fc5-3449-4122-aca0-b496d124fbf5">
    <a:tblBg>
      <a:fill>
        <a:noFill/>
      </a:fill>
    </a:tblBg>
    <a:wholeTbl>
      <a:tcTxStyle b="off">
        <a:srgbClr val="63666A"/>
      </a:tcTxStyle>
      <a:tcStyle>
        <a:tcBdr>
          <a:left>
            <a:ln>
              <a:noFill/>
            </a:ln>
          </a:left>
          <a:right>
            <a:ln>
              <a:noFill/>
            </a:ln>
          </a:right>
          <a:top>
            <a:ln>
              <a:noFill/>
            </a:ln>
          </a:top>
          <a:bottom>
            <a:ln>
              <a:noFill/>
            </a:ln>
          </a:bottom>
          <a:insideH>
            <a:ln w="12700" cmpd="sng">
              <a:solidFill>
                <a:srgbClr val="00153D"/>
              </a:solidFill>
            </a:ln>
          </a:insideH>
          <a:insideV>
            <a:ln w="12700" cmpd="sng">
              <a:solidFill>
                <a:srgbClr val="00153D"/>
              </a:solid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left>
            <a:ln w="12700" cmpd="sng">
              <a:solidFill>
                <a:srgbClr val="00153D"/>
              </a:solidFill>
            </a:ln>
          </a:left>
          <a:insideH>
            <a:ln w="38100" cmpd="sng">
              <a:solidFill>
                <a:srgbClr val="FFFFFF"/>
              </a:solidFill>
            </a:ln>
          </a:insideH>
        </a:tcBdr>
        <a:fill>
          <a:solidFill>
            <a:srgbClr val="FFFFFF"/>
          </a:solidFill>
        </a:fill>
      </a:tcStyle>
    </a:lastCol>
    <a:firstCol>
      <a:tcTxStyle b="on">
        <a:srgbClr val="FFFFFF"/>
      </a:tcTxStyle>
      <a:tcStyle>
        <a:tcBdr>
          <a:insideH>
            <a:ln w="12700" cmpd="sng">
              <a:solidFill>
                <a:srgbClr val="FFFFFF"/>
              </a:solidFill>
            </a:ln>
          </a:insideH>
        </a:tcBdr>
        <a:fill>
          <a:solidFill>
            <a:srgbClr val="3F9C35"/>
          </a:solidFill>
        </a:fill>
      </a:tcStyle>
    </a:firstCol>
    <a:lastRow>
      <a:tcTxStyle b="on">
        <a:srgbClr val="00153D"/>
      </a:tcTxStyle>
      <a:tcStyle>
        <a:tcBdr>
          <a:top>
            <a:ln w="6350" cmpd="sng">
              <a:solidFill>
                <a:srgbClr val="00153D"/>
              </a:solidFill>
            </a:ln>
          </a:top>
          <a:bottom>
            <a:ln w="38100" cmpd="sng">
              <a:solidFill>
                <a:srgbClr val="FFFFFF"/>
              </a:solidFill>
            </a:ln>
          </a:bottom>
        </a:tcBdr>
        <a:fill>
          <a:solidFill>
            <a:srgbClr val="FFFFFF"/>
          </a:solidFill>
        </a:fill>
      </a:tcStyle>
    </a:lastRow>
    <a:seCell>
      <a:tcTxStyle b="on">
        <a:srgbClr val="00153D"/>
      </a:tcTxStyle>
      <a:tcStyle>
        <a:tcBdr>
          <a:top>
            <a:ln w="12700" cmpd="sng">
              <a:solidFill>
                <a:srgbClr val="00153D"/>
              </a:solidFill>
            </a:ln>
          </a:top>
          <a:bottom>
            <a:ln>
              <a:noFill/>
            </a:ln>
          </a:bottom>
        </a:tcBdr>
        <a:fill>
          <a:solidFill>
            <a:srgbClr val="FFFFFF"/>
          </a:solidFill>
        </a:fill>
      </a:tcStyle>
    </a:seCell>
    <a:swCell>
      <a:tcTxStyle b="on">
        <a:srgbClr val="FFFFFF"/>
      </a:tcTxStyle>
      <a:tcStyle>
        <a:tcBdr>
          <a:top>
            <a:ln w="12700" cmpd="sng">
              <a:solidFill>
                <a:srgbClr val="FFFFFF"/>
              </a:solidFill>
            </a:ln>
          </a:top>
          <a:bottom>
            <a:ln w="12700" cmpd="sng">
              <a:solidFill>
                <a:srgbClr val="FFFFFF"/>
              </a:solidFill>
            </a:ln>
          </a:bottom>
        </a:tcBdr>
        <a:fill>
          <a:solidFill>
            <a:srgbClr val="3F9C35"/>
          </a:solidFill>
        </a:fill>
      </a:tcStyle>
    </a:swCell>
    <a:firstRow>
      <a:tcTxStyle b="on">
        <a:srgbClr val="FFFFFF"/>
      </a:tcTxStyle>
      <a:tcStyle>
        <a:tcBdr>
          <a:top>
            <a:ln w="12700" cmpd="sng">
              <a:solidFill>
                <a:srgbClr val="FFFFFF"/>
              </a:solidFill>
            </a:ln>
          </a:top>
          <a:bottom>
            <a:ln w="38100" cmpd="sng">
              <a:solidFill>
                <a:srgbClr val="FFFFFF"/>
              </a:solidFill>
            </a:ln>
          </a:bottom>
          <a:insideV>
            <a:ln w="12700" cmpd="sng">
              <a:solidFill>
                <a:srgbClr val="FFFFFF"/>
              </a:solidFill>
            </a:ln>
          </a:insideV>
        </a:tcBdr>
        <a:fill>
          <a:solidFill>
            <a:srgbClr val="00153D"/>
          </a:solidFill>
        </a:fill>
      </a:tcStyle>
    </a:firstRow>
    <a:neCell>
      <a:tcTxStyle b="on">
        <a:srgbClr val="FFFFFF"/>
      </a:tcTxStyle>
      <a:tcStyle>
        <a:tcBdr>
          <a:left>
            <a:ln w="12700" cmpd="sng">
              <a:solidFill>
                <a:srgbClr val="FFFFFF"/>
              </a:solidFill>
            </a:ln>
          </a:left>
          <a:right>
            <a:ln w="12700" cmpd="sng">
              <a:solidFill>
                <a:srgbClr val="FFFFFF"/>
              </a:solidFill>
            </a:ln>
          </a:right>
        </a:tcBdr>
        <a:fill>
          <a:solidFill>
            <a:srgbClr val="00153D"/>
          </a:solidFill>
        </a:fill>
      </a:tcStyle>
    </a:neCell>
    <a:nwCell>
      <a:tcTxStyle b="on">
        <a:srgbClr val="FFFFFF"/>
      </a:tcTxStyle>
      <a:tcStyle>
        <a:tcBdr>
          <a:top>
            <a:ln>
              <a:noFill/>
            </a:ln>
          </a:top>
        </a:tcBdr>
        <a:fill>
          <a:noFill/>
        </a:fill>
      </a:tcStyle>
    </a:nwCell>
  </a:tblStyle>
  <a:tblStyle styleId="{BF2433CC-F042-4F63-BD32-F02E9BB6268B}" styleName="bf2433cc-f042-4f63-bd32-f02e9bb6268b">
    <a:tblBg>
      <a:fill>
        <a:noFill/>
      </a:fill>
    </a:tblBg>
    <a:wholeTbl>
      <a:tcTxStyle b="off">
        <a:srgbClr val="63666A"/>
      </a:tcTxStyle>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1H>
      <a:tcStyle>
        <a:tcBdr/>
      </a:tcStyle>
    </a:band1H>
    <a:band2H>
      <a:tcStyle>
        <a:tcBdr/>
        <a:fill>
          <a:solidFill>
            <a:srgbClr val="CCCFCF"/>
          </a:solidFill>
        </a:fill>
      </a:tcStyle>
    </a:band2H>
    <a:band1V>
      <a:tcStyle>
        <a:tcBdr/>
      </a:tcStyle>
    </a:band1V>
    <a:band2V>
      <a:tcStyle>
        <a:tcBdr/>
      </a:tcStyle>
    </a:band2V>
    <a:lastCol>
      <a:tcTxStyle b="on">
        <a:srgbClr val="63666A"/>
      </a:tcTxStyle>
      <a:tcStyle>
        <a:tcBdr/>
      </a:tcStyle>
    </a:lastCol>
    <a:firstCol>
      <a:tcTxStyle b="on">
        <a:srgbClr val="63666A"/>
      </a:tcTxStyle>
      <a:tcStyle>
        <a:tcBdr/>
      </a:tcStyle>
    </a:firstCol>
    <a:lastRow>
      <a:tcTxStyle b="on">
        <a:srgbClr val="63666A"/>
      </a:tcTxStyle>
      <a:tcStyle>
        <a:tcBdr>
          <a:top>
            <a:ln>
              <a:noFill/>
            </a:ln>
          </a:top>
        </a:tcBdr>
      </a:tcStyle>
    </a:lastRow>
    <a:seCell>
      <a:tcStyle>
        <a:tcBdr/>
      </a:tcStyle>
    </a:seCell>
    <a:swCell>
      <a:tcStyle>
        <a:tcBdr/>
      </a:tcStyle>
    </a:swCell>
    <a:firstRow>
      <a:tcTxStyle b="on">
        <a:srgbClr val="63666A"/>
      </a:tcTxStyle>
      <a:tcStyle>
        <a:tcBdr>
          <a:bottom>
            <a:ln>
              <a:noFill/>
            </a:ln>
          </a:bottom>
        </a:tcBdr>
        <a:fill>
          <a:solidFill>
            <a:srgbClr val="E7E7E8"/>
          </a:solidFill>
        </a:fill>
      </a:tcStyle>
    </a:firstRow>
    <a:neCell>
      <a:tcStyle>
        <a:tcBdr/>
      </a:tcStyle>
    </a:neCell>
    <a:nwCell>
      <a:tcStyle>
        <a:tcBdr/>
      </a:tcStyle>
    </a:nwCell>
  </a:tblStyle>
  <a:tblStyle styleId="{1975F032-17A6-4AAC-814B-279F4251E274}" styleName="1975f032-17a6-4aac-814b-279f4251e274">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CF0D33D4-9A44-4E33-B5EB-433491ED7D98}" styleName="cf0d33d4-9a44-4e33-b5eb-433491ed7d98">
    <a:tblBg>
      <a:fill>
        <a:noFill/>
      </a:fill>
    </a:tblBg>
    <a:wholeTbl>
      <a:tcStyle>
        <a:tcBdr>
          <a:left>
            <a:ln>
              <a:noFill/>
            </a:ln>
          </a:left>
          <a:right>
            <a:ln>
              <a:noFill/>
            </a:ln>
          </a:right>
          <a:top>
            <a:ln>
              <a:noFill/>
            </a:ln>
          </a:top>
          <a:bottom>
            <a:ln>
              <a:noFill/>
            </a:ln>
          </a:bottom>
          <a:insideH>
            <a:ln w="38100" cmpd="sng">
              <a:solidFill>
                <a:srgbClr val="FFFFFF"/>
              </a:solidFill>
            </a:ln>
          </a:insideH>
          <a:insideV>
            <a:ln>
              <a:noFill/>
            </a:ln>
          </a:insideV>
        </a:tcBdr>
        <a:fill>
          <a:solidFill>
            <a:srgbClr val="E7E7E8"/>
          </a:solidFill>
        </a:fill>
      </a:tcStyle>
    </a:wholeTbl>
    <a:band2H>
      <a:tcStyle>
        <a:tcBdr/>
      </a:tcStyle>
    </a:band2H>
    <a:lastCol>
      <a:tcStyle>
        <a:tcBdr/>
      </a:tcStyle>
    </a:lastCol>
    <a:firstCol>
      <a:tcStyle>
        <a:tcBdr>
          <a:left>
            <a:ln w="3175" cmpd="sng">
              <a:solidFill>
                <a:srgbClr val="FFFFFF"/>
              </a:solidFill>
            </a:ln>
          </a:left>
        </a:tcBdr>
        <a:fill>
          <a:solidFill>
            <a:srgbClr val="009CDE"/>
          </a:solidFill>
        </a:fill>
      </a:tcStyle>
    </a:firstCol>
    <a:lastRow>
      <a:tcStyle>
        <a:tcBdr>
          <a:top>
            <a:ln w="38100" cmpd="sng">
              <a:solidFill>
                <a:srgbClr val="FFFFFF"/>
              </a:solidFill>
            </a:ln>
          </a:top>
          <a:bottom>
            <a:ln w="38100" cmpd="sng">
              <a:solidFill>
                <a:srgbClr val="FFFFFF"/>
              </a:solidFill>
            </a:ln>
          </a:bottom>
          <a:insideH>
            <a:ln>
              <a:noFill/>
            </a:ln>
          </a:insideH>
        </a:tcBdr>
      </a:tcStyle>
    </a:lastRow>
    <a:seCell>
      <a:tcStyle>
        <a:tcBdr/>
        <a:fill>
          <a:solidFill>
            <a:srgbClr val="E7E7E8"/>
          </a:solidFill>
        </a:fill>
      </a:tcStyle>
    </a:seCell>
    <a:swCell>
      <a:tcStyle>
        <a:tcBdr/>
        <a:fill>
          <a:solidFill>
            <a:srgbClr val="009CDE"/>
          </a:solidFill>
        </a:fill>
      </a:tcStyle>
    </a:swCell>
    <a:firstRow>
      <a:tcStyle>
        <a:tcBdr>
          <a:top>
            <a:ln w="38100" cmpd="sng">
              <a:solidFill>
                <a:srgbClr val="FFFFFF"/>
              </a:solidFill>
            </a:ln>
          </a:top>
          <a:bottom>
            <a:ln w="38100" cmpd="sng">
              <a:solidFill>
                <a:srgbClr val="FFFFFF"/>
              </a:solidFill>
            </a:ln>
          </a:bottom>
          <a:insideH>
            <a:ln>
              <a:noFill/>
            </a:ln>
          </a:insideH>
        </a:tcBdr>
      </a:tcStyle>
    </a:firstRow>
    <a:neCell>
      <a:tcStyle>
        <a:tcBdr/>
        <a:fill>
          <a:solidFill>
            <a:srgbClr val="E7E7E8"/>
          </a:solidFill>
        </a:fill>
      </a:tcStyle>
    </a:neCell>
    <a:nwCell>
      <a:tcStyle>
        <a:tcBdr/>
        <a:fill>
          <a:solidFill>
            <a:srgbClr val="009CDE"/>
          </a:solidFill>
        </a:fill>
      </a:tcStyle>
    </a:nwCell>
  </a:tblStyle>
  <a:tblStyle styleId="{2F903EBD-5949-4FC3-9DBA-45C2B3A90766}" styleName="2f903ebd-5949-4fc3-9dba-45c2b3a90766">
    <a:tblBg>
      <a:fill>
        <a:noFill/>
      </a:fill>
    </a:tblBg>
    <a:wholeTbl>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2H>
      <a:tcStyle>
        <a:tcBdr/>
      </a:tcStyle>
    </a:band2H>
    <a:lastCol>
      <a:tcStyle>
        <a:tcBdr/>
      </a:tcStyle>
    </a:lastCol>
    <a:firstCol>
      <a:tcStyle>
        <a:tcBdr/>
        <a:fill>
          <a:solidFill>
            <a:srgbClr val="E7E7E8"/>
          </a:solidFill>
        </a:fill>
      </a:tcStyle>
    </a:firstCol>
    <a:lastRow>
      <a:tcStyle>
        <a:tcBdr>
          <a:top>
            <a:ln w="6350" cmpd="sng">
              <a:solidFill>
                <a:srgbClr val="009CDE"/>
              </a:solidFill>
            </a:ln>
          </a:top>
          <a:bottom>
            <a:ln w="6350" cmpd="sng">
              <a:solidFill>
                <a:srgbClr val="009CDE"/>
              </a:solidFill>
            </a:ln>
          </a:bottom>
          <a:insideH>
            <a:ln>
              <a:noFill/>
            </a:ln>
          </a:insideH>
        </a:tcBdr>
      </a:tcStyle>
    </a:lastRow>
    <a:seCell>
      <a:tcStyle>
        <a:tcBdr/>
        <a:fill>
          <a:solidFill>
            <a:srgbClr val="FFFFFF"/>
          </a:solidFill>
        </a:fill>
      </a:tcStyle>
    </a:seCell>
    <a:swCell>
      <a:tcStyle>
        <a:tcBdr/>
        <a:fill>
          <a:solidFill>
            <a:srgbClr val="E7E7E8"/>
          </a:solidFill>
        </a:fill>
      </a:tcStyle>
    </a:swCell>
    <a:firstRow>
      <a:tcStyle>
        <a:tcBdr>
          <a:insideH>
            <a:ln>
              <a:noFill/>
            </a:ln>
          </a:insideH>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FB841CD1-7B41-4D46-A155-911956B6A17D}" styleName="fb841cd1-7b41-4d46-a155-911956b6a17d">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insideH>
            <a:ln w="6350" cmpd="sng">
              <a:solidFill>
                <a:srgbClr val="009CDE"/>
              </a:solidFill>
            </a:ln>
          </a:insideH>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05A93868-B911-408E-9BD0-58DE989F9DC5}" styleName="05a93868-b911-408e-9bd0-58de989f9dc5">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35820634-68EF-48D9-86BF-17D9A84FFC85}" styleName="35820634-68ef-48d9-86bf-17d9a84ffc85">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3977FE25-31CE-4B68-9DEF-D3AEE1B27EC9}" styleName="3977fe25-31ce-4b68-9def-d3aee1b27ec9">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E22DB56A-EF6D-4F7D-B39F-F8D50C7DD42F}" styleName="e22db56a-ef6d-4f7d-b39f-f8d50c7dd42f">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655ADC15-F096-4D2E-9309-1BB6EBEDA0A1}" styleName="655adc15-f096-4d2e-9309-1bb6ebeda0a1">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15501BC2-1ADB-4972-AE33-6A4A1F817833}" styleName="15501bc2-1adb-4972-ae33-6a4a1f81783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1EA46B37-296D-40F8-9F8A-4A986F1CBDDB}" styleName="1ea46b37-296d-40f8-9f8a-4a986f1cbddb">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3FA35D14-AA71-4B50-9A04-3D15269F5A2D}" styleName="3fa35d14-aa71-4b50-9a04-3d15269f5a2d">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710C12DE-2647-4313-B6E9-DF2C623EE432}" styleName="710c12de-2647-4313-b6e9-df2c623ee432">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148CFC54-FBF5-4D6E-AB6B-1C1D5300BA57}" styleName="148cfc54-fbf5-4d6e-ab6b-1c1d5300ba57">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AF0A34BC-6119-4C33-9B75-9EADDDE33060}" styleName="af0a34bc-6119-4c33-9b75-9eaddde33060">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35ACE53C-5AAC-4B58-8C0B-8C3D5A75605E}" styleName="35ace53c-5aac-4b58-8c0b-8c3d5a75605e">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B855FDDF-DDA7-452F-85B9-A9F34E8F2EC4}" styleName="b855fddf-dda7-452f-85b9-a9f34e8f2ec4">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4731677B-5360-4E43-AF20-D620B75FC64B}" styleName="4731677b-5360-4e43-af20-d620b75fc64b">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32BC4B85-A628-4A21-80D0-250BD7954BB6}" styleName="32bc4b85-a628-4a21-80d0-250bd7954bb6">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2C55FFC4-C587-4935-9526-2F3D3188B9C1}" styleName="2c55ffc4-c587-4935-9526-2f3d3188b9c1">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C9F04463-46E7-4502-B0D1-B206E06122CD}" styleName="c9f04463-46e7-4502-b0d1-b206e06122cd">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fill>
          <a:solidFill>
            <a:srgbClr val="009CDE"/>
          </a:solidFill>
        </a:fill>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009CDE"/>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009CDE"/>
          </a:solidFill>
        </a:fill>
      </a:tcStyle>
    </a:nwCell>
  </a:tblStyle>
  <a:tblStyle styleId="{3EB14F95-0A81-418B-9AA0-D4182FA69FF8}" styleName="3eb14f95-0a81-418b-9aa0-d4182fa69ff8">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8E80D29D-8C21-48AA-B8BF-9FC9312D8DC4}" styleName="8e80d29d-8c21-48aa-b8bf-9fc9312d8dc4">
    <a:tblBg>
      <a:fill>
        <a:noFill/>
      </a:fill>
    </a:tblBg>
    <a:wholeTbl>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2H>
      <a:tcStyle>
        <a:tcBdr/>
      </a:tcStyle>
    </a:band2H>
    <a:lastCol>
      <a:tcStyle>
        <a:tcBdr/>
      </a:tcStyle>
    </a:lastCol>
    <a:firstCol>
      <a:tcStyle>
        <a:tcBdr/>
        <a:fill>
          <a:solidFill>
            <a:srgbClr val="E7E7E8"/>
          </a:solidFill>
        </a:fill>
      </a:tcStyle>
    </a:firstCol>
    <a:lastRow>
      <a:tcStyle>
        <a:tcBdr>
          <a:bottom>
            <a:ln w="6350" cmpd="sng">
              <a:solidFill>
                <a:srgbClr val="009CDE"/>
              </a:solidFill>
            </a:ln>
          </a:bottom>
          <a:insideH>
            <a:ln>
              <a:noFill/>
            </a:ln>
          </a:insideH>
        </a:tcBdr>
      </a:tcStyle>
    </a:lastRow>
    <a:seCell>
      <a:tcStyle>
        <a:tcBdr/>
        <a:fill>
          <a:solidFill>
            <a:srgbClr val="FFFFFF"/>
          </a:solidFill>
        </a:fill>
      </a:tcStyle>
    </a:seCell>
    <a:swCell>
      <a:tcStyle>
        <a:tcBdr/>
        <a:fill>
          <a:solidFill>
            <a:srgbClr val="E7E7E8"/>
          </a:solidFill>
        </a:fill>
      </a:tcStyle>
    </a:swCell>
    <a:firstRow>
      <a:tcStyle>
        <a:tcBdr>
          <a:insideH>
            <a:ln>
              <a:noFill/>
            </a:ln>
          </a:insideH>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B60012FA-F9AC-48E5-8C92-33415CCC9C41}" styleName="b60012fa-f9ac-48e5-8c92-33415ccc9c41">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DC6B4F0C-BCFE-4984-AAA5-851238934576}" styleName="dc6b4f0c-bcfe-4984-aaa5-851238934576">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D995E4C8-997F-42CB-8750-BA7B189AE261}" styleName="d995e4c8-997f-42cb-8750-ba7b189ae261">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5591ED2A-F469-4FC5-9086-53DC42C40BA1}" styleName="5591ed2a-f469-4fc5-9086-53dc42c40ba1">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9A91B445-F695-4CC9-BB8F-6C767EF73999}" styleName="9a91b445-f695-4cc9-bb8f-6c767ef73999">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7EFC5B7C-5E67-46D3-9E8F-016A147BF503}" styleName="7efc5b7c-5e67-46d3-9e8f-016a147bf50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81BCDB82-278A-4788-BF1C-F4B80E01A8D0}" styleName="81bcdb82-278a-4788-bf1c-f4b80e01a8d0">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44144532-578F-448C-842C-F28840057C33}" styleName="44144532-578f-448c-842c-f28840057c3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FF55B801-C939-4E15-9656-2799971A5F68}" styleName="ff55b801-c939-4e15-9656-2799971a5f68">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fill>
          <a:solidFill>
            <a:srgbClr val="009CDE"/>
          </a:solidFill>
        </a:fill>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009CDE"/>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009CDE"/>
          </a:solidFill>
        </a:fill>
      </a:tcStyle>
    </a:nwCell>
  </a:tblStyle>
  <a:tblStyle styleId="{4DCEF4A0-81A4-4C24-AD6A-F55210D7064C}" styleName="4dcef4a0-81a4-4c24-ad6a-f55210d7064c">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70ACE7C7-14BA-4D1E-B5BE-428FDEE426F5}" styleName="70ace7c7-14ba-4d1e-b5be-428fdee426f5">
    <a:tblBg>
      <a:fill>
        <a:noFill/>
      </a:fill>
    </a:tblBg>
    <a:wholeTbl>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2H>
      <a:tcStyle>
        <a:tcBdr/>
      </a:tcStyle>
    </a:band2H>
    <a:lastCol>
      <a:tcStyle>
        <a:tcBdr/>
      </a:tcStyle>
    </a:lastCol>
    <a:firstCol>
      <a:tcStyle>
        <a:tcBdr/>
        <a:fill>
          <a:solidFill>
            <a:srgbClr val="E7E7E8"/>
          </a:solidFill>
        </a:fill>
      </a:tcStyle>
    </a:firstCol>
    <a:lastRow>
      <a:tcStyle>
        <a:tcBdr>
          <a:bottom>
            <a:ln w="6350" cmpd="sng">
              <a:solidFill>
                <a:srgbClr val="009CDE"/>
              </a:solidFill>
            </a:ln>
          </a:bottom>
          <a:insideH>
            <a:ln>
              <a:noFill/>
            </a:ln>
          </a:insideH>
        </a:tcBdr>
      </a:tcStyle>
    </a:lastRow>
    <a:seCell>
      <a:tcStyle>
        <a:tcBdr/>
        <a:fill>
          <a:solidFill>
            <a:srgbClr val="FFFFFF"/>
          </a:solidFill>
        </a:fill>
      </a:tcStyle>
    </a:seCell>
    <a:swCell>
      <a:tcStyle>
        <a:tcBdr/>
        <a:fill>
          <a:solidFill>
            <a:srgbClr val="E7E7E8"/>
          </a:solidFill>
        </a:fill>
      </a:tcStyle>
    </a:swCell>
    <a:firstRow>
      <a:tcStyle>
        <a:tcBdr>
          <a:insideH>
            <a:ln>
              <a:noFill/>
            </a:ln>
          </a:insideH>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CA0843FE-3BD0-4867-84B3-ED6B056959C6}" styleName="ca0843fe-3bd0-4867-84b3-ed6b056959c6">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0EA39DCE-63B2-41FB-A0E5-BCA1D85AEC90}" styleName="0ea39dce-63b2-41fb-a0e5-bca1d85aec90">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3AE4E581-1083-4DCC-8007-2B4AB0B415C5}" styleName="3ae4e581-1083-4dcc-8007-2b4ab0b415c5">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A91DD523-4F44-4394-B3C7-79F612C05FD0}" styleName="a91dd523-4f44-4394-b3c7-79f612c05fd0">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5C291FAD-4FDF-4CB9-800E-C23528C83268}" styleName="5c291fad-4fdf-4cb9-800e-c23528c83268">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7A448FA6-3B43-4660-A9C9-F404AFEACAE3}" styleName="7a448fa6-3b43-4660-a9c9-f404afeacae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cStyle>
    </a:lastRow>
    <a:seCell>
      <a:tcStyle>
        <a:tcBdr/>
        <a:fill>
          <a:solidFill>
            <a:srgbClr val="FFFFFF"/>
          </a:solidFill>
        </a:fill>
      </a:tcStyle>
    </a:seCell>
    <a:swCell>
      <a:tcStyle>
        <a:tcBdr/>
        <a:fill>
          <a:solidFill>
            <a:srgbClr val="FFFFFF"/>
          </a:solidFill>
        </a:fill>
      </a:tcStyle>
    </a:swCell>
    <a:firstRow>
      <a:tcStyle>
        <a:tcBdr/>
        <a:fill>
          <a:solidFill>
            <a:srgbClr val="E7E7E8"/>
          </a:solidFill>
        </a:fill>
      </a:tcStyle>
    </a:firstRow>
    <a:neCell>
      <a:tcStyle>
        <a:tcBdr/>
        <a:fill>
          <a:solidFill>
            <a:srgbClr val="E7E7E8"/>
          </a:solidFill>
        </a:fill>
      </a:tcStyle>
    </a:neCell>
    <a:nwCell>
      <a:tcStyle>
        <a:tcBdr/>
        <a:fill>
          <a:solidFill>
            <a:srgbClr val="E7E7E8"/>
          </a:solidFill>
        </a:fill>
      </a:tcStyle>
    </a:nwCell>
  </a:tblStyle>
  <a:tblStyle styleId="{72CDA366-462B-4796-8E93-1E01BD39F31F}" styleName="72cda366-462b-4796-8e93-1e01bd39f31f">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cStyle>
    </a:lastRow>
    <a:seCell>
      <a:tcStyle>
        <a:tcBdr/>
        <a:fill>
          <a:solidFill>
            <a:srgbClr val="FFFFFF"/>
          </a:solidFill>
        </a:fill>
      </a:tcStyle>
    </a:seCell>
    <a:swCell>
      <a:tcStyle>
        <a:tcBdr/>
        <a:fill>
          <a:solidFill>
            <a:srgbClr val="FFFFFF"/>
          </a:solidFill>
        </a:fill>
      </a:tcStyle>
    </a:swCell>
    <a:firstRow>
      <a:tcStyle>
        <a:tcBdr/>
      </a:tcStyle>
    </a:firstRow>
    <a:neCell>
      <a:tcStyle>
        <a:tcBdr/>
        <a:fill>
          <a:solidFill>
            <a:srgbClr val="FFFFFF"/>
          </a:solidFill>
        </a:fill>
      </a:tcStyle>
    </a:neCell>
    <a:nwCell>
      <a:tcStyle>
        <a:tcBdr/>
        <a:fill>
          <a:solidFill>
            <a:srgbClr val="FFFFFF"/>
          </a:solidFill>
        </a:fill>
      </a:tcStyle>
    </a:nwCell>
  </a:tblStyle>
  <a:tblStyle styleId="{E1C1CC4D-5FE6-4DD9-A11E-0F4DD747E005}" styleName="e1c1cc4d-5fe6-4dd9-a11e-0f4dd747e005">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8C928D11-B8CA-4419-9FEA-AD5FAC08067D}" styleName="8c928d11-b8ca-4419-9fea-ad5fac08067d">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A5DFB0D9-B2D8-43FA-8658-3AF0D6B2B7F8}" styleName="a5dfb0d9-b2d8-43fa-8658-3af0d6b2b7f8">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C06A59E2-6AED-4072-BE00-8CE1A237C24B}" styleName="c06a59e2-6aed-4072-be00-8ce1a237c24b">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EBFDA84F-D90F-45EB-9C95-6B0A88D72802}" styleName="ebfda84f-d90f-45eb-9c95-6b0a88d72802">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CE3D57DE-220D-4E5E-A7ED-BB603A6692A8}" styleName="ce3d57de-220d-4e5e-a7ed-bb603a6692a8">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6DDF1AA7-5C08-4413-BA8B-14E48D6926EB}" styleName="6ddf1aa7-5c08-4413-ba8b-14e48d6926eb">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11D1116A-10DB-43A1-A16C-0B8F400DE430}" styleName="11d1116a-10db-43a1-a16c-0b8f400de430">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CA21B128-A644-45C3-AE1C-2062097152F2}" styleName="ca21b128-a644-45c3-ae1c-2062097152f2">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D416FCCF-E5D4-4124-9630-5DDAADE4962C}" styleName="d416fccf-e5d4-4124-9630-5ddaade4962c">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9DF706AE-8595-4362-AC41-D148EA61A8D7}" styleName="9df706ae-8595-4362-ac41-d148ea61a8d7">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19AF5963-40FF-4846-A230-2BBD32408F4A}" styleName="19af5963-40ff-4846-a230-2bbd32408f4a">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2D7B490B-8FD1-4D16-BF10-32AA5559FDEE}" styleName="2d7b490b-8fd1-4d16-bf10-32aa5559fdee">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8CAF9A24-3100-4A60-A51B-C5E6EBAD3236}" styleName="8caf9a24-3100-4a60-a51b-c5e6ebad3236">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DA8589EF-C728-474E-BE8F-CEA90CBD5AB6}" styleName="da8589ef-c728-474e-be8f-cea90cbd5ab6">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D72D89CE-4D33-4BE7-BA11-42B07ACF4B8E}" styleName="d72d89ce-4d33-4be7-ba11-42b07acf4b8e">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EF2DC981-3B59-4D35-8EBE-E2C46A454515}" styleName="ef2dc981-3b59-4d35-8ebe-e2c46a454515">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fill>
          <a:solidFill>
            <a:srgbClr val="009CDE"/>
          </a:solidFill>
        </a:fill>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009CDE"/>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009CDE"/>
          </a:solidFill>
        </a:fill>
      </a:tcStyle>
    </a:nwCell>
  </a:tblStyle>
  <a:tblStyle styleId="{7376F456-3D55-4F75-AAF5-2CAECC5B5781}" styleName="7376f456-3d55-4f75-aaf5-2caecc5b5781">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E9723909-0FB3-4583-B2C0-81186E7A3B99}" styleName="e9723909-0fb3-4583-b2c0-81186e7a3b99">
    <a:tblBg>
      <a:fill>
        <a:noFill/>
      </a:fill>
    </a:tblBg>
    <a:wholeTbl>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2H>
      <a:tcStyle>
        <a:tcBdr/>
      </a:tcStyle>
    </a:band2H>
    <a:lastCol>
      <a:tcStyle>
        <a:tcBdr/>
      </a:tcStyle>
    </a:lastCol>
    <a:firstCol>
      <a:tcStyle>
        <a:tcBdr/>
        <a:fill>
          <a:solidFill>
            <a:srgbClr val="E7E7E8"/>
          </a:solidFill>
        </a:fill>
      </a:tcStyle>
    </a:firstCol>
    <a:lastRow>
      <a:tcStyle>
        <a:tcBdr>
          <a:bottom>
            <a:ln w="6350" cmpd="sng">
              <a:solidFill>
                <a:srgbClr val="009CDE"/>
              </a:solidFill>
            </a:ln>
          </a:bottom>
          <a:insideH>
            <a:ln>
              <a:noFill/>
            </a:ln>
          </a:insideH>
        </a:tcBdr>
      </a:tcStyle>
    </a:lastRow>
    <a:seCell>
      <a:tcStyle>
        <a:tcBdr/>
        <a:fill>
          <a:solidFill>
            <a:srgbClr val="FFFFFF"/>
          </a:solidFill>
        </a:fill>
      </a:tcStyle>
    </a:seCell>
    <a:swCell>
      <a:tcStyle>
        <a:tcBdr/>
        <a:fill>
          <a:solidFill>
            <a:srgbClr val="E7E7E8"/>
          </a:solidFill>
        </a:fill>
      </a:tcStyle>
    </a:swCell>
    <a:firstRow>
      <a:tcStyle>
        <a:tcBdr>
          <a:insideH>
            <a:ln>
              <a:noFill/>
            </a:ln>
          </a:insideH>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F3757C63-8C1D-4E20-96EE-F87709D92D54}" styleName="f3757c63-8c1d-4e20-96ee-f87709d92d54">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C9A75B42-D5AE-433B-88E1-823C808180AD}" styleName="c9a75b42-d5ae-433b-88e1-823c808180ad">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027492E8-BE3B-4B91-BC31-E96312046CDC}" styleName="027492e8-be3b-4b91-bc31-e96312046cdc">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C480CDF7-4FD2-4E69-A96F-8964F8FE91C5}" styleName="c480cdf7-4fd2-4e69-a96f-8964f8fe91c5">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C47600F3-8DE5-4305-935F-5F22FE609F90}" styleName="c47600f3-8de5-4305-935f-5f22fe609f90">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C312D889-6620-4335-B9AD-E851C5F4465E}" styleName="c312d889-6620-4335-b9ad-e851c5f4465e">
    <a:tblBg>
      <a:fill>
        <a:noFill/>
      </a:fill>
    </a:tblBg>
    <a:wholeTbl>
      <a:tcStyle>
        <a:tcBdr>
          <a:left>
            <a:ln>
              <a:noFill/>
            </a:ln>
          </a:left>
          <a:right>
            <a:ln>
              <a:noFill/>
            </a:ln>
          </a:right>
          <a:top>
            <a:ln>
              <a:noFill/>
            </a:ln>
          </a:top>
          <a:bottom>
            <a:ln>
              <a:noFill/>
            </a:ln>
          </a:bottom>
          <a:insideH>
            <a:ln w="9525" cmpd="sng">
              <a:solidFill>
                <a:srgbClr val="FFFFFF"/>
              </a:solidFill>
            </a:ln>
          </a:insideH>
          <a:insideV>
            <a:ln w="9525" cmpd="sng">
              <a:solidFill>
                <a:srgbClr val="FFFFFF"/>
              </a:solidFill>
            </a:ln>
          </a:insideV>
        </a:tcBdr>
        <a:fill>
          <a:solidFill>
            <a:srgbClr val="CFD0D1"/>
          </a:solidFill>
        </a:fill>
      </a:tcStyle>
    </a:wholeTbl>
    <a:band2H>
      <a:tcStyle>
        <a:tcBdr/>
        <a:fill>
          <a:solidFill>
            <a:srgbClr val="E7E7E8"/>
          </a:solidFill>
        </a:fill>
      </a:tcStyle>
    </a:band2H>
    <a:lastCol>
      <a:tcStyle>
        <a:tcBdr>
          <a:left>
            <a:ln w="9525" cmpd="sng">
              <a:solidFill>
                <a:srgbClr val="FFFFFF"/>
              </a:solidFill>
            </a:ln>
          </a:left>
          <a:insideV>
            <a:ln>
              <a:noFill/>
            </a:ln>
          </a:insideV>
        </a:tcBdr>
      </a:tcStyle>
    </a:lastCol>
    <a:firstCol>
      <a:tcStyle>
        <a:tcBdr>
          <a:insideV>
            <a:ln>
              <a:noFill/>
            </a:ln>
          </a:insideV>
        </a:tcBdr>
        <a:fill>
          <a:solidFill>
            <a:srgbClr val="009CDE"/>
          </a:solidFill>
        </a:fill>
      </a:tcStyle>
    </a:firstCol>
    <a:lastRow>
      <a:tcStyle>
        <a:tcBdr>
          <a:top>
            <a:ln w="9525" cmpd="sng">
              <a:solidFill>
                <a:srgbClr val="FFFFFF"/>
              </a:solidFill>
            </a:ln>
          </a:top>
          <a:insideH>
            <a:ln>
              <a:noFill/>
            </a:ln>
          </a:insideH>
        </a:tcBdr>
      </a:tcStyle>
    </a:lastRow>
    <a:seCell>
      <a:tcStyle>
        <a:tcBdr/>
        <a:fill>
          <a:solidFill>
            <a:srgbClr val="CFD0D1"/>
          </a:solidFill>
        </a:fill>
      </a:tcStyle>
    </a:seCell>
    <a:swCell>
      <a:tcStyle>
        <a:tcBdr>
          <a:bottom>
            <a:ln w="9525" cmpd="sng">
              <a:solidFill>
                <a:srgbClr val="FFFFFF"/>
              </a:solidFill>
            </a:ln>
          </a:bottom>
        </a:tcBdr>
        <a:fill>
          <a:solidFill>
            <a:srgbClr val="009CDE"/>
          </a:solidFill>
        </a:fill>
      </a:tcStyle>
    </a:swCell>
    <a:firstRow>
      <a:tcStyle>
        <a:tcBdr>
          <a:bottom>
            <a:ln w="9525" cmpd="sng">
              <a:solidFill>
                <a:srgbClr val="FFFFFF"/>
              </a:solidFill>
            </a:ln>
          </a:bottom>
          <a:insideH>
            <a:ln>
              <a:noFill/>
            </a:ln>
          </a:insideH>
        </a:tcBdr>
        <a:fill>
          <a:solidFill>
            <a:srgbClr val="3F9C35"/>
          </a:solidFill>
        </a:fill>
      </a:tcStyle>
    </a:firstRow>
    <a:neCell>
      <a:tcStyle>
        <a:tcBdr>
          <a:right>
            <a:ln w="9525" cmpd="sng">
              <a:solidFill>
                <a:srgbClr val="FFFFFF"/>
              </a:solidFill>
            </a:ln>
          </a:right>
          <a:bottom>
            <a:ln>
              <a:noFill/>
            </a:ln>
          </a:bottom>
        </a:tcBdr>
        <a:fill>
          <a:solidFill>
            <a:srgbClr val="3F9C35"/>
          </a:solidFill>
        </a:fill>
      </a:tcStyle>
    </a:neCell>
    <a:nwCell>
      <a:tcStyle>
        <a:tcBdr>
          <a:bottom>
            <a:ln>
              <a:noFill/>
            </a:ln>
          </a:bottom>
        </a:tcBdr>
        <a:fill>
          <a:noFill/>
        </a:fill>
      </a:tcStyle>
    </a:nwCell>
  </a:tblStyle>
  <a:tblStyle styleId="{4594160B-178C-4A0D-B25E-77209EC8F75C}" styleName="4594160b-178c-4a0d-b25e-77209ec8f75c">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2E39A3A4-B774-4881-996F-82DC9EAF18CE}" styleName="2e39a3a4-b774-4881-996f-82dc9eaf18ce">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A884B678-3A87-4DD9-9261-69D95F530B65}" styleName="a884b678-3a87-4dd9-9261-69d95f530b65">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14CBF06B-24EA-46AB-B3F5-94391E7B55A3}" styleName="14cbf06b-24ea-46ab-b3f5-94391e7b55a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fill>
          <a:solidFill>
            <a:srgbClr val="009CDE"/>
          </a:solidFill>
        </a:fill>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009CDE"/>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009CDE"/>
          </a:solidFill>
        </a:fill>
      </a:tcStyle>
    </a:nwCell>
  </a:tblStyle>
  <a:tblStyle styleId="{E92B3D39-AA5B-42D8-8AB8-45A7A4450013}" styleName="e92b3d39-aa5b-42d8-8ab8-45a7a445001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9704D000-4B36-4DC1-901C-9D4C806314A6}" styleName="9704d000-4b36-4dc1-901c-9d4c806314a6">
    <a:tblBg>
      <a:fill>
        <a:noFill/>
      </a:fill>
    </a:tblBg>
    <a:wholeTbl>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2H>
      <a:tcStyle>
        <a:tcBdr/>
      </a:tcStyle>
    </a:band2H>
    <a:lastCol>
      <a:tcStyle>
        <a:tcBdr/>
      </a:tcStyle>
    </a:lastCol>
    <a:firstCol>
      <a:tcStyle>
        <a:tcBdr/>
        <a:fill>
          <a:solidFill>
            <a:srgbClr val="E7E7E8"/>
          </a:solidFill>
        </a:fill>
      </a:tcStyle>
    </a:firstCol>
    <a:lastRow>
      <a:tcStyle>
        <a:tcBdr>
          <a:bottom>
            <a:ln w="6350" cmpd="sng">
              <a:solidFill>
                <a:srgbClr val="009CDE"/>
              </a:solidFill>
            </a:ln>
          </a:bottom>
          <a:insideH>
            <a:ln>
              <a:noFill/>
            </a:ln>
          </a:insideH>
        </a:tcBdr>
      </a:tcStyle>
    </a:lastRow>
    <a:seCell>
      <a:tcStyle>
        <a:tcBdr/>
        <a:fill>
          <a:solidFill>
            <a:srgbClr val="FFFFFF"/>
          </a:solidFill>
        </a:fill>
      </a:tcStyle>
    </a:seCell>
    <a:swCell>
      <a:tcStyle>
        <a:tcBdr/>
        <a:fill>
          <a:solidFill>
            <a:srgbClr val="E7E7E8"/>
          </a:solidFill>
        </a:fill>
      </a:tcStyle>
    </a:swCell>
    <a:firstRow>
      <a:tcStyle>
        <a:tcBdr>
          <a:insideH>
            <a:ln>
              <a:noFill/>
            </a:ln>
          </a:insideH>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F68E794C-06A3-4C41-9B6C-3CDFC1FD18B3}" styleName="f68e794c-06a3-4c41-9b6c-3cdfc1fd18b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846CEB86-2418-4FCF-847B-F25535492A75}" styleName="846ceb86-2418-4fcf-847b-f25535492a75">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81B807FD-40BD-4BCC-AE2F-C24D38193DCA}" styleName="81b807fd-40bd-4bcc-ae2f-c24d38193dca">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8E7BC07D-48F7-4C80-9D7A-A164FC580AEE}" styleName="8e7bc07d-48f7-4c80-9d7a-a164fc580aee">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6DF48419-E41D-4084-B197-785DB24CC47E}" styleName="6df48419-e41d-4084-b197-785db24cc47e">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FD3B0709-2AB5-4281-8098-1E78DD1F36E2}" styleName="fd3b0709-2ab5-4281-8098-1e78dd1f36e2">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6BBBCD9F-689F-4ED1-80DE-0A01AEAEF276}" styleName="6bbbcd9f-689f-4ed1-80de-0a01aeaef276">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009CDE"/>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left>
            <a:ln>
              <a:noFill/>
            </a:ln>
          </a:left>
        </a:tcBdr>
        <a:fill>
          <a:solidFill>
            <a:srgbClr val="009CDE"/>
          </a:solidFill>
        </a:fill>
      </a:tcStyle>
    </a:neCell>
    <a:nwCell>
      <a:tcTxStyle b="on">
        <a:srgbClr val="FFFFFF"/>
      </a:tcTxStyle>
      <a:tcStyle>
        <a:tcBdr/>
        <a:fill>
          <a:solidFill>
            <a:srgbClr val="009CDE"/>
          </a:solidFill>
        </a:fill>
      </a:tcStyle>
    </a:nwCell>
  </a:tblStyle>
  <a:tblStyle styleId="{E9A794F5-AEE5-4C9D-89E3-A8F612160A3D}" styleName="e9a794f5-aee5-4c9d-89e3-a8f612160a3d">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3F9C35"/>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left>
            <a:ln>
              <a:noFill/>
            </a:ln>
          </a:left>
        </a:tcBdr>
        <a:fill>
          <a:solidFill>
            <a:srgbClr val="3F9C35"/>
          </a:solidFill>
        </a:fill>
      </a:tcStyle>
    </a:neCell>
    <a:nwCell>
      <a:tcTxStyle b="on">
        <a:srgbClr val="FFFFFF"/>
      </a:tcTxStyle>
      <a:tcStyle>
        <a:tcBdr/>
        <a:fill>
          <a:solidFill>
            <a:srgbClr val="3F9C35"/>
          </a:solidFill>
        </a:fill>
      </a:tcStyle>
    </a:nwCell>
  </a:tblStyle>
  <a:tblStyle styleId="{5E981EDC-F773-443A-9D2A-DFD00B9719E4}" styleName="5e981edc-f773-443a-9d2a-dfd00b9719e4">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00153D"/>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00153D"/>
      </a:tcTxStyle>
      <a:tcStyle>
        <a:tcBdr/>
        <a:fill>
          <a:solidFill>
            <a:srgbClr val="FFFFFF"/>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left>
            <a:ln>
              <a:noFill/>
            </a:ln>
          </a:left>
        </a:tcBdr>
        <a:fill>
          <a:solidFill>
            <a:srgbClr val="00153D"/>
          </a:solidFill>
        </a:fill>
      </a:tcStyle>
    </a:neCell>
    <a:nwCell>
      <a:tcTxStyle b="on">
        <a:srgbClr val="FFFFFF"/>
      </a:tcTxStyle>
      <a:tcStyle>
        <a:tcBdr/>
        <a:fill>
          <a:solidFill>
            <a:srgbClr val="00153D"/>
          </a:solidFill>
        </a:fill>
      </a:tcStyle>
    </a:nwCell>
  </a:tblStyle>
  <a:tblStyle styleId="{76729E1A-5526-4991-9EBA-2EAB331561CB}" styleName="76729e1a-5526-4991-9eba-2eab331561cb">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FFFFFF"/>
      </a:tcTxStyle>
      <a:tcStyle>
        <a:tcBdr/>
        <a:fill>
          <a:solidFill>
            <a:srgbClr val="009CDE"/>
          </a:solidFill>
        </a:fill>
      </a:tcStyle>
    </a:firstCol>
    <a:lastRow>
      <a:tcTxStyle b="on">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FFFFFF"/>
      </a:tcTxStyle>
      <a:tcStyle>
        <a:tcBdr/>
        <a:fill>
          <a:solidFill>
            <a:srgbClr val="009CDE"/>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C407572E-B3BF-44EF-AB0D-F005A362588C}" styleName="c407572e-b3bf-44ef-ab0d-f005a362588c">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FFFFFF"/>
      </a:tcTxStyle>
      <a:tcStyle>
        <a:tcBdr/>
        <a:fill>
          <a:solidFill>
            <a:srgbClr val="3F9C35"/>
          </a:solidFill>
        </a:fill>
      </a:tcStyle>
    </a:firstCol>
    <a:lastRow>
      <a:tcTxStyle b="on">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FFFFFF"/>
      </a:tcTxStyle>
      <a:tcStyle>
        <a:tcBdr/>
        <a:fill>
          <a:solidFill>
            <a:srgbClr val="3F9C35"/>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fill>
          <a:solidFill>
            <a:srgbClr val="3F9C35"/>
          </a:solidFill>
        </a:fill>
      </a:tcStyle>
    </a:neCell>
    <a:nwCell>
      <a:tcTxStyle b="on">
        <a:srgbClr val="FFFFFF"/>
      </a:tcTxStyle>
      <a:tcStyle>
        <a:tcBdr/>
        <a:fill>
          <a:solidFill>
            <a:srgbClr val="3F9C35"/>
          </a:solidFill>
        </a:fill>
      </a:tcStyle>
    </a:nwCell>
  </a:tblStyle>
  <a:tblStyle styleId="{FBF6D24B-E90A-4F1A-8525-CD51B041F229}" styleName="fbf6d24b-e90a-4f1a-8525-cd51b041f229">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00153D"/>
      </a:tcTxStyle>
      <a:tcStyle>
        <a:tcBdr/>
        <a:fill>
          <a:solidFill>
            <a:srgbClr val="FFFFFF"/>
          </a:solidFill>
        </a:fill>
      </a:tcStyle>
    </a:firstCol>
    <a:lastRow>
      <a:tcTxStyle b="on">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00153D"/>
      </a:tcTxStyle>
      <a:tcStyle>
        <a:tcBdr/>
        <a:fill>
          <a:solidFill>
            <a:srgbClr val="FFFFFF"/>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fill>
          <a:solidFill>
            <a:srgbClr val="00153D"/>
          </a:solidFill>
        </a:fill>
      </a:tcStyle>
    </a:neCell>
    <a:nwCell>
      <a:tcTxStyle b="on">
        <a:srgbClr val="FFFFFF"/>
      </a:tcTxStyle>
      <a:tcStyle>
        <a:tcBdr/>
        <a:fill>
          <a:solidFill>
            <a:srgbClr val="00153D"/>
          </a:solidFill>
        </a:fill>
      </a:tcStyle>
    </a:nwCell>
  </a:tblStyle>
  <a:tblStyle styleId="{8D427353-CE3B-4C2C-9741-44F3D206D7ED}" styleName="8d427353-ce3b-4c2c-9741-44f3d206d7ed">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FFFFFF"/>
      </a:tcTxStyle>
      <a:tcStyle>
        <a:tcBdr/>
        <a:fill>
          <a:solidFill>
            <a:srgbClr val="009CDE"/>
          </a:solidFill>
        </a:fill>
      </a:tcStyle>
    </a:firstCol>
    <a:lastRow>
      <a:tcTxStyle b="off">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FFFFFF"/>
      </a:tcTxStyle>
      <a:tcStyle>
        <a:tcBdr/>
        <a:fill>
          <a:solidFill>
            <a:srgbClr val="009CDE"/>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90CCEEEE-8677-4544-B35C-EAA998ED2BC5}" styleName="90cceeee-8677-4544-b35c-eaa998ed2bc5">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FFFFFF"/>
      </a:tcTxStyle>
      <a:tcStyle>
        <a:tcBdr/>
        <a:fill>
          <a:solidFill>
            <a:srgbClr val="3F9C35"/>
          </a:solidFill>
        </a:fill>
      </a:tcStyle>
    </a:firstCol>
    <a:lastRow>
      <a:tcTxStyle b="off">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FFFFFF"/>
      </a:tcTxStyle>
      <a:tcStyle>
        <a:tcBdr>
          <a:bottom>
            <a:ln w="6350" cmpd="sng">
              <a:solidFill>
                <a:srgbClr val="009CDE"/>
              </a:solidFill>
            </a:ln>
          </a:bottom>
        </a:tcBdr>
        <a:fill>
          <a:solidFill>
            <a:srgbClr val="3F9C35"/>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fill>
          <a:solidFill>
            <a:srgbClr val="3F9C35"/>
          </a:solidFill>
        </a:fill>
      </a:tcStyle>
    </a:neCell>
    <a:nwCell>
      <a:tcTxStyle b="on">
        <a:srgbClr val="FFFFFF"/>
      </a:tcTxStyle>
      <a:tcStyle>
        <a:tcBdr/>
        <a:fill>
          <a:solidFill>
            <a:srgbClr val="3F9C35"/>
          </a:solidFill>
        </a:fill>
      </a:tcStyle>
    </a:nwCell>
  </a:tblStyle>
  <a:tblStyle styleId="{2A2FAC03-C4A6-40C9-8AB3-1CC005BC3EC1}" styleName="2a2fac03-c4a6-40c9-8ab3-1cc005bc3ec1">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FFFFFF"/>
      </a:tcTxStyle>
      <a:tcStyle>
        <a:tcBdr/>
        <a:fill>
          <a:solidFill>
            <a:srgbClr val="00153D"/>
          </a:solidFill>
        </a:fill>
      </a:tcStyle>
    </a:firstCol>
    <a:lastRow>
      <a:tcTxStyle b="off">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FFFFFF"/>
      </a:tcTxStyle>
      <a:tcStyle>
        <a:tcBdr>
          <a:top>
            <a:ln w="6350" cmpd="sng">
              <a:solidFill>
                <a:srgbClr val="3F9C35"/>
              </a:solidFill>
            </a:ln>
          </a:top>
          <a:bottom>
            <a:ln w="6350" cmpd="sng">
              <a:solidFill>
                <a:srgbClr val="009CDE"/>
              </a:solidFill>
            </a:ln>
          </a:bottom>
        </a:tcBdr>
        <a:fill>
          <a:solidFill>
            <a:srgbClr val="00153D"/>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fill>
          <a:solidFill>
            <a:srgbClr val="00153D"/>
          </a:solidFill>
        </a:fill>
      </a:tcStyle>
    </a:neCell>
    <a:nwCell>
      <a:tcTxStyle b="on">
        <a:srgbClr val="FFFFFF"/>
      </a:tcTxStyle>
      <a:tcStyle>
        <a:tcBdr/>
        <a:fill>
          <a:solidFill>
            <a:srgbClr val="00153D"/>
          </a:solidFill>
        </a:fill>
      </a:tcStyle>
    </a:nwCell>
  </a:tblStyle>
  <a:tblStyle styleId="{2D74ABA1-72F0-40E6-9305-EE6F4A4FD354}" styleName="2d74aba1-72f0-40e6-9305-ee6f4a4fd354">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009CDE"/>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left>
            <a:ln>
              <a:noFill/>
            </a:ln>
          </a:left>
        </a:tcBdr>
        <a:fill>
          <a:solidFill>
            <a:srgbClr val="009CDE"/>
          </a:solidFill>
        </a:fill>
      </a:tcStyle>
    </a:neCell>
    <a:nwCell>
      <a:tcTxStyle b="on">
        <a:srgbClr val="FFFFFF"/>
      </a:tcTxStyle>
      <a:tcStyle>
        <a:tcBdr/>
        <a:fill>
          <a:solidFill>
            <a:srgbClr val="009CDE"/>
          </a:solidFill>
        </a:fill>
      </a:tcStyle>
    </a:nwCell>
  </a:tblStyle>
  <a:tblStyle styleId="{846C0102-55B0-43EC-9953-49851BC727FD}" styleName="846c0102-55b0-43ec-9953-49851bc727fd">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3F9C35"/>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left>
            <a:ln>
              <a:noFill/>
            </a:ln>
          </a:left>
        </a:tcBdr>
        <a:fill>
          <a:solidFill>
            <a:srgbClr val="3F9C35"/>
          </a:solidFill>
        </a:fill>
      </a:tcStyle>
    </a:neCell>
    <a:nwCell>
      <a:tcTxStyle b="on">
        <a:srgbClr val="FFFFFF"/>
      </a:tcTxStyle>
      <a:tcStyle>
        <a:tcBdr/>
        <a:fill>
          <a:solidFill>
            <a:srgbClr val="3F9C35"/>
          </a:solidFill>
        </a:fill>
      </a:tcStyle>
    </a:nwCell>
  </a:tblStyle>
  <a:tblStyle styleId="{BC697912-9C18-4E38-A41A-70A36717019F}" styleName="bc697912-9c18-4e38-a41a-70a36717019f">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00153D"/>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00153D"/>
      </a:tcTxStyle>
      <a:tcStyle>
        <a:tcBdr/>
        <a:fill>
          <a:solidFill>
            <a:srgbClr val="FFFFFF"/>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left>
            <a:ln>
              <a:noFill/>
            </a:ln>
          </a:left>
        </a:tcBdr>
        <a:fill>
          <a:solidFill>
            <a:srgbClr val="00153D"/>
          </a:solidFill>
        </a:fill>
      </a:tcStyle>
    </a:neCell>
    <a:nwCell>
      <a:tcTxStyle b="on">
        <a:srgbClr val="FFFFFF"/>
      </a:tcTxStyle>
      <a:tcStyle>
        <a:tcBdr/>
        <a:fill>
          <a:solidFill>
            <a:srgbClr val="00153D"/>
          </a:solidFill>
        </a:fill>
      </a:tcStyle>
    </a:nwCell>
  </a:tblStyle>
  <a:tblStyle styleId="{D216560D-7155-41A1-9B98-DE252552E6BC}" styleName="d216560d-7155-41a1-9b98-de252552e6bc">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FFFFFF"/>
      </a:tcTxStyle>
      <a:tcStyle>
        <a:tcBdr/>
        <a:fill>
          <a:solidFill>
            <a:srgbClr val="009CDE"/>
          </a:solidFill>
        </a:fill>
      </a:tcStyle>
    </a:firstCol>
    <a:lastRow>
      <a:tcTxStyle b="on">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FFFFFF"/>
      </a:tcTxStyle>
      <a:tcStyle>
        <a:tcBdr/>
        <a:fill>
          <a:solidFill>
            <a:srgbClr val="009CDE"/>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8F041958-B49F-4818-97D7-CBBD4C0C2896}" styleName="8f041958-b49f-4818-97d7-cbbd4c0c2896">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FFFFFF"/>
      </a:tcTxStyle>
      <a:tcStyle>
        <a:tcBdr/>
        <a:fill>
          <a:solidFill>
            <a:srgbClr val="3F9C35"/>
          </a:solidFill>
        </a:fill>
      </a:tcStyle>
    </a:firstCol>
    <a:lastRow>
      <a:tcTxStyle b="on">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FFFFFF"/>
      </a:tcTxStyle>
      <a:tcStyle>
        <a:tcBdr/>
        <a:fill>
          <a:solidFill>
            <a:srgbClr val="3F9C35"/>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fill>
          <a:solidFill>
            <a:srgbClr val="3F9C35"/>
          </a:solidFill>
        </a:fill>
      </a:tcStyle>
    </a:neCell>
    <a:nwCell>
      <a:tcTxStyle b="on">
        <a:srgbClr val="FFFFFF"/>
      </a:tcTxStyle>
      <a:tcStyle>
        <a:tcBdr/>
        <a:fill>
          <a:solidFill>
            <a:srgbClr val="3F9C35"/>
          </a:solidFill>
        </a:fill>
      </a:tcStyle>
    </a:nwCell>
  </a:tblStyle>
  <a:tblStyle styleId="{DD328BFA-E6A9-40CB-8CA1-ADF332D7C1E9}" styleName="dd328bfa-e6a9-40cb-8ca1-adf332d7c1e9">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00153D"/>
      </a:tcTxStyle>
      <a:tcStyle>
        <a:tcBdr/>
        <a:fill>
          <a:solidFill>
            <a:srgbClr val="FFFFFF"/>
          </a:solidFill>
        </a:fill>
      </a:tcStyle>
    </a:firstCol>
    <a:lastRow>
      <a:tcTxStyle b="on">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00153D"/>
      </a:tcTxStyle>
      <a:tcStyle>
        <a:tcBdr/>
        <a:fill>
          <a:solidFill>
            <a:srgbClr val="FFFFFF"/>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fill>
          <a:solidFill>
            <a:srgbClr val="00153D"/>
          </a:solidFill>
        </a:fill>
      </a:tcStyle>
    </a:neCell>
    <a:nwCell>
      <a:tcTxStyle b="on">
        <a:srgbClr val="FFFFFF"/>
      </a:tcTxStyle>
      <a:tcStyle>
        <a:tcBdr/>
        <a:fill>
          <a:solidFill>
            <a:srgbClr val="00153D"/>
          </a:solidFill>
        </a:fill>
      </a:tcStyle>
    </a:nwCell>
  </a:tblStyle>
  <a:tblStyle styleId="{91D60ABC-995F-467D-857C-45AE52370AF9}" styleName="91d60abc-995f-467d-857c-45ae52370af9">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FFFFFF"/>
      </a:tcTxStyle>
      <a:tcStyle>
        <a:tcBdr/>
        <a:fill>
          <a:solidFill>
            <a:srgbClr val="009CDE"/>
          </a:solidFill>
        </a:fill>
      </a:tcStyle>
    </a:firstCol>
    <a:lastRow>
      <a:tcTxStyle b="off">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FFFFFF"/>
      </a:tcTxStyle>
      <a:tcStyle>
        <a:tcBdr/>
        <a:fill>
          <a:solidFill>
            <a:srgbClr val="009CDE"/>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AD603A1A-6B2F-4435-BE40-F0A52A6FC1DF}" styleName="ad603a1a-6b2f-4435-be40-f0a52a6fc1df">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FFFFFF"/>
      </a:tcTxStyle>
      <a:tcStyle>
        <a:tcBdr/>
        <a:fill>
          <a:solidFill>
            <a:srgbClr val="3F9C35"/>
          </a:solidFill>
        </a:fill>
      </a:tcStyle>
    </a:firstCol>
    <a:lastRow>
      <a:tcTxStyle b="off">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FFFFFF"/>
      </a:tcTxStyle>
      <a:tcStyle>
        <a:tcBdr>
          <a:bottom>
            <a:ln w="6350" cmpd="sng">
              <a:solidFill>
                <a:srgbClr val="009CDE"/>
              </a:solidFill>
            </a:ln>
          </a:bottom>
        </a:tcBdr>
        <a:fill>
          <a:solidFill>
            <a:srgbClr val="3F9C35"/>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fill>
          <a:solidFill>
            <a:srgbClr val="3F9C35"/>
          </a:solidFill>
        </a:fill>
      </a:tcStyle>
    </a:neCell>
    <a:nwCell>
      <a:tcTxStyle b="on">
        <a:srgbClr val="FFFFFF"/>
      </a:tcTxStyle>
      <a:tcStyle>
        <a:tcBdr/>
        <a:fill>
          <a:solidFill>
            <a:srgbClr val="3F9C35"/>
          </a:solidFill>
        </a:fill>
      </a:tcStyle>
    </a:nwCell>
  </a:tblStyle>
  <a:tblStyle styleId="{1250D066-E078-472E-BF6D-D9EEF7714A4F}" styleName="1250d066-e078-472e-bf6d-d9eef7714a4f">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FFFFFF"/>
      </a:tcTxStyle>
      <a:tcStyle>
        <a:tcBdr/>
        <a:fill>
          <a:solidFill>
            <a:srgbClr val="00153D"/>
          </a:solidFill>
        </a:fill>
      </a:tcStyle>
    </a:firstCol>
    <a:lastRow>
      <a:tcTxStyle b="off">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FFFFFF"/>
      </a:tcTxStyle>
      <a:tcStyle>
        <a:tcBdr>
          <a:top>
            <a:ln w="6350" cmpd="sng">
              <a:solidFill>
                <a:srgbClr val="3F9C35"/>
              </a:solidFill>
            </a:ln>
          </a:top>
          <a:bottom>
            <a:ln w="6350" cmpd="sng">
              <a:solidFill>
                <a:srgbClr val="009CDE"/>
              </a:solidFill>
            </a:ln>
          </a:bottom>
        </a:tcBdr>
        <a:fill>
          <a:solidFill>
            <a:srgbClr val="00153D"/>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fill>
          <a:solidFill>
            <a:srgbClr val="00153D"/>
          </a:solidFill>
        </a:fill>
      </a:tcStyle>
    </a:neCell>
    <a:nwCell>
      <a:tcTxStyle b="on">
        <a:srgbClr val="FFFFFF"/>
      </a:tcTxStyle>
      <a:tcStyle>
        <a:tcBdr/>
        <a:fill>
          <a:solidFill>
            <a:srgbClr val="00153D"/>
          </a:solidFill>
        </a:fill>
      </a:tcStyle>
    </a:nwCell>
  </a:tblStyle>
  <a:tblStyle styleId="{9546F2DC-6688-49F4-88D4-425AB491DE4D}" styleName="9546f2dc-6688-49f4-88d4-425ab491de4d">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009CDE"/>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left>
            <a:ln>
              <a:noFill/>
            </a:ln>
          </a:left>
        </a:tcBdr>
        <a:fill>
          <a:solidFill>
            <a:srgbClr val="009CDE"/>
          </a:solidFill>
        </a:fill>
      </a:tcStyle>
    </a:neCell>
    <a:nwCell>
      <a:tcTxStyle b="on">
        <a:srgbClr val="FFFFFF"/>
      </a:tcTxStyle>
      <a:tcStyle>
        <a:tcBdr/>
        <a:fill>
          <a:solidFill>
            <a:srgbClr val="009CDE"/>
          </a:solidFill>
        </a:fill>
      </a:tcStyle>
    </a:nwCell>
  </a:tblStyle>
  <a:tblStyle styleId="{605357D4-9281-4814-88BA-B94DB5F3B5A4}" styleName="605357d4-9281-4814-88ba-b94db5f3b5a4">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3F9C35"/>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left>
            <a:ln>
              <a:noFill/>
            </a:ln>
          </a:left>
        </a:tcBdr>
        <a:fill>
          <a:solidFill>
            <a:srgbClr val="3F9C35"/>
          </a:solidFill>
        </a:fill>
      </a:tcStyle>
    </a:neCell>
    <a:nwCell>
      <a:tcTxStyle b="on">
        <a:srgbClr val="FFFFFF"/>
      </a:tcTxStyle>
      <a:tcStyle>
        <a:tcBdr/>
        <a:fill>
          <a:solidFill>
            <a:srgbClr val="3F9C35"/>
          </a:solidFill>
        </a:fill>
      </a:tcStyle>
    </a:nwCell>
  </a:tblStyle>
  <a:tblStyle styleId="{84EB4851-501F-448B-9381-8629E9F78EAD}" styleName="84eb4851-501f-448b-9381-8629e9f78ead">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00153D"/>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00153D"/>
      </a:tcTxStyle>
      <a:tcStyle>
        <a:tcBdr/>
        <a:fill>
          <a:solidFill>
            <a:srgbClr val="FFFFFF"/>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left>
            <a:ln>
              <a:noFill/>
            </a:ln>
          </a:left>
        </a:tcBdr>
        <a:fill>
          <a:solidFill>
            <a:srgbClr val="00153D"/>
          </a:solidFill>
        </a:fill>
      </a:tcStyle>
    </a:neCell>
    <a:nwCell>
      <a:tcTxStyle b="on">
        <a:srgbClr val="FFFFFF"/>
      </a:tcTxStyle>
      <a:tcStyle>
        <a:tcBdr/>
        <a:fill>
          <a:solidFill>
            <a:srgbClr val="00153D"/>
          </a:solidFill>
        </a:fill>
      </a:tcStyle>
    </a:nwCell>
  </a:tblStyle>
  <a:tblStyle styleId="{52BED4ED-4B95-4F06-88DC-F45EAAC020B7}" styleName="52bed4ed-4b95-4f06-88dc-f45eaac020b7">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FFFFFF"/>
      </a:tcTxStyle>
      <a:tcStyle>
        <a:tcBdr/>
        <a:fill>
          <a:solidFill>
            <a:srgbClr val="009CDE"/>
          </a:solidFill>
        </a:fill>
      </a:tcStyle>
    </a:firstCol>
    <a:lastRow>
      <a:tcTxStyle b="on">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FFFFFF"/>
      </a:tcTxStyle>
      <a:tcStyle>
        <a:tcBdr/>
        <a:fill>
          <a:solidFill>
            <a:srgbClr val="009CDE"/>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79EB58CA-CAB6-4C2A-BC07-66252B7CB0AC}" styleName="79eb58ca-cab6-4c2a-bc07-66252b7cb0ac">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FFFFFF"/>
      </a:tcTxStyle>
      <a:tcStyle>
        <a:tcBdr/>
        <a:fill>
          <a:solidFill>
            <a:srgbClr val="3F9C35"/>
          </a:solidFill>
        </a:fill>
      </a:tcStyle>
    </a:firstCol>
    <a:lastRow>
      <a:tcTxStyle b="on">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FFFFFF"/>
      </a:tcTxStyle>
      <a:tcStyle>
        <a:tcBdr/>
        <a:fill>
          <a:solidFill>
            <a:srgbClr val="3F9C35"/>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fill>
          <a:solidFill>
            <a:srgbClr val="3F9C35"/>
          </a:solidFill>
        </a:fill>
      </a:tcStyle>
    </a:neCell>
    <a:nwCell>
      <a:tcTxStyle b="on">
        <a:srgbClr val="FFFFFF"/>
      </a:tcTxStyle>
      <a:tcStyle>
        <a:tcBdr/>
        <a:fill>
          <a:solidFill>
            <a:srgbClr val="3F9C35"/>
          </a:solidFill>
        </a:fill>
      </a:tcStyle>
    </a:nwCell>
  </a:tblStyle>
  <a:tblStyle styleId="{30A88721-7A2C-4715-B626-28795A954831}" styleName="30a88721-7a2c-4715-b626-28795a954831">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00153D"/>
      </a:tcTxStyle>
      <a:tcStyle>
        <a:tcBdr/>
        <a:fill>
          <a:solidFill>
            <a:srgbClr val="FFFFFF"/>
          </a:solidFill>
        </a:fill>
      </a:tcStyle>
    </a:firstCol>
    <a:lastRow>
      <a:tcTxStyle b="on">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00153D"/>
      </a:tcTxStyle>
      <a:tcStyle>
        <a:tcBdr/>
        <a:fill>
          <a:solidFill>
            <a:srgbClr val="FFFFFF"/>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fill>
          <a:solidFill>
            <a:srgbClr val="00153D"/>
          </a:solidFill>
        </a:fill>
      </a:tcStyle>
    </a:neCell>
    <a:nwCell>
      <a:tcTxStyle b="on">
        <a:srgbClr val="FFFFFF"/>
      </a:tcTxStyle>
      <a:tcStyle>
        <a:tcBdr/>
        <a:fill>
          <a:solidFill>
            <a:srgbClr val="00153D"/>
          </a:solidFill>
        </a:fill>
      </a:tcStyle>
    </a:nwCell>
  </a:tblStyle>
  <a:tblStyle styleId="{2798C924-F894-4DBD-A869-158877D7C230}" styleName="2798c924-f894-4dbd-a869-158877d7c230">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FFFFFF"/>
      </a:tcTxStyle>
      <a:tcStyle>
        <a:tcBdr/>
        <a:fill>
          <a:solidFill>
            <a:srgbClr val="009CDE"/>
          </a:solidFill>
        </a:fill>
      </a:tcStyle>
    </a:firstCol>
    <a:lastRow>
      <a:tcTxStyle b="on">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FFFFFF"/>
      </a:tcTxStyle>
      <a:tcStyle>
        <a:tcBdr/>
        <a:fill>
          <a:solidFill>
            <a:srgbClr val="009CDE"/>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1A886EFC-8AD1-45A7-9A41-683101C9F0FA}" styleName="1a886efc-8ad1-45a7-9a41-683101c9f0fa">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D8EBD6"/>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FFFFFF"/>
      </a:tcTxStyle>
      <a:tcStyle>
        <a:tcBdr/>
        <a:fill>
          <a:solidFill>
            <a:srgbClr val="3F9C35"/>
          </a:solidFill>
        </a:fill>
      </a:tcStyle>
    </a:firstCol>
    <a:lastRow>
      <a:tcTxStyle b="on">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FFFFFF"/>
      </a:tcTxStyle>
      <a:tcStyle>
        <a:tcBdr/>
        <a:fill>
          <a:solidFill>
            <a:srgbClr val="3F9C35"/>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fill>
          <a:solidFill>
            <a:srgbClr val="3F9C35"/>
          </a:solidFill>
        </a:fill>
      </a:tcStyle>
    </a:neCell>
    <a:nwCell>
      <a:tcTxStyle b="on">
        <a:srgbClr val="FFFFFF"/>
      </a:tcTxStyle>
      <a:tcStyle>
        <a:tcBdr/>
        <a:fill>
          <a:solidFill>
            <a:srgbClr val="3F9C35"/>
          </a:solidFill>
        </a:fill>
      </a:tcStyle>
    </a:nwCell>
  </a:tblStyle>
  <a:tblStyle styleId="{93B75D9C-0D76-4F52-9DBC-5CE4AD6767E1}" styleName="93b75d9c-0d76-4f52-9dbc-5ce4ad6767e1">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00153D"/>
      </a:tcTxStyle>
      <a:tcStyle>
        <a:tcBdr/>
        <a:fill>
          <a:solidFill>
            <a:srgbClr val="FFFFFF"/>
          </a:solidFill>
        </a:fill>
      </a:tcStyle>
    </a:firstCol>
    <a:lastRow>
      <a:tcTxStyle b="on">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00153D"/>
      </a:tcTxStyle>
      <a:tcStyle>
        <a:tcBdr/>
        <a:fill>
          <a:solidFill>
            <a:srgbClr val="FFFFFF"/>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fill>
          <a:solidFill>
            <a:srgbClr val="00153D"/>
          </a:solidFill>
        </a:fill>
      </a:tcStyle>
    </a:neCell>
    <a:nwCell>
      <a:tcTxStyle b="on">
        <a:srgbClr val="FFFFFF"/>
      </a:tcTxStyle>
      <a:tcStyle>
        <a:tcBdr/>
        <a:fill>
          <a:solidFill>
            <a:srgbClr val="00153D"/>
          </a:solidFill>
        </a:fill>
      </a:tcStyle>
    </a:nwCell>
  </a:tblStyle>
  <a:tblStyle styleId="{1B41E7BC-84E1-4C4A-BB4D-F02EB680B052}" styleName="1b41e7bc-84e1-4c4a-bb4d-f02eb680b052">
    <a:tblBg>
      <a:fill>
        <a:noFill/>
      </a:fill>
    </a:tblBg>
    <a:wholeTbl>
      <a:tcTxStyle b="off">
        <a:srgbClr val="63666A"/>
      </a:tcTxStyle>
      <a:tcStyle>
        <a:tcBdr>
          <a:left>
            <a:ln>
              <a:noFill/>
            </a:ln>
          </a:left>
          <a:right>
            <a:ln w="12700" cmpd="sng">
              <a:solidFill>
                <a:srgbClr val="FFFFFF"/>
              </a:solidFill>
            </a:ln>
          </a:right>
          <a:top>
            <a:ln>
              <a:noFill/>
            </a:ln>
          </a:top>
          <a:bottom>
            <a:ln w="12700" cmpd="sng">
              <a:solidFill>
                <a:srgbClr val="FFFFFF"/>
              </a:solidFill>
            </a:ln>
          </a:bottom>
          <a:insideH>
            <a:ln w="12700" cmpd="sng">
              <a:solidFill>
                <a:srgbClr val="00153D"/>
              </a:solidFill>
            </a:ln>
          </a:insideH>
          <a:insideV>
            <a:ln w="12700" cmpd="sng">
              <a:solidFill>
                <a:srgbClr val="FFFFFF"/>
              </a:solidFill>
            </a:ln>
          </a:insideV>
        </a:tcBdr>
        <a:fill>
          <a:solidFill>
            <a:srgbClr val="FFFFFF"/>
          </a:solidFill>
        </a:fill>
      </a:tcStyle>
    </a:wholeTbl>
    <a:band1H>
      <a:tcStyle>
        <a:tcBdr/>
      </a:tcStyle>
    </a:band1H>
    <a:band2H>
      <a:tcTxStyle b="off">
        <a:srgbClr val="63666A"/>
      </a:tcTxStyle>
      <a:tcStyle>
        <a:tcBdr>
          <a:insideH>
            <a:ln w="12700" cmpd="sng">
              <a:solidFill>
                <a:srgbClr val="FFFFFF"/>
              </a:solidFill>
            </a:ln>
          </a:insideH>
        </a:tcBdr>
        <a:fill>
          <a:solidFill>
            <a:srgbClr val="FFFFFF"/>
          </a:solidFill>
        </a:fill>
      </a:tcStyle>
    </a:band2H>
    <a:band1V>
      <a:tcStyle>
        <a:tcBdr/>
      </a:tcStyle>
    </a:band1V>
    <a:band2V>
      <a:tcStyle>
        <a:tcBdr/>
      </a:tcStyle>
    </a:band2V>
    <a:lastCol>
      <a:tcTxStyle b="off">
        <a:srgbClr val="63666A"/>
      </a:tcTxStyle>
      <a:tcStyle>
        <a:tcBdr>
          <a:right>
            <a:ln w="12700" cmpd="sng">
              <a:solidFill>
                <a:srgbClr val="00153D"/>
              </a:solidFill>
            </a:ln>
          </a:right>
        </a:tcBdr>
        <a:fill>
          <a:solidFill>
            <a:srgbClr val="FFFFFF"/>
          </a:solidFill>
        </a:fill>
      </a:tcStyle>
    </a:lastCol>
    <a:firstCol>
      <a:tcTxStyle b="on">
        <a:srgbClr val="FFFFFF"/>
      </a:tcTxStyle>
      <a:tcStyle>
        <a:tcBdr>
          <a:insideH>
            <a:ln w="12700" cmpd="sng">
              <a:solidFill>
                <a:srgbClr val="FFFFFF"/>
              </a:solidFill>
            </a:ln>
          </a:insideH>
        </a:tcBdr>
        <a:fill>
          <a:solidFill>
            <a:srgbClr val="009CDE"/>
          </a:solidFill>
        </a:fill>
      </a:tcStyle>
    </a:firstCol>
    <a:lastRow>
      <a:tcTxStyle b="off">
        <a:srgbClr val="888B8D"/>
      </a:tcTxStyle>
      <a:tcStyle>
        <a:tcBdr>
          <a:top>
            <a:ln>
              <a:noFill/>
            </a:ln>
          </a:top>
          <a:bottom>
            <a:ln w="12700" cmpd="sng">
              <a:solidFill>
                <a:srgbClr val="00153D"/>
              </a:solidFill>
            </a:ln>
          </a:bottom>
          <a:insideV>
            <a:ln w="12700" cmpd="sng">
              <a:solidFill>
                <a:srgbClr val="00153D"/>
              </a:solidFill>
            </a:ln>
          </a:insideV>
        </a:tcBdr>
        <a:fill>
          <a:solidFill>
            <a:srgbClr val="FFFFFF"/>
          </a:solidFill>
        </a:fill>
      </a:tcStyle>
    </a:lastRow>
    <a:seCell>
      <a:tcTxStyle b="off">
        <a:srgbClr val="888B8D"/>
      </a:tcTxStyle>
      <a:tcStyle>
        <a:tcBdr/>
        <a:fill>
          <a:solidFill>
            <a:srgbClr val="FFFFFF"/>
          </a:solidFill>
        </a:fill>
      </a:tcStyle>
    </a:seCell>
    <a:swCell>
      <a:tcTxStyle b="on">
        <a:srgbClr val="FFFFFF"/>
      </a:tcTxStyle>
      <a:tcStyle>
        <a:tcBdr>
          <a:top>
            <a:ln w="12700" cmpd="sng">
              <a:solidFill>
                <a:srgbClr val="FFFFFF"/>
              </a:solidFill>
            </a:ln>
          </a:top>
          <a:bottom>
            <a:ln w="12700" cmpd="sng">
              <a:solidFill>
                <a:srgbClr val="FFFFFF"/>
              </a:solidFill>
            </a:ln>
          </a:bottom>
        </a:tcBdr>
        <a:fill>
          <a:solidFill>
            <a:srgbClr val="009CDE"/>
          </a:solidFill>
        </a:fill>
      </a:tcStyle>
    </a:swCell>
    <a:firstRow>
      <a:tcTxStyle b="on">
        <a:srgbClr val="FFFFFF"/>
      </a:tcTxStyle>
      <a:tcStyle>
        <a:tcBdr>
          <a:top>
            <a:ln w="12700" cmpd="sng">
              <a:solidFill>
                <a:srgbClr val="FFFFFF"/>
              </a:solidFill>
            </a:ln>
          </a:top>
          <a:bottom>
            <a:ln w="38100" cmpd="sng">
              <a:solidFill>
                <a:srgbClr val="FFFFFF"/>
              </a:solidFill>
            </a:ln>
          </a:bottom>
        </a:tcBdr>
        <a:fill>
          <a:solidFill>
            <a:srgbClr val="00153D"/>
          </a:solidFill>
        </a:fill>
      </a:tcStyle>
    </a:firstRow>
    <a:neCell>
      <a:tcTxStyle b="on">
        <a:srgbClr val="FFFFFF"/>
      </a:tcTxStyle>
      <a:tcStyle>
        <a:tcBdr>
          <a:left>
            <a:ln w="12700" cmpd="sng">
              <a:solidFill>
                <a:srgbClr val="FFFFFF"/>
              </a:solidFill>
            </a:ln>
          </a:left>
          <a:right>
            <a:ln w="12700" cmpd="sng">
              <a:solidFill>
                <a:srgbClr val="FFFFFF"/>
              </a:solidFill>
            </a:ln>
          </a:right>
        </a:tcBdr>
        <a:fill>
          <a:solidFill>
            <a:srgbClr val="00153D"/>
          </a:solidFill>
        </a:fill>
      </a:tcStyle>
    </a:neCell>
    <a:nwCell>
      <a:tcTxStyle b="on">
        <a:srgbClr val="FFFFFF"/>
      </a:tcTxStyle>
      <a:tcStyle>
        <a:tcBdr>
          <a:left>
            <a:ln w="12700" cmpd="sng">
              <a:solidFill>
                <a:srgbClr val="FFFFFF"/>
              </a:solidFill>
            </a:ln>
          </a:left>
        </a:tcBdr>
        <a:fill>
          <a:noFill/>
        </a:fill>
      </a:tcStyle>
    </a:nwCell>
  </a:tblStyle>
  <a:tblStyle styleId="{1E8862BB-139B-41F9-AC99-0433D2F710AA}" styleName="1e8862bb-139b-41f9-ac99-0433d2f710aa">
    <a:tblBg>
      <a:fill>
        <a:noFill/>
      </a:fill>
    </a:tblBg>
    <a:wholeTbl>
      <a:tcTxStyle b="off">
        <a:srgbClr val="63666A"/>
      </a:tcTxStyle>
      <a:tcStyle>
        <a:tcBdr>
          <a:left>
            <a:ln>
              <a:noFill/>
            </a:ln>
          </a:left>
          <a:right>
            <a:ln w="12700" cmpd="sng">
              <a:solidFill>
                <a:srgbClr val="FFFFFF"/>
              </a:solidFill>
            </a:ln>
          </a:right>
          <a:top>
            <a:ln>
              <a:noFill/>
            </a:ln>
          </a:top>
          <a:bottom>
            <a:ln w="12700" cmpd="sng">
              <a:solidFill>
                <a:srgbClr val="FFFFFF"/>
              </a:solidFill>
            </a:ln>
          </a:bottom>
          <a:insideH>
            <a:ln w="12700" cmpd="sng">
              <a:solidFill>
                <a:srgbClr val="00153D"/>
              </a:solidFill>
            </a:ln>
          </a:insideH>
          <a:insideV>
            <a:ln w="12700" cmpd="sng">
              <a:solidFill>
                <a:srgbClr val="FFFFFF"/>
              </a:solidFill>
            </a:ln>
          </a:insideV>
        </a:tcBdr>
        <a:fill>
          <a:solidFill>
            <a:srgbClr val="FFFFFF"/>
          </a:solidFill>
        </a:fill>
      </a:tcStyle>
    </a:wholeTbl>
    <a:band1H>
      <a:tcStyle>
        <a:tcBdr/>
      </a:tcStyle>
    </a:band1H>
    <a:band2H>
      <a:tcTxStyle b="off">
        <a:srgbClr val="63666A"/>
      </a:tcTxStyle>
      <a:tcStyle>
        <a:tcBdr>
          <a:insideH>
            <a:ln w="12700" cmpd="sng">
              <a:solidFill>
                <a:srgbClr val="FFFFFF"/>
              </a:solidFill>
            </a:ln>
          </a:insideH>
        </a:tcBdr>
        <a:fill>
          <a:solidFill>
            <a:srgbClr val="FFFFFF"/>
          </a:solidFill>
        </a:fill>
      </a:tcStyle>
    </a:band2H>
    <a:band1V>
      <a:tcStyle>
        <a:tcBdr/>
      </a:tcStyle>
    </a:band1V>
    <a:band2V>
      <a:tcStyle>
        <a:tcBdr/>
      </a:tcStyle>
    </a:band2V>
    <a:lastCol>
      <a:tcTxStyle b="off">
        <a:srgbClr val="63666A"/>
      </a:tcTxStyle>
      <a:tcStyle>
        <a:tcBdr>
          <a:right>
            <a:ln w="12700" cmpd="sng">
              <a:solidFill>
                <a:srgbClr val="00153D"/>
              </a:solidFill>
            </a:ln>
          </a:right>
        </a:tcBdr>
        <a:fill>
          <a:solidFill>
            <a:srgbClr val="FFFFFF"/>
          </a:solidFill>
        </a:fill>
      </a:tcStyle>
    </a:lastCol>
    <a:firstCol>
      <a:tcTxStyle b="on">
        <a:srgbClr val="FFFFFF"/>
      </a:tcTxStyle>
      <a:tcStyle>
        <a:tcBdr>
          <a:insideH>
            <a:ln w="12700" cmpd="sng">
              <a:solidFill>
                <a:srgbClr val="FFFFFF"/>
              </a:solidFill>
            </a:ln>
          </a:insideH>
        </a:tcBdr>
        <a:fill>
          <a:solidFill>
            <a:srgbClr val="3F9C35"/>
          </a:solidFill>
        </a:fill>
      </a:tcStyle>
    </a:firstCol>
    <a:lastRow>
      <a:tcTxStyle b="off">
        <a:srgbClr val="888B8D"/>
      </a:tcTxStyle>
      <a:tcStyle>
        <a:tcBdr>
          <a:top>
            <a:ln>
              <a:noFill/>
            </a:ln>
          </a:top>
          <a:bottom>
            <a:ln w="12700" cmpd="sng">
              <a:solidFill>
                <a:srgbClr val="00153D"/>
              </a:solidFill>
            </a:ln>
          </a:bottom>
          <a:insideV>
            <a:ln w="12700" cmpd="sng">
              <a:solidFill>
                <a:srgbClr val="00153D"/>
              </a:solidFill>
            </a:ln>
          </a:insideV>
        </a:tcBdr>
        <a:fill>
          <a:solidFill>
            <a:srgbClr val="FFFFFF"/>
          </a:solidFill>
        </a:fill>
      </a:tcStyle>
    </a:lastRow>
    <a:seCell>
      <a:tcTxStyle b="off">
        <a:srgbClr val="888B8D"/>
      </a:tcTxStyle>
      <a:tcStyle>
        <a:tcBdr/>
        <a:fill>
          <a:solidFill>
            <a:srgbClr val="FFFFFF"/>
          </a:solidFill>
        </a:fill>
      </a:tcStyle>
    </a:seCell>
    <a:swCell>
      <a:tcTxStyle b="on">
        <a:srgbClr val="FFFFFF"/>
      </a:tcTxStyle>
      <a:tcStyle>
        <a:tcBdr>
          <a:top>
            <a:ln w="12700" cmpd="sng">
              <a:solidFill>
                <a:srgbClr val="FFFFFF"/>
              </a:solidFill>
            </a:ln>
          </a:top>
          <a:bottom>
            <a:ln w="12700" cmpd="sng">
              <a:solidFill>
                <a:srgbClr val="FFFFFF"/>
              </a:solidFill>
            </a:ln>
          </a:bottom>
        </a:tcBdr>
        <a:fill>
          <a:solidFill>
            <a:srgbClr val="3F9C35"/>
          </a:solidFill>
        </a:fill>
      </a:tcStyle>
    </a:swCell>
    <a:firstRow>
      <a:tcTxStyle b="on">
        <a:srgbClr val="FFFFFF"/>
      </a:tcTxStyle>
      <a:tcStyle>
        <a:tcBdr>
          <a:top>
            <a:ln w="12700" cmpd="sng">
              <a:solidFill>
                <a:srgbClr val="FFFFFF"/>
              </a:solidFill>
            </a:ln>
          </a:top>
          <a:bottom>
            <a:ln w="38100" cmpd="sng">
              <a:solidFill>
                <a:srgbClr val="FFFFFF"/>
              </a:solidFill>
            </a:ln>
          </a:bottom>
        </a:tcBdr>
        <a:fill>
          <a:solidFill>
            <a:srgbClr val="00153D"/>
          </a:solidFill>
        </a:fill>
      </a:tcStyle>
    </a:firstRow>
    <a:neCell>
      <a:tcTxStyle b="on">
        <a:srgbClr val="FFFFFF"/>
      </a:tcTxStyle>
      <a:tcStyle>
        <a:tcBdr>
          <a:left>
            <a:ln w="12700" cmpd="sng">
              <a:solidFill>
                <a:srgbClr val="FFFFFF"/>
              </a:solidFill>
            </a:ln>
          </a:left>
          <a:right>
            <a:ln w="12700" cmpd="sng">
              <a:solidFill>
                <a:srgbClr val="FFFFFF"/>
              </a:solidFill>
            </a:ln>
          </a:right>
        </a:tcBdr>
        <a:fill>
          <a:solidFill>
            <a:srgbClr val="00153D"/>
          </a:solidFill>
        </a:fill>
      </a:tcStyle>
    </a:neCell>
    <a:nwCell>
      <a:tcTxStyle b="on">
        <a:srgbClr val="FFFFFF"/>
      </a:tcTxStyle>
      <a:tcStyle>
        <a:tcBdr>
          <a:left>
            <a:ln w="12700" cmpd="sng">
              <a:solidFill>
                <a:srgbClr val="FFFFFF"/>
              </a:solidFill>
            </a:ln>
          </a:left>
        </a:tcBdr>
        <a:fill>
          <a:noFill/>
        </a:fill>
      </a:tcStyle>
    </a:nwCell>
  </a:tblStyle>
  <a:tblStyle styleId="{39078F72-4BA9-4DD6-AE2C-85D8D8D6E950}" styleName="39078f72-4ba9-4dd6-ae2c-85d8d8d6e950">
    <a:tblBg>
      <a:fill>
        <a:noFill/>
      </a:fill>
    </a:tblBg>
    <a:wholeTbl>
      <a:tcTxStyle b="off">
        <a:srgbClr val="63666A"/>
      </a:tcTxStyle>
      <a:tcStyle>
        <a:tcBdr>
          <a:left>
            <a:ln>
              <a:noFill/>
            </a:ln>
          </a:left>
          <a:right>
            <a:ln w="12700" cmpd="sng">
              <a:solidFill>
                <a:srgbClr val="FFFFFF"/>
              </a:solidFill>
            </a:ln>
          </a:right>
          <a:top>
            <a:ln>
              <a:noFill/>
            </a:ln>
          </a:top>
          <a:bottom>
            <a:ln w="12700" cmpd="sng">
              <a:solidFill>
                <a:srgbClr val="FFFFFF"/>
              </a:solidFill>
            </a:ln>
          </a:bottom>
          <a:insideH>
            <a:ln w="12700" cmpd="sng">
              <a:solidFill>
                <a:srgbClr val="00153D"/>
              </a:solidFill>
            </a:ln>
          </a:insideH>
          <a:insideV>
            <a:ln w="12700" cmpd="sng">
              <a:solidFill>
                <a:srgbClr val="FFFFFF"/>
              </a:solidFill>
            </a:ln>
          </a:insideV>
        </a:tcBdr>
        <a:fill>
          <a:solidFill>
            <a:srgbClr val="FFFFFF"/>
          </a:solidFill>
        </a:fill>
      </a:tcStyle>
    </a:wholeTbl>
    <a:band1H>
      <a:tcStyle>
        <a:tcBdr/>
      </a:tcStyle>
    </a:band1H>
    <a:band2H>
      <a:tcTxStyle b="off">
        <a:srgbClr val="63666A"/>
      </a:tcTxStyle>
      <a:tcStyle>
        <a:tcBdr>
          <a:insideH>
            <a:ln w="12700" cmpd="sng">
              <a:solidFill>
                <a:srgbClr val="FFFFFF"/>
              </a:solidFill>
            </a:ln>
          </a:insideH>
        </a:tcBdr>
        <a:fill>
          <a:solidFill>
            <a:srgbClr val="FFFFFF"/>
          </a:solidFill>
        </a:fill>
      </a:tcStyle>
    </a:band2H>
    <a:band1V>
      <a:tcStyle>
        <a:tcBdr/>
      </a:tcStyle>
    </a:band1V>
    <a:band2V>
      <a:tcStyle>
        <a:tcBdr/>
      </a:tcStyle>
    </a:band2V>
    <a:lastCol>
      <a:tcTxStyle b="off">
        <a:srgbClr val="63666A"/>
      </a:tcTxStyle>
      <a:tcStyle>
        <a:tcBdr>
          <a:right>
            <a:ln w="12700" cmpd="sng">
              <a:solidFill>
                <a:srgbClr val="00153D"/>
              </a:solidFill>
            </a:ln>
          </a:right>
        </a:tcBdr>
        <a:fill>
          <a:solidFill>
            <a:srgbClr val="FFFFFF"/>
          </a:solidFill>
        </a:fill>
      </a:tcStyle>
    </a:lastCol>
    <a:firstCol>
      <a:tcTxStyle b="on">
        <a:srgbClr val="FFFFFF"/>
      </a:tcTxStyle>
      <a:tcStyle>
        <a:tcBdr>
          <a:insideH>
            <a:ln w="12700" cmpd="sng">
              <a:solidFill>
                <a:srgbClr val="FFFFFF"/>
              </a:solidFill>
            </a:ln>
          </a:insideH>
        </a:tcBdr>
        <a:fill>
          <a:solidFill>
            <a:srgbClr val="63666A"/>
          </a:solidFill>
        </a:fill>
      </a:tcStyle>
    </a:firstCol>
    <a:lastRow>
      <a:tcTxStyle b="off">
        <a:srgbClr val="888B8D"/>
      </a:tcTxStyle>
      <a:tcStyle>
        <a:tcBdr>
          <a:top>
            <a:ln>
              <a:noFill/>
            </a:ln>
          </a:top>
          <a:bottom>
            <a:ln w="12700" cmpd="sng">
              <a:solidFill>
                <a:srgbClr val="00153D"/>
              </a:solidFill>
            </a:ln>
          </a:bottom>
          <a:insideV>
            <a:ln w="12700" cmpd="sng">
              <a:solidFill>
                <a:srgbClr val="00153D"/>
              </a:solidFill>
            </a:ln>
          </a:insideV>
        </a:tcBdr>
        <a:fill>
          <a:solidFill>
            <a:srgbClr val="FFFFFF"/>
          </a:solidFill>
        </a:fill>
      </a:tcStyle>
    </a:lastRow>
    <a:seCell>
      <a:tcTxStyle b="off">
        <a:srgbClr val="888B8D"/>
      </a:tcTxStyle>
      <a:tcStyle>
        <a:tcBdr/>
        <a:fill>
          <a:solidFill>
            <a:srgbClr val="FFFFFF"/>
          </a:solidFill>
        </a:fill>
      </a:tcStyle>
    </a:seCell>
    <a:swCell>
      <a:tcTxStyle b="on">
        <a:srgbClr val="FFFFFF"/>
      </a:tcTxStyle>
      <a:tcStyle>
        <a:tcBdr>
          <a:top>
            <a:ln w="12700" cmpd="sng">
              <a:solidFill>
                <a:srgbClr val="FFFFFF"/>
              </a:solidFill>
            </a:ln>
          </a:top>
          <a:bottom>
            <a:ln w="12700" cmpd="sng">
              <a:solidFill>
                <a:srgbClr val="FFFFFF"/>
              </a:solidFill>
            </a:ln>
          </a:bottom>
        </a:tcBdr>
        <a:fill>
          <a:solidFill>
            <a:srgbClr val="63666A"/>
          </a:solidFill>
        </a:fill>
      </a:tcStyle>
    </a:swCell>
    <a:firstRow>
      <a:tcTxStyle b="on">
        <a:srgbClr val="FFFFFF"/>
      </a:tcTxStyle>
      <a:tcStyle>
        <a:tcBdr>
          <a:top>
            <a:ln w="12700" cmpd="sng">
              <a:solidFill>
                <a:srgbClr val="FFFFFF"/>
              </a:solidFill>
            </a:ln>
          </a:top>
          <a:bottom>
            <a:ln w="38100" cmpd="sng">
              <a:solidFill>
                <a:srgbClr val="FFFFFF"/>
              </a:solidFill>
            </a:ln>
          </a:bottom>
        </a:tcBdr>
        <a:fill>
          <a:solidFill>
            <a:srgbClr val="00153D"/>
          </a:solidFill>
        </a:fill>
      </a:tcStyle>
    </a:firstRow>
    <a:neCell>
      <a:tcTxStyle b="on">
        <a:srgbClr val="FFFFFF"/>
      </a:tcTxStyle>
      <a:tcStyle>
        <a:tcBdr>
          <a:left>
            <a:ln w="12700" cmpd="sng">
              <a:solidFill>
                <a:srgbClr val="FFFFFF"/>
              </a:solidFill>
            </a:ln>
          </a:left>
          <a:right>
            <a:ln w="12700" cmpd="sng">
              <a:solidFill>
                <a:srgbClr val="FFFFFF"/>
              </a:solidFill>
            </a:ln>
          </a:right>
        </a:tcBdr>
        <a:fill>
          <a:solidFill>
            <a:srgbClr val="00153D"/>
          </a:solidFill>
        </a:fill>
      </a:tcStyle>
    </a:neCell>
    <a:nwCell>
      <a:tcTxStyle b="on">
        <a:srgbClr val="FFFFFF"/>
      </a:tcTxStyle>
      <a:tcStyle>
        <a:tcBdr>
          <a:left>
            <a:ln w="12700" cmpd="sng">
              <a:solidFill>
                <a:srgbClr val="FFFFFF"/>
              </a:solidFill>
            </a:ln>
          </a:left>
        </a:tcBdr>
        <a:fill>
          <a:noFill/>
        </a:fill>
      </a:tcStyle>
    </a:nwCell>
  </a:tblStyle>
  <a:tblStyle styleId="{F6BA06DA-0CB6-41C2-B7EC-3378D334FA1E}" styleName="f6ba06da-0cb6-41c2-b7ec-3378d334fa1e">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63666A"/>
      </a:tcTxStyle>
      <a:tcStyle>
        <a:tcBdr/>
        <a:fill>
          <a:solidFill>
            <a:srgbClr val="FFFFFF"/>
          </a:solidFill>
        </a:fill>
      </a:tcStyle>
    </a:firstCol>
    <a:lastRow>
      <a:tcTxStyle b="on">
        <a:srgbClr val="009CDE"/>
      </a:tcTxStyle>
      <a:tcStyle>
        <a:tcBdr>
          <a:top>
            <a:ln>
              <a:noFill/>
            </a:ln>
          </a:top>
          <a:bottom>
            <a:ln>
              <a:noFill/>
            </a:ln>
          </a:bottom>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8C525256-2B23-4280-81A4-C904D4F0A342}" styleName="8c525256-2b23-4280-81a4-c904d4f0a342">
    <a:tblBg>
      <a:fill>
        <a:noFill/>
      </a:fill>
    </a:tblBg>
    <a:wholeTbl>
      <a:tcTxStyle b="off">
        <a:srgbClr val="63666A"/>
      </a:tcTxStyle>
      <a:tcStyle>
        <a:tcBdr>
          <a:left>
            <a:ln>
              <a:noFill/>
            </a:ln>
          </a:left>
          <a:right>
            <a:ln>
              <a:noFill/>
            </a:ln>
          </a:right>
          <a:top>
            <a:ln>
              <a:noFill/>
            </a:ln>
          </a:top>
          <a:bottom>
            <a:ln>
              <a:noFill/>
            </a:ln>
          </a:bottom>
          <a:insideH>
            <a:ln w="38100" cmpd="sng">
              <a:solidFill>
                <a:srgbClr val="FFFFFF"/>
              </a:solidFill>
            </a:ln>
          </a:insideH>
          <a:insideV>
            <a:ln>
              <a:noFill/>
            </a:ln>
          </a:insideV>
        </a:tcBdr>
        <a:fill>
          <a:solidFill>
            <a:srgbClr val="E7E7E8"/>
          </a:solidFill>
        </a:fill>
      </a:tcStyle>
    </a:wholeTbl>
    <a:band1H>
      <a:tcStyle>
        <a:tcBdr/>
      </a:tcStyle>
    </a:band1H>
    <a:band2H>
      <a:tcTxStyle b="off">
        <a:srgbClr val="63666A"/>
      </a:tcTxStyle>
      <a:tcStyle>
        <a:tcBdr/>
        <a:fill>
          <a:solidFill>
            <a:srgbClr val="CCEBF8"/>
          </a:solidFill>
        </a:fill>
      </a:tcStyle>
    </a:band2H>
    <a:band1V>
      <a:tcStyle>
        <a:tcBdr/>
      </a:tcStyle>
    </a:band1V>
    <a:band2V>
      <a:tcStyle>
        <a:tcBdr/>
      </a:tcStyle>
    </a:band2V>
    <a:lastCol>
      <a:tcTxStyle b="on">
        <a:srgbClr val="63666A"/>
      </a:tcTxStyle>
      <a:tcStyle>
        <a:tcBdr/>
        <a:fill>
          <a:solidFill>
            <a:srgbClr val="E7E7E8"/>
          </a:solidFill>
        </a:fill>
      </a:tcStyle>
    </a:lastCol>
    <a:firstCol>
      <a:tcTxStyle b="on">
        <a:srgbClr val="FFFFFF"/>
      </a:tcTxStyle>
      <a:tcStyle>
        <a:tcBdr/>
        <a:fill>
          <a:solidFill>
            <a:srgbClr val="009CDE"/>
          </a:solidFill>
        </a:fill>
      </a:tcStyle>
    </a:firstCol>
    <a:lastRow>
      <a:tcTxStyle b="on">
        <a:srgbClr val="63666A"/>
      </a:tcTxStyle>
      <a:tcStyle>
        <a:tcBdr>
          <a:top>
            <a:ln w="38100" cmpd="sng">
              <a:solidFill>
                <a:srgbClr val="FFFFFF"/>
              </a:solidFill>
            </a:ln>
          </a:top>
        </a:tcBdr>
        <a:fill>
          <a:solidFill>
            <a:srgbClr val="E7E7E8"/>
          </a:solidFill>
        </a:fill>
      </a:tcStyle>
    </a:lastRow>
    <a:seCell>
      <a:tcTxStyle b="on">
        <a:srgbClr val="63666A"/>
      </a:tcTxStyle>
      <a:tcStyle>
        <a:tcBdr>
          <a:bottom>
            <a:ln w="38100" cmpd="sng">
              <a:solidFill>
                <a:srgbClr val="FFFFFF"/>
              </a:solidFill>
            </a:ln>
          </a:bottom>
        </a:tcBdr>
        <a:fill>
          <a:solidFill>
            <a:srgbClr val="E7E7E8"/>
          </a:solidFill>
        </a:fill>
      </a:tcStyle>
    </a:seCell>
    <a:swCell>
      <a:tcTxStyle b="on">
        <a:srgbClr val="FFFFFF"/>
      </a:tcTxStyle>
      <a:tcStyle>
        <a:tcBdr/>
        <a:fill>
          <a:solidFill>
            <a:srgbClr val="009CDE"/>
          </a:solidFill>
        </a:fill>
      </a:tcStyle>
    </a:swCell>
    <a:firstRow>
      <a:tcTxStyle b="on">
        <a:srgbClr val="FFFFFF"/>
      </a:tcTxStyle>
      <a:tcStyle>
        <a:tcBdr>
          <a:bottom>
            <a:ln w="38100" cmpd="sng">
              <a:solidFill>
                <a:srgbClr val="FFFFFF"/>
              </a:solid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611E1BE3-A303-4292-B55C-C80CEE36071C}" styleName="611e1be3-a303-4292-b55c-c80cee36071c">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w="6350" cmpd="sng">
              <a:solidFill>
                <a:srgbClr val="009CDE"/>
              </a:solidFill>
            </a:ln>
          </a:insideH>
          <a:insideV>
            <a:ln>
              <a:noFill/>
            </a:ln>
          </a:insideV>
        </a:tcBdr>
        <a:fill>
          <a:solidFill>
            <a:srgbClr val="FFFFFF"/>
          </a:solidFill>
        </a:fill>
      </a:tcStyle>
    </a:wholeTbl>
    <a:band1H>
      <a:tcStyle>
        <a:tcBdr/>
      </a:tcStyle>
    </a:band1H>
    <a:band2H>
      <a:tcTxStyle b="off">
        <a:srgbClr val="63666A"/>
      </a:tcTxStyle>
      <a:tcStyle>
        <a:tcBdr/>
        <a:fill>
          <a:solidFill>
            <a:srgbClr val="CCEBF8"/>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63666A"/>
      </a:tcTxStyle>
      <a:tcStyle>
        <a:tcBdr/>
        <a:fill>
          <a:solidFill>
            <a:srgbClr val="E7E7E8"/>
          </a:solidFill>
        </a:fill>
      </a:tcStyle>
    </a:firstCol>
    <a:lastRow>
      <a:tcTxStyle b="on">
        <a:srgbClr val="63666A"/>
      </a:tcTxStyle>
      <a:tcStyle>
        <a:tcBdr>
          <a:top>
            <a:ln w="6350" cmpd="sng">
              <a:solidFill>
                <a:srgbClr val="009CDE"/>
              </a:solidFill>
            </a:ln>
          </a:top>
        </a:tcBdr>
        <a:fill>
          <a:solidFill>
            <a:srgbClr val="FFFFFF"/>
          </a:solidFill>
        </a:fill>
      </a:tcStyle>
    </a:lastRow>
    <a:seCell>
      <a:tcTxStyle b="on">
        <a:srgbClr val="63666A"/>
      </a:tcTxStyle>
      <a:tcStyle>
        <a:tcBdr/>
        <a:fill>
          <a:solidFill>
            <a:srgbClr val="FFFFFF"/>
          </a:solidFill>
        </a:fill>
      </a:tcStyle>
    </a:seCell>
    <a:swCell>
      <a:tcTxStyle b="on">
        <a:srgbClr val="63666A"/>
      </a:tcTxStyle>
      <a:tcStyle>
        <a:tcBdr/>
        <a:fill>
          <a:solidFill>
            <a:srgbClr val="E7E7E8"/>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8DED9544-C83C-47CA-B2ED-93452F1AAA6D}" styleName="8ded9544-c83c-47ca-b2ed-93452f1aaa6d">
    <a:tblBg>
      <a:fill>
        <a:noFill/>
      </a:fill>
    </a:tblBg>
    <a:wholeTbl>
      <a:tcTxStyle b="off">
        <a:srgbClr val="009CDE"/>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FFFFFF"/>
          </a:solidFill>
        </a:fill>
      </a:tcStyle>
    </a:band2H>
    <a:band1V>
      <a:tcStyle>
        <a:tcBdr/>
      </a:tcStyle>
    </a:band1V>
    <a:band2V>
      <a:tcStyle>
        <a:tcBdr/>
      </a:tcStyle>
    </a:band2V>
    <a:lastCol>
      <a:tcTxStyle b="on">
        <a:srgbClr val="009CDE"/>
      </a:tcTxStyle>
      <a:tcStyle>
        <a:tcBdr/>
        <a:fill>
          <a:solidFill>
            <a:srgbClr val="FFFFFF"/>
          </a:solidFill>
        </a:fill>
      </a:tcStyle>
    </a:lastCol>
    <a:firstCol>
      <a:tcTxStyle b="on">
        <a:srgbClr val="009CDE"/>
      </a:tcTxStyle>
      <a:tcStyle>
        <a:tcBdr/>
        <a:fill>
          <a:solidFill>
            <a:srgbClr val="FFFFFF"/>
          </a:solidFill>
        </a:fill>
      </a:tcStyle>
    </a:firstCol>
    <a:lastRow>
      <a:tcTxStyle b="on">
        <a:srgbClr val="009CDE"/>
      </a:tcTxStyle>
      <a:tcStyle>
        <a:tcBdr>
          <a:top>
            <a:ln w="6350" cmpd="sng">
              <a:solidFill>
                <a:srgbClr val="009CDE"/>
              </a:solidFill>
            </a:ln>
          </a:top>
          <a:bottom>
            <a:ln>
              <a:noFill/>
            </a:ln>
          </a:bottom>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009CDE"/>
      </a:tcTxStyle>
      <a:tcStyle>
        <a:tcBdr>
          <a:top>
            <a:ln>
              <a:noFill/>
            </a:ln>
          </a:top>
          <a:bottom>
            <a:ln w="12700" cmpd="sng">
              <a:solidFill>
                <a:srgbClr val="009CDE"/>
              </a:solidFill>
            </a:ln>
          </a:bottom>
        </a:tcBdr>
        <a:fill>
          <a:solidFill>
            <a:srgbClr val="FFFFFF"/>
          </a:solidFill>
        </a:fill>
      </a:tcStyle>
    </a:firstRow>
    <a:neCell>
      <a:tcTxStyle b="on">
        <a:srgbClr val="009CDE"/>
      </a:tcTxStyle>
      <a:tcStyle>
        <a:tcBdr/>
        <a:fill>
          <a:solidFill>
            <a:srgbClr val="FFFFFF"/>
          </a:solidFill>
        </a:fill>
      </a:tcStyle>
    </a:neCell>
    <a:nwCell>
      <a:tcTxStyle b="on">
        <a:srgbClr val="009CDE"/>
      </a:tcTxStyle>
      <a:tcStyle>
        <a:tcBdr/>
        <a:fill>
          <a:solidFill>
            <a:srgbClr val="FFFFFF"/>
          </a:solidFill>
        </a:fill>
      </a:tcStyle>
    </a:nwCell>
  </a:tblStyle>
  <a:tblStyle styleId="{13C22B86-D998-4ADE-9D01-BE0333F6AB92}" styleName="13c22b86-d998-4ade-9d01-be0333f6ab92">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FFFFF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888B8D"/>
      </a:tcTxStyle>
      <a:tcStyle>
        <a:tcBdr/>
        <a:fill>
          <a:solidFill>
            <a:srgbClr val="FFFFFF"/>
          </a:solidFill>
        </a:fill>
      </a:tcStyle>
    </a:firstCol>
    <a:lastRow>
      <a:tcTxStyle b="off">
        <a:srgbClr val="888B8D"/>
      </a:tcTxStyle>
      <a:tcStyle>
        <a:tcBdr>
          <a:top>
            <a:ln>
              <a:noFill/>
            </a:ln>
          </a:top>
          <a:bottom>
            <a:ln>
              <a:noFill/>
            </a:ln>
          </a:bottom>
        </a:tcBdr>
        <a:fill>
          <a:solidFill>
            <a:srgbClr val="FFFFFF"/>
          </a:solidFill>
        </a:fill>
      </a:tcStyle>
    </a:lastRow>
    <a:seCell>
      <a:tcTxStyle b="off">
        <a:srgbClr val="888B8D"/>
      </a:tcTxStyle>
      <a:tcStyle>
        <a:tcBdr/>
        <a:fill>
          <a:solidFill>
            <a:srgbClr val="FFFFFF"/>
          </a:solidFill>
        </a:fill>
      </a:tcStyle>
    </a:seCell>
    <a:swCell>
      <a:tcTxStyle b="off">
        <a:srgbClr val="888B8D"/>
      </a:tcTxStyle>
      <a:tcStyle>
        <a:tcBdr/>
        <a:fill>
          <a:solidFill>
            <a:srgbClr val="FFFFFF"/>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A4FF8B2D-AB02-4E96-92D3-1757DEAC7FE8}" styleName="a4ff8b2d-ab02-4e96-92d3-1757deac7fe8">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FFFFF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ff">
        <a:srgbClr val="888B8D"/>
      </a:tcTxStyle>
      <a:tcStyle>
        <a:tcBdr/>
        <a:fill>
          <a:solidFill>
            <a:srgbClr val="FFFFFF"/>
          </a:solidFill>
        </a:fill>
      </a:tcStyle>
    </a:firstCol>
    <a:lastRow>
      <a:tcTxStyle b="off">
        <a:srgbClr val="888B8D"/>
      </a:tcTxStyle>
      <a:tcStyle>
        <a:tcBdr>
          <a:top>
            <a:ln>
              <a:noFill/>
            </a:ln>
          </a:top>
          <a:bottom>
            <a:ln>
              <a:noFill/>
            </a:ln>
          </a:bottom>
        </a:tcBdr>
        <a:fill>
          <a:solidFill>
            <a:srgbClr val="FFFFFF"/>
          </a:solidFill>
        </a:fill>
      </a:tcStyle>
    </a:lastRow>
    <a:seCell>
      <a:tcTxStyle b="off">
        <a:srgbClr val="888B8D"/>
      </a:tcTxStyle>
      <a:tcStyle>
        <a:tcBdr/>
        <a:fill>
          <a:solidFill>
            <a:srgbClr val="FFFFFF"/>
          </a:solidFill>
        </a:fill>
      </a:tcStyle>
    </a:seCell>
    <a:swCell>
      <a:tcTxStyle b="off">
        <a:srgbClr val="888B8D"/>
      </a:tcTxStyle>
      <a:tcStyle>
        <a:tcBdr/>
        <a:fill>
          <a:solidFill>
            <a:srgbClr val="FFFFFF"/>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0C212F8D-ED23-47C2-ACAD-2A8C57B95942}" styleName="0c212f8d-ed23-47c2-acad-2a8c57b95942">
    <a:tblBg>
      <a:fill>
        <a:noFill/>
      </a:fill>
    </a:tblBg>
    <a:wholeTbl>
      <a:tcTxStyle b="off">
        <a:srgbClr val="FFFFFF"/>
      </a:tcTxStyle>
      <a:tcStyle>
        <a:tcBdr>
          <a:left>
            <a:ln>
              <a:noFill/>
            </a:ln>
          </a:left>
          <a:right>
            <a:ln>
              <a:noFill/>
            </a:ln>
          </a:right>
          <a:top>
            <a:ln w="12700" cmpd="sng">
              <a:solidFill>
                <a:srgbClr val="00153D"/>
              </a:solidFill>
            </a:ln>
          </a:top>
          <a:bottom>
            <a:ln w="12700" cmpd="sng">
              <a:solidFill>
                <a:srgbClr val="00153D"/>
              </a:solidFill>
            </a:ln>
          </a:bottom>
          <a:insideH>
            <a:ln>
              <a:noFill/>
            </a:ln>
          </a:insideH>
          <a:insideV>
            <a:ln>
              <a:noFill/>
            </a:ln>
          </a:insideV>
        </a:tcBdr>
        <a:fill>
          <a:noFill/>
        </a:fill>
      </a:tcStyle>
    </a:wholeTbl>
    <a:band1H>
      <a:tcStyle>
        <a:tcBdr/>
      </a:tcStyle>
    </a:band1H>
    <a:band2H>
      <a:tcTxStyle b="off">
        <a:srgbClr val="FFFFFF"/>
      </a:tcTxStyle>
      <a:tcStyle>
        <a:tcBdr/>
        <a:fill>
          <a:noFill/>
        </a:fill>
      </a:tcStyle>
    </a:band2H>
    <a:band1V>
      <a:tcStyle>
        <a:tcBdr/>
      </a:tcStyle>
    </a:band1V>
    <a:band2V>
      <a:tcStyle>
        <a:tcBdr/>
      </a:tcStyle>
    </a:band2V>
    <a:lastCol>
      <a:tcTxStyle b="on">
        <a:srgbClr val="FFFFFF"/>
      </a:tcTxStyle>
      <a:tcStyle>
        <a:tcBdr/>
        <a:fill>
          <a:noFill/>
        </a:fill>
      </a:tcStyle>
    </a:lastCol>
    <a:firstCol>
      <a:tcTxStyle b="on">
        <a:srgbClr val="FFFFFF"/>
      </a:tcTxStyle>
      <a:tcStyle>
        <a:tcBdr/>
        <a:fill>
          <a:noFill/>
        </a:fill>
      </a:tcStyle>
    </a:firstCol>
    <a:lastRow>
      <a:tcTxStyle b="on">
        <a:srgbClr val="FFFFFF"/>
      </a:tcTxStyle>
      <a:tcStyle>
        <a:tcBdr>
          <a:top>
            <a:ln>
              <a:noFill/>
            </a:ln>
          </a:top>
          <a:bottom>
            <a:ln>
              <a:noFill/>
            </a:ln>
          </a:bottom>
        </a:tcBdr>
        <a:fill>
          <a:noFill/>
        </a:fill>
      </a:tcStyle>
    </a:lastRow>
    <a:seCell>
      <a:tcTxStyle b="on">
        <a:srgbClr val="FFFFFF"/>
      </a:tcTxStyle>
      <a:tcStyle>
        <a:tcBdr/>
        <a:fill>
          <a:noFill/>
        </a:fill>
      </a:tcStyle>
    </a:seCell>
    <a:swCell>
      <a:tcTxStyle b="on">
        <a:srgbClr val="FFFFFF"/>
      </a:tcTxStyle>
      <a:tcStyle>
        <a:tcBdr/>
        <a:fill>
          <a:no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fill>
          <a:solidFill>
            <a:srgbClr val="00153D"/>
          </a:solidFill>
        </a:fill>
      </a:tcStyle>
    </a:neCell>
    <a:nwCell>
      <a:tcTxStyle b="on">
        <a:srgbClr val="FFFFFF"/>
      </a:tcTxStyle>
      <a:tcStyle>
        <a:tcBdr/>
        <a:fill>
          <a:solidFill>
            <a:srgbClr val="00153D"/>
          </a:solidFill>
        </a:fill>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85" autoAdjust="0"/>
    <p:restoredTop sz="96120" autoAdjust="0"/>
  </p:normalViewPr>
  <p:slideViewPr>
    <p:cSldViewPr showGuides="1">
      <p:cViewPr varScale="1">
        <p:scale>
          <a:sx n="120" d="100"/>
          <a:sy n="120" d="100"/>
        </p:scale>
        <p:origin x="126" y="162"/>
      </p:cViewPr>
      <p:guideLst>
        <p:guide orient="horz" pos="1196"/>
        <p:guide pos="495"/>
        <p:guide pos="7185"/>
        <p:guide orient="horz" pos="3917"/>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bleStyles" Target="tableStyles.xml"/><Relationship Id="rId21" Type="http://schemas.openxmlformats.org/officeDocument/2006/relationships/slide" Target="slides/slide13.xml"/><Relationship Id="rId34" Type="http://schemas.openxmlformats.org/officeDocument/2006/relationships/slide" Target="slides/slide26.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notesMaster" Target="notesMasters/notesMaster1.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F887-4B57-A85C-2CC20710EDE3}"/>
              </c:ext>
            </c:extLst>
          </c:dPt>
          <c:dPt>
            <c:idx val="1"/>
            <c:bubble3D val="0"/>
            <c:spPr>
              <a:noFill/>
              <a:ln w="19050">
                <a:noFill/>
              </a:ln>
              <a:effectLst/>
            </c:spPr>
            <c:extLst>
              <c:ext xmlns:c16="http://schemas.microsoft.com/office/drawing/2014/chart" uri="{C3380CC4-5D6E-409C-BE32-E72D297353CC}">
                <c16:uniqueId val="{00000003-F887-4B57-A85C-2CC20710EDE3}"/>
              </c:ext>
            </c:extLst>
          </c:dPt>
          <c:dPt>
            <c:idx val="2"/>
            <c:bubble3D val="0"/>
            <c:spPr>
              <a:solidFill>
                <a:schemeClr val="bg1"/>
              </a:solidFill>
              <a:ln w="19050">
                <a:noFill/>
              </a:ln>
              <a:effectLst/>
            </c:spPr>
            <c:extLst>
              <c:ext xmlns:c16="http://schemas.microsoft.com/office/drawing/2014/chart" uri="{C3380CC4-5D6E-409C-BE32-E72D297353CC}">
                <c16:uniqueId val="{00000005-F887-4B57-A85C-2CC20710EDE3}"/>
              </c:ext>
            </c:extLst>
          </c:dPt>
          <c:dPt>
            <c:idx val="3"/>
            <c:bubble3D val="0"/>
            <c:spPr>
              <a:solidFill>
                <a:schemeClr val="bg1"/>
              </a:solidFill>
              <a:ln w="19050">
                <a:noFill/>
              </a:ln>
              <a:effectLst/>
            </c:spPr>
            <c:extLst>
              <c:ext xmlns:c16="http://schemas.microsoft.com/office/drawing/2014/chart" uri="{C3380CC4-5D6E-409C-BE32-E72D297353CC}">
                <c16:uniqueId val="{00000007-F887-4B57-A85C-2CC20710EDE3}"/>
              </c:ext>
            </c:extLst>
          </c:dPt>
          <c:cat>
            <c:strRef>
              <c:f>Sheet1!$A$2:$A$5</c:f>
              <c:strCache>
                <c:ptCount val="1"/>
                <c:pt idx="0">
                  <c:v>Assurance</c:v>
                </c:pt>
              </c:strCache>
            </c:strRef>
          </c:cat>
          <c:val>
            <c:numRef>
              <c:f>Sheet1!$B$2:$B$5</c:f>
              <c:numCache>
                <c:formatCode>0%</c:formatCode>
                <c:ptCount val="4"/>
                <c:pt idx="0">
                  <c:v>0.33</c:v>
                </c:pt>
                <c:pt idx="1">
                  <c:v>0.66999999999999993</c:v>
                </c:pt>
              </c:numCache>
            </c:numRef>
          </c:val>
          <c:extLst>
            <c:ext xmlns:c16="http://schemas.microsoft.com/office/drawing/2014/chart" uri="{C3380CC4-5D6E-409C-BE32-E72D297353CC}">
              <c16:uniqueId val="{00000008-F887-4B57-A85C-2CC20710EDE3}"/>
            </c:ext>
          </c:extLst>
        </c:ser>
        <c:dLbls>
          <c:showLegendKey val="0"/>
          <c:showVal val="0"/>
          <c:showCatName val="0"/>
          <c:showSerName val="0"/>
          <c:showPercent val="0"/>
          <c:showBubbleSize val="0"/>
          <c:showLeaderLines val="1"/>
        </c:dLbls>
        <c:firstSliceAng val="0"/>
        <c:holeSize val="7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8E6A-492C-A92A-3C67DCE9CA27}"/>
              </c:ext>
            </c:extLst>
          </c:dPt>
          <c:dPt>
            <c:idx val="1"/>
            <c:bubble3D val="0"/>
            <c:spPr>
              <a:noFill/>
              <a:ln w="19050">
                <a:noFill/>
              </a:ln>
              <a:effectLst/>
            </c:spPr>
            <c:extLst>
              <c:ext xmlns:c16="http://schemas.microsoft.com/office/drawing/2014/chart" uri="{C3380CC4-5D6E-409C-BE32-E72D297353CC}">
                <c16:uniqueId val="{00000003-8E6A-492C-A92A-3C67DCE9CA27}"/>
              </c:ext>
            </c:extLst>
          </c:dPt>
          <c:dPt>
            <c:idx val="2"/>
            <c:bubble3D val="0"/>
            <c:spPr>
              <a:solidFill>
                <a:schemeClr val="bg1"/>
              </a:solidFill>
              <a:ln w="19050">
                <a:noFill/>
              </a:ln>
              <a:effectLst/>
            </c:spPr>
            <c:extLst>
              <c:ext xmlns:c16="http://schemas.microsoft.com/office/drawing/2014/chart" uri="{C3380CC4-5D6E-409C-BE32-E72D297353CC}">
                <c16:uniqueId val="{00000005-8E6A-492C-A92A-3C67DCE9CA27}"/>
              </c:ext>
            </c:extLst>
          </c:dPt>
          <c:dPt>
            <c:idx val="3"/>
            <c:bubble3D val="0"/>
            <c:spPr>
              <a:solidFill>
                <a:schemeClr val="bg1"/>
              </a:solidFill>
              <a:ln w="19050">
                <a:noFill/>
              </a:ln>
              <a:effectLst/>
            </c:spPr>
            <c:extLst>
              <c:ext xmlns:c16="http://schemas.microsoft.com/office/drawing/2014/chart" uri="{C3380CC4-5D6E-409C-BE32-E72D297353CC}">
                <c16:uniqueId val="{00000007-8E6A-492C-A92A-3C67DCE9CA27}"/>
              </c:ext>
            </c:extLst>
          </c:dPt>
          <c:cat>
            <c:strRef>
              <c:f>Sheet1!$A$2:$A$5</c:f>
              <c:strCache>
                <c:ptCount val="1"/>
                <c:pt idx="0">
                  <c:v>Assurance</c:v>
                </c:pt>
              </c:strCache>
            </c:strRef>
          </c:cat>
          <c:val>
            <c:numRef>
              <c:f>Sheet1!$B$2:$B$5</c:f>
              <c:numCache>
                <c:formatCode>0%</c:formatCode>
                <c:ptCount val="4"/>
                <c:pt idx="0">
                  <c:v>0.38</c:v>
                </c:pt>
                <c:pt idx="1">
                  <c:v>0.62</c:v>
                </c:pt>
              </c:numCache>
            </c:numRef>
          </c:val>
          <c:extLst>
            <c:ext xmlns:c16="http://schemas.microsoft.com/office/drawing/2014/chart" uri="{C3380CC4-5D6E-409C-BE32-E72D297353CC}">
              <c16:uniqueId val="{00000008-8E6A-492C-A92A-3C67DCE9CA27}"/>
            </c:ext>
          </c:extLst>
        </c:ser>
        <c:dLbls>
          <c:showLegendKey val="0"/>
          <c:showVal val="0"/>
          <c:showCatName val="0"/>
          <c:showSerName val="0"/>
          <c:showPercent val="0"/>
          <c:showBubbleSize val="0"/>
          <c:showLeaderLines val="1"/>
        </c:dLbls>
        <c:firstSliceAng val="0"/>
        <c:holeSize val="7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6CA8-452D-B31A-3F0374CB57EE}"/>
              </c:ext>
            </c:extLst>
          </c:dPt>
          <c:dPt>
            <c:idx val="1"/>
            <c:bubble3D val="0"/>
            <c:spPr>
              <a:noFill/>
              <a:ln w="19050">
                <a:noFill/>
              </a:ln>
              <a:effectLst/>
            </c:spPr>
            <c:extLst>
              <c:ext xmlns:c16="http://schemas.microsoft.com/office/drawing/2014/chart" uri="{C3380CC4-5D6E-409C-BE32-E72D297353CC}">
                <c16:uniqueId val="{00000003-6CA8-452D-B31A-3F0374CB57EE}"/>
              </c:ext>
            </c:extLst>
          </c:dPt>
          <c:dPt>
            <c:idx val="2"/>
            <c:bubble3D val="0"/>
            <c:spPr>
              <a:solidFill>
                <a:schemeClr val="bg1"/>
              </a:solidFill>
              <a:ln w="19050">
                <a:noFill/>
              </a:ln>
              <a:effectLst/>
            </c:spPr>
            <c:extLst>
              <c:ext xmlns:c16="http://schemas.microsoft.com/office/drawing/2014/chart" uri="{C3380CC4-5D6E-409C-BE32-E72D297353CC}">
                <c16:uniqueId val="{00000005-6CA8-452D-B31A-3F0374CB57EE}"/>
              </c:ext>
            </c:extLst>
          </c:dPt>
          <c:dPt>
            <c:idx val="3"/>
            <c:bubble3D val="0"/>
            <c:spPr>
              <a:solidFill>
                <a:schemeClr val="bg1"/>
              </a:solidFill>
              <a:ln w="19050">
                <a:noFill/>
              </a:ln>
              <a:effectLst/>
            </c:spPr>
            <c:extLst>
              <c:ext xmlns:c16="http://schemas.microsoft.com/office/drawing/2014/chart" uri="{C3380CC4-5D6E-409C-BE32-E72D297353CC}">
                <c16:uniqueId val="{00000007-6CA8-452D-B31A-3F0374CB57EE}"/>
              </c:ext>
            </c:extLst>
          </c:dPt>
          <c:cat>
            <c:strRef>
              <c:f>Sheet1!$A$2:$A$5</c:f>
              <c:strCache>
                <c:ptCount val="1"/>
                <c:pt idx="0">
                  <c:v>Assurance</c:v>
                </c:pt>
              </c:strCache>
            </c:strRef>
          </c:cat>
          <c:val>
            <c:numRef>
              <c:f>Sheet1!$B$2:$B$5</c:f>
              <c:numCache>
                <c:formatCode>0%</c:formatCode>
                <c:ptCount val="4"/>
                <c:pt idx="0">
                  <c:v>0.01</c:v>
                </c:pt>
                <c:pt idx="1">
                  <c:v>0.99</c:v>
                </c:pt>
              </c:numCache>
            </c:numRef>
          </c:val>
          <c:extLst>
            <c:ext xmlns:c16="http://schemas.microsoft.com/office/drawing/2014/chart" uri="{C3380CC4-5D6E-409C-BE32-E72D297353CC}">
              <c16:uniqueId val="{00000008-6CA8-452D-B31A-3F0374CB57EE}"/>
            </c:ext>
          </c:extLst>
        </c:ser>
        <c:dLbls>
          <c:showLegendKey val="0"/>
          <c:showVal val="0"/>
          <c:showCatName val="0"/>
          <c:showSerName val="0"/>
          <c:showPercent val="0"/>
          <c:showBubbleSize val="0"/>
          <c:showLeaderLines val="1"/>
        </c:dLbls>
        <c:firstSliceAng val="0"/>
        <c:holeSize val="7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E8A1-4705-8BA9-050F693E4EC4}"/>
              </c:ext>
            </c:extLst>
          </c:dPt>
          <c:dPt>
            <c:idx val="1"/>
            <c:bubble3D val="0"/>
            <c:spPr>
              <a:noFill/>
              <a:ln w="19050">
                <a:noFill/>
              </a:ln>
              <a:effectLst/>
            </c:spPr>
            <c:extLst>
              <c:ext xmlns:c16="http://schemas.microsoft.com/office/drawing/2014/chart" uri="{C3380CC4-5D6E-409C-BE32-E72D297353CC}">
                <c16:uniqueId val="{00000003-E8A1-4705-8BA9-050F693E4EC4}"/>
              </c:ext>
            </c:extLst>
          </c:dPt>
          <c:dPt>
            <c:idx val="2"/>
            <c:bubble3D val="0"/>
            <c:spPr>
              <a:solidFill>
                <a:schemeClr val="bg1"/>
              </a:solidFill>
              <a:ln w="19050">
                <a:noFill/>
              </a:ln>
              <a:effectLst/>
            </c:spPr>
            <c:extLst>
              <c:ext xmlns:c16="http://schemas.microsoft.com/office/drawing/2014/chart" uri="{C3380CC4-5D6E-409C-BE32-E72D297353CC}">
                <c16:uniqueId val="{00000005-E8A1-4705-8BA9-050F693E4EC4}"/>
              </c:ext>
            </c:extLst>
          </c:dPt>
          <c:dPt>
            <c:idx val="3"/>
            <c:bubble3D val="0"/>
            <c:spPr>
              <a:solidFill>
                <a:schemeClr val="bg1"/>
              </a:solidFill>
              <a:ln w="19050">
                <a:noFill/>
              </a:ln>
              <a:effectLst/>
            </c:spPr>
            <c:extLst>
              <c:ext xmlns:c16="http://schemas.microsoft.com/office/drawing/2014/chart" uri="{C3380CC4-5D6E-409C-BE32-E72D297353CC}">
                <c16:uniqueId val="{00000007-E8A1-4705-8BA9-050F693E4EC4}"/>
              </c:ext>
            </c:extLst>
          </c:dPt>
          <c:cat>
            <c:strRef>
              <c:f>Sheet1!$A$2:$A$5</c:f>
              <c:strCache>
                <c:ptCount val="1"/>
                <c:pt idx="0">
                  <c:v>Assurance</c:v>
                </c:pt>
              </c:strCache>
            </c:strRef>
          </c:cat>
          <c:val>
            <c:numRef>
              <c:f>Sheet1!$B$2:$B$5</c:f>
              <c:numCache>
                <c:formatCode>0%</c:formatCode>
                <c:ptCount val="4"/>
                <c:pt idx="0">
                  <c:v>0.28000000000000003</c:v>
                </c:pt>
                <c:pt idx="1">
                  <c:v>0.72</c:v>
                </c:pt>
              </c:numCache>
            </c:numRef>
          </c:val>
          <c:extLst>
            <c:ext xmlns:c16="http://schemas.microsoft.com/office/drawing/2014/chart" uri="{C3380CC4-5D6E-409C-BE32-E72D297353CC}">
              <c16:uniqueId val="{00000008-E8A1-4705-8BA9-050F693E4EC4}"/>
            </c:ext>
          </c:extLst>
        </c:ser>
        <c:dLbls>
          <c:showLegendKey val="0"/>
          <c:showVal val="0"/>
          <c:showCatName val="0"/>
          <c:showSerName val="0"/>
          <c:showPercent val="0"/>
          <c:showBubbleSize val="0"/>
          <c:showLeaderLines val="1"/>
        </c:dLbls>
        <c:firstSliceAng val="0"/>
        <c:holeSize val="7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995F76-72DD-4F7C-9C69-D97131474D45}" type="doc">
      <dgm:prSet loTypeId="urn:microsoft.com/office/officeart/2008/layout/VerticalCurvedList" loCatId="list" qsTypeId="urn:microsoft.com/office/officeart/2005/8/quickstyle/simple1" qsCatId="simple" csTypeId="urn:microsoft.com/office/officeart/2005/8/colors/accent2_2" csCatId="accent2" phldr="1"/>
      <dgm:spPr/>
    </dgm:pt>
    <dgm:pt modelId="{2F50BE1F-C31B-46DD-B18A-633CFC129B3D}">
      <dgm:prSet phldrT="[Text]" custT="1"/>
      <dgm:spPr>
        <a:ln>
          <a:noFill/>
        </a:ln>
        <a:effectLst>
          <a:glow rad="101600">
            <a:schemeClr val="accent1">
              <a:satMod val="175000"/>
              <a:alpha val="40000"/>
            </a:schemeClr>
          </a:glow>
        </a:effectLst>
      </dgm:spPr>
      <dgm:t>
        <a:bodyPr/>
        <a:lstStyle/>
        <a:p>
          <a:pPr>
            <a:buClr>
              <a:srgbClr val="009CDE"/>
            </a:buClr>
          </a:pPr>
          <a:r>
            <a:rPr kumimoji="0" lang="en-US" sz="1400" b="1" i="0" u="none" strike="noStrike" cap="none" spc="0" normalizeH="0" baseline="0" noProof="0">
              <a:ln/>
              <a:effectLst/>
              <a:uLnTx/>
              <a:uFillTx/>
              <a:latin typeface="Arial" panose="020B0604020202020204"/>
              <a:ea typeface="+mn-ea"/>
              <a:cs typeface="+mn-cs"/>
            </a:rPr>
            <a:t>Turnkey Solution</a:t>
          </a:r>
          <a:endParaRPr lang="en-US" sz="1400"/>
        </a:p>
      </dgm:t>
    </dgm:pt>
    <dgm:pt modelId="{F3BA1E62-5842-4DBC-A509-293B5FB6EE9A}" type="parTrans" cxnId="{D15E2F2F-62B3-48D1-991F-F2A160E17CEE}">
      <dgm:prSet/>
      <dgm:spPr/>
      <dgm:t>
        <a:bodyPr/>
        <a:lstStyle/>
        <a:p>
          <a:endParaRPr lang="en-US" sz="2400"/>
        </a:p>
      </dgm:t>
    </dgm:pt>
    <dgm:pt modelId="{8A363962-DD07-4F56-B1B7-A312D181749E}" type="sibTrans" cxnId="{D15E2F2F-62B3-48D1-991F-F2A160E17CEE}">
      <dgm:prSet/>
      <dgm:spPr/>
      <dgm:t>
        <a:bodyPr/>
        <a:lstStyle/>
        <a:p>
          <a:endParaRPr lang="en-US" sz="2400"/>
        </a:p>
      </dgm:t>
    </dgm:pt>
    <dgm:pt modelId="{1B497A90-FC0C-471D-9E30-AA4E9A6D0BE2}">
      <dgm:prSet custT="1"/>
      <dgm:spPr>
        <a:ln>
          <a:noFill/>
        </a:ln>
        <a:effectLst>
          <a:glow rad="101600">
            <a:schemeClr val="accent1">
              <a:satMod val="175000"/>
              <a:alpha val="40000"/>
            </a:schemeClr>
          </a:glow>
        </a:effectLst>
      </dgm:spPr>
      <dgm:t>
        <a:bodyPr/>
        <a:lstStyle/>
        <a:p>
          <a:r>
            <a:rPr kumimoji="0" lang="en-US" sz="1400" b="1" i="0" u="none" strike="noStrike" cap="none" spc="0" normalizeH="0" baseline="0" noProof="0" dirty="0">
              <a:ln/>
              <a:effectLst/>
              <a:uLnTx/>
              <a:uFillTx/>
              <a:latin typeface="Arial" panose="020B0604020202020204"/>
              <a:ea typeface="+mn-ea"/>
              <a:cs typeface="+mn-cs"/>
            </a:rPr>
            <a:t>24x7x365 Security Operations</a:t>
          </a:r>
        </a:p>
      </dgm:t>
    </dgm:pt>
    <dgm:pt modelId="{5E79A7F4-4C11-41EB-B6E2-BA6E23385F62}" type="parTrans" cxnId="{012AE0CE-B548-4C24-BD95-7F41F7557F94}">
      <dgm:prSet/>
      <dgm:spPr/>
      <dgm:t>
        <a:bodyPr/>
        <a:lstStyle/>
        <a:p>
          <a:endParaRPr lang="en-US" sz="2400"/>
        </a:p>
      </dgm:t>
    </dgm:pt>
    <dgm:pt modelId="{4BBA89F2-B6AB-4BE7-8366-FB69064CD71F}" type="sibTrans" cxnId="{012AE0CE-B548-4C24-BD95-7F41F7557F94}">
      <dgm:prSet/>
      <dgm:spPr/>
      <dgm:t>
        <a:bodyPr/>
        <a:lstStyle/>
        <a:p>
          <a:endParaRPr lang="en-US" sz="2400"/>
        </a:p>
      </dgm:t>
    </dgm:pt>
    <dgm:pt modelId="{E6D02BB9-21EF-4C73-9FAB-FA57AC08013E}">
      <dgm:prSet custT="1"/>
      <dgm:spPr>
        <a:ln>
          <a:noFill/>
        </a:ln>
        <a:effectLst>
          <a:glow rad="101600">
            <a:schemeClr val="accent1">
              <a:satMod val="175000"/>
              <a:alpha val="40000"/>
            </a:schemeClr>
          </a:glow>
        </a:effectLst>
      </dgm:spPr>
      <dgm:t>
        <a:bodyPr/>
        <a:lstStyle/>
        <a:p>
          <a:r>
            <a:rPr kumimoji="0" lang="en-US" sz="1400" b="1" i="0" u="none" strike="noStrike" cap="none" spc="0" normalizeH="0" baseline="0" noProof="0" dirty="0">
              <a:ln/>
              <a:effectLst/>
              <a:uLnTx/>
              <a:uFillTx/>
              <a:latin typeface="Arial" panose="020B0604020202020204"/>
              <a:ea typeface="+mn-ea"/>
              <a:cs typeface="+mn-cs"/>
            </a:rPr>
            <a:t>Service Delivery Management</a:t>
          </a:r>
        </a:p>
      </dgm:t>
    </dgm:pt>
    <dgm:pt modelId="{6A3D1B16-D5CD-4EFB-852F-FC689552ADEF}" type="parTrans" cxnId="{A6A041E9-3738-4C52-B30B-07F114A638FE}">
      <dgm:prSet/>
      <dgm:spPr/>
      <dgm:t>
        <a:bodyPr/>
        <a:lstStyle/>
        <a:p>
          <a:endParaRPr lang="en-US" sz="2400"/>
        </a:p>
      </dgm:t>
    </dgm:pt>
    <dgm:pt modelId="{5519EE8F-ADAC-4F37-A3DC-A0E5AF8EEDBA}" type="sibTrans" cxnId="{A6A041E9-3738-4C52-B30B-07F114A638FE}">
      <dgm:prSet/>
      <dgm:spPr/>
      <dgm:t>
        <a:bodyPr/>
        <a:lstStyle/>
        <a:p>
          <a:endParaRPr lang="en-US" sz="2400"/>
        </a:p>
      </dgm:t>
    </dgm:pt>
    <dgm:pt modelId="{206C5993-343B-49C6-B12B-EBC44C1C4C2A}">
      <dgm:prSet custT="1"/>
      <dgm:spPr>
        <a:ln>
          <a:noFill/>
        </a:ln>
        <a:effectLst>
          <a:glow rad="101600">
            <a:schemeClr val="accent1">
              <a:satMod val="175000"/>
              <a:alpha val="40000"/>
            </a:schemeClr>
          </a:glow>
        </a:effectLst>
      </dgm:spPr>
      <dgm:t>
        <a:bodyPr/>
        <a:lstStyle/>
        <a:p>
          <a:r>
            <a:rPr kumimoji="0" lang="en-US" sz="1400" b="1" i="0" u="none" strike="noStrike" cap="none" spc="0" normalizeH="0" baseline="0" noProof="0">
              <a:ln/>
              <a:effectLst/>
              <a:uLnTx/>
              <a:uFillTx/>
              <a:latin typeface="Arial" panose="020B0604020202020204"/>
              <a:ea typeface="+mn-ea"/>
              <a:cs typeface="+mn-cs"/>
            </a:rPr>
            <a:t>Threat Hunting &amp; Tuning</a:t>
          </a:r>
          <a:endParaRPr kumimoji="0" lang="en-US" sz="1400" b="1" i="0" u="none" strike="noStrike" cap="none" spc="0" normalizeH="0" baseline="0" noProof="0" dirty="0">
            <a:ln/>
            <a:effectLst/>
            <a:uLnTx/>
            <a:uFillTx/>
            <a:latin typeface="Arial" panose="020B0604020202020204"/>
            <a:ea typeface="+mn-ea"/>
            <a:cs typeface="+mn-cs"/>
          </a:endParaRPr>
        </a:p>
      </dgm:t>
    </dgm:pt>
    <dgm:pt modelId="{591BE98D-5B11-4991-88CC-251663BCB8D9}" type="parTrans" cxnId="{BFA4414E-9B7E-4FAF-8224-8A0C8A55FAA4}">
      <dgm:prSet/>
      <dgm:spPr/>
      <dgm:t>
        <a:bodyPr/>
        <a:lstStyle/>
        <a:p>
          <a:endParaRPr lang="en-US" sz="2400"/>
        </a:p>
      </dgm:t>
    </dgm:pt>
    <dgm:pt modelId="{1155033D-1DDF-4B18-866C-9F1704DDFF17}" type="sibTrans" cxnId="{BFA4414E-9B7E-4FAF-8224-8A0C8A55FAA4}">
      <dgm:prSet/>
      <dgm:spPr/>
      <dgm:t>
        <a:bodyPr/>
        <a:lstStyle/>
        <a:p>
          <a:endParaRPr lang="en-US" sz="2400"/>
        </a:p>
      </dgm:t>
    </dgm:pt>
    <dgm:pt modelId="{5DDB38A2-91A0-484C-9F5E-EAAAEE66F0EF}">
      <dgm:prSet custT="1"/>
      <dgm:spPr>
        <a:ln>
          <a:noFill/>
        </a:ln>
        <a:effectLst>
          <a:glow rad="101600">
            <a:schemeClr val="accent1">
              <a:satMod val="175000"/>
              <a:alpha val="40000"/>
            </a:schemeClr>
          </a:glow>
        </a:effectLst>
      </dgm:spPr>
      <dgm:t>
        <a:bodyPr/>
        <a:lstStyle/>
        <a:p>
          <a:r>
            <a:rPr kumimoji="0" lang="en-US" sz="1400" b="1" i="0" u="none" strike="noStrike" cap="none" spc="0" normalizeH="0" baseline="0" noProof="0" dirty="0">
              <a:ln/>
              <a:effectLst/>
              <a:uLnTx/>
              <a:uFillTx/>
              <a:latin typeface="Arial" panose="020B0604020202020204"/>
              <a:ea typeface="+mn-ea"/>
              <a:cs typeface="+mn-cs"/>
            </a:rPr>
            <a:t>Incident &amp; Case Handling</a:t>
          </a:r>
        </a:p>
      </dgm:t>
    </dgm:pt>
    <dgm:pt modelId="{704143C3-D137-4E59-A243-21FE3B4C4D4A}" type="parTrans" cxnId="{6A9702D1-9A10-4091-B612-5E484B01E754}">
      <dgm:prSet/>
      <dgm:spPr/>
      <dgm:t>
        <a:bodyPr/>
        <a:lstStyle/>
        <a:p>
          <a:endParaRPr lang="en-US" sz="2400"/>
        </a:p>
      </dgm:t>
    </dgm:pt>
    <dgm:pt modelId="{578214AA-27FD-4793-B219-BBA0876D5848}" type="sibTrans" cxnId="{6A9702D1-9A10-4091-B612-5E484B01E754}">
      <dgm:prSet/>
      <dgm:spPr/>
      <dgm:t>
        <a:bodyPr/>
        <a:lstStyle/>
        <a:p>
          <a:endParaRPr lang="en-US" sz="2400"/>
        </a:p>
      </dgm:t>
    </dgm:pt>
    <dgm:pt modelId="{20E429C1-6B85-413F-A715-39A976366916}">
      <dgm:prSet custT="1"/>
      <dgm:spPr>
        <a:ln>
          <a:noFill/>
        </a:ln>
        <a:effectLst>
          <a:glow rad="101600">
            <a:schemeClr val="accent1">
              <a:satMod val="175000"/>
              <a:alpha val="40000"/>
            </a:schemeClr>
          </a:glow>
        </a:effectLst>
      </dgm:spPr>
      <dgm:t>
        <a:bodyPr/>
        <a:lstStyle/>
        <a:p>
          <a:r>
            <a:rPr kumimoji="0" lang="en-US" sz="1400" b="1" i="0" u="none" strike="noStrike" cap="none" spc="0" normalizeH="0" baseline="0" noProof="0" dirty="0">
              <a:ln/>
              <a:effectLst/>
              <a:uLnTx/>
              <a:uFillTx/>
              <a:latin typeface="Arial" panose="020B0604020202020204"/>
              <a:ea typeface="+mn-ea"/>
              <a:cs typeface="+mn-cs"/>
            </a:rPr>
            <a:t>Identity / Collaboration / E-mail / Cloud Security Monitoring</a:t>
          </a:r>
        </a:p>
      </dgm:t>
    </dgm:pt>
    <dgm:pt modelId="{1D4F9C6C-3C5E-49E2-8527-4CF31899DF75}" type="parTrans" cxnId="{196B19FD-E42D-4785-958C-001CB2006FD7}">
      <dgm:prSet/>
      <dgm:spPr/>
      <dgm:t>
        <a:bodyPr/>
        <a:lstStyle/>
        <a:p>
          <a:endParaRPr lang="en-US" sz="2400"/>
        </a:p>
      </dgm:t>
    </dgm:pt>
    <dgm:pt modelId="{A4DF1E20-98CB-4362-815E-FD55F55DF48F}" type="sibTrans" cxnId="{196B19FD-E42D-4785-958C-001CB2006FD7}">
      <dgm:prSet/>
      <dgm:spPr/>
      <dgm:t>
        <a:bodyPr/>
        <a:lstStyle/>
        <a:p>
          <a:endParaRPr lang="en-US" sz="2400"/>
        </a:p>
      </dgm:t>
    </dgm:pt>
    <dgm:pt modelId="{260D89EA-F6C4-41FB-9EDB-4A717078E28A}">
      <dgm:prSet custT="1"/>
      <dgm:spPr>
        <a:ln>
          <a:noFill/>
        </a:ln>
        <a:effectLst>
          <a:glow rad="101600">
            <a:schemeClr val="accent1">
              <a:satMod val="175000"/>
              <a:alpha val="40000"/>
            </a:schemeClr>
          </a:glow>
        </a:effectLst>
      </dgm:spPr>
      <dgm:t>
        <a:bodyPr/>
        <a:lstStyle/>
        <a:p>
          <a:r>
            <a:rPr kumimoji="0" lang="en-US" sz="1400" b="1" i="0" u="none" strike="noStrike" cap="none" spc="0" normalizeH="0" baseline="0" noProof="0">
              <a:ln/>
              <a:effectLst/>
              <a:uLnTx/>
              <a:uFillTx/>
              <a:latin typeface="Arial" panose="020B0604020202020204"/>
              <a:ea typeface="+mn-ea"/>
              <a:cs typeface="+mn-cs"/>
            </a:rPr>
            <a:t>XDR SIEM</a:t>
          </a:r>
          <a:endParaRPr kumimoji="0" lang="en-US" sz="1400" b="1" i="0" u="none" strike="noStrike" cap="none" spc="0" normalizeH="0" baseline="0" noProof="0" dirty="0">
            <a:ln/>
            <a:effectLst/>
            <a:uLnTx/>
            <a:uFillTx/>
            <a:latin typeface="Arial" panose="020B0604020202020204"/>
            <a:ea typeface="+mn-ea"/>
            <a:cs typeface="+mn-cs"/>
          </a:endParaRPr>
        </a:p>
      </dgm:t>
    </dgm:pt>
    <dgm:pt modelId="{BE8E571F-C733-4721-9AA7-0EC52CD391C3}" type="parTrans" cxnId="{54F61F50-6F1A-4BEC-8B3A-E500F3E793D9}">
      <dgm:prSet/>
      <dgm:spPr/>
      <dgm:t>
        <a:bodyPr/>
        <a:lstStyle/>
        <a:p>
          <a:endParaRPr lang="en-US" sz="2400"/>
        </a:p>
      </dgm:t>
    </dgm:pt>
    <dgm:pt modelId="{A1863597-1013-4B1E-BA94-C926E4DCB1FD}" type="sibTrans" cxnId="{54F61F50-6F1A-4BEC-8B3A-E500F3E793D9}">
      <dgm:prSet/>
      <dgm:spPr/>
      <dgm:t>
        <a:bodyPr/>
        <a:lstStyle/>
        <a:p>
          <a:endParaRPr lang="en-US" sz="2400"/>
        </a:p>
      </dgm:t>
    </dgm:pt>
    <dgm:pt modelId="{B15658B9-53D2-4433-8BB1-36AB431E9A36}" type="pres">
      <dgm:prSet presAssocID="{EF995F76-72DD-4F7C-9C69-D97131474D45}" presName="Name0" presStyleCnt="0">
        <dgm:presLayoutVars>
          <dgm:chMax val="7"/>
          <dgm:chPref val="7"/>
          <dgm:dir/>
        </dgm:presLayoutVars>
      </dgm:prSet>
      <dgm:spPr/>
    </dgm:pt>
    <dgm:pt modelId="{2B4D8923-FF75-4CFB-AC1C-5D5B21B261F8}" type="pres">
      <dgm:prSet presAssocID="{EF995F76-72DD-4F7C-9C69-D97131474D45}" presName="Name1" presStyleCnt="0"/>
      <dgm:spPr/>
    </dgm:pt>
    <dgm:pt modelId="{F20A8178-8FEC-4242-BE8D-21EE2A677E7A}" type="pres">
      <dgm:prSet presAssocID="{EF995F76-72DD-4F7C-9C69-D97131474D45}" presName="cycle" presStyleCnt="0"/>
      <dgm:spPr/>
    </dgm:pt>
    <dgm:pt modelId="{78626896-4FD0-4233-A972-AD0028ABE3A5}" type="pres">
      <dgm:prSet presAssocID="{EF995F76-72DD-4F7C-9C69-D97131474D45}" presName="srcNode" presStyleLbl="node1" presStyleIdx="0" presStyleCnt="7"/>
      <dgm:spPr/>
    </dgm:pt>
    <dgm:pt modelId="{D837FE45-9505-43C4-85A4-C38609303019}" type="pres">
      <dgm:prSet presAssocID="{EF995F76-72DD-4F7C-9C69-D97131474D45}" presName="conn" presStyleLbl="parChTrans1D2" presStyleIdx="0" presStyleCnt="1"/>
      <dgm:spPr/>
    </dgm:pt>
    <dgm:pt modelId="{268EE61E-FF47-4FA0-905B-C53412B6695C}" type="pres">
      <dgm:prSet presAssocID="{EF995F76-72DD-4F7C-9C69-D97131474D45}" presName="extraNode" presStyleLbl="node1" presStyleIdx="0" presStyleCnt="7"/>
      <dgm:spPr/>
    </dgm:pt>
    <dgm:pt modelId="{76F9D709-50FE-4AD6-9D6B-3AFE2989AEAB}" type="pres">
      <dgm:prSet presAssocID="{EF995F76-72DD-4F7C-9C69-D97131474D45}" presName="dstNode" presStyleLbl="node1" presStyleIdx="0" presStyleCnt="7"/>
      <dgm:spPr/>
    </dgm:pt>
    <dgm:pt modelId="{49180731-82CE-4AEF-8BD6-BDA149197B3E}" type="pres">
      <dgm:prSet presAssocID="{2F50BE1F-C31B-46DD-B18A-633CFC129B3D}" presName="text_1" presStyleLbl="node1" presStyleIdx="0" presStyleCnt="7">
        <dgm:presLayoutVars>
          <dgm:bulletEnabled val="1"/>
        </dgm:presLayoutVars>
      </dgm:prSet>
      <dgm:spPr/>
    </dgm:pt>
    <dgm:pt modelId="{4B20CD9B-5F3F-497C-A5AF-4A4ACB59A629}" type="pres">
      <dgm:prSet presAssocID="{2F50BE1F-C31B-46DD-B18A-633CFC129B3D}" presName="accent_1" presStyleCnt="0"/>
      <dgm:spPr/>
    </dgm:pt>
    <dgm:pt modelId="{AEB43501-EE69-4238-BD22-F848BB8BCDB4}" type="pres">
      <dgm:prSet presAssocID="{2F50BE1F-C31B-46DD-B18A-633CFC129B3D}" presName="accentRepeatNode" presStyleLbl="solidFgAcc1" presStyleIdx="0" presStyleCnt="7"/>
      <dgm:spPr/>
    </dgm:pt>
    <dgm:pt modelId="{53119CA1-156B-4AD8-8EC9-B7B8F8717332}" type="pres">
      <dgm:prSet presAssocID="{1B497A90-FC0C-471D-9E30-AA4E9A6D0BE2}" presName="text_2" presStyleLbl="node1" presStyleIdx="1" presStyleCnt="7">
        <dgm:presLayoutVars>
          <dgm:bulletEnabled val="1"/>
        </dgm:presLayoutVars>
      </dgm:prSet>
      <dgm:spPr/>
    </dgm:pt>
    <dgm:pt modelId="{E5B1416B-5DBC-4277-8FDD-59CE7933F2F0}" type="pres">
      <dgm:prSet presAssocID="{1B497A90-FC0C-471D-9E30-AA4E9A6D0BE2}" presName="accent_2" presStyleCnt="0"/>
      <dgm:spPr/>
    </dgm:pt>
    <dgm:pt modelId="{41767BFE-7DE5-4559-857B-7A2D71897B68}" type="pres">
      <dgm:prSet presAssocID="{1B497A90-FC0C-471D-9E30-AA4E9A6D0BE2}" presName="accentRepeatNode" presStyleLbl="solidFgAcc1" presStyleIdx="1" presStyleCnt="7"/>
      <dgm:spPr/>
    </dgm:pt>
    <dgm:pt modelId="{9A33B6C6-20FF-48C5-9BE3-FD1E16707A80}" type="pres">
      <dgm:prSet presAssocID="{E6D02BB9-21EF-4C73-9FAB-FA57AC08013E}" presName="text_3" presStyleLbl="node1" presStyleIdx="2" presStyleCnt="7">
        <dgm:presLayoutVars>
          <dgm:bulletEnabled val="1"/>
        </dgm:presLayoutVars>
      </dgm:prSet>
      <dgm:spPr/>
    </dgm:pt>
    <dgm:pt modelId="{E58AB311-3960-493A-BFF5-4D8D99FAD80E}" type="pres">
      <dgm:prSet presAssocID="{E6D02BB9-21EF-4C73-9FAB-FA57AC08013E}" presName="accent_3" presStyleCnt="0"/>
      <dgm:spPr/>
    </dgm:pt>
    <dgm:pt modelId="{E3908E77-8AD6-4F98-91A2-3C3B62B87BD4}" type="pres">
      <dgm:prSet presAssocID="{E6D02BB9-21EF-4C73-9FAB-FA57AC08013E}" presName="accentRepeatNode" presStyleLbl="solidFgAcc1" presStyleIdx="2" presStyleCnt="7"/>
      <dgm:spPr/>
    </dgm:pt>
    <dgm:pt modelId="{9E328766-789C-4073-992A-A93FF0D801A7}" type="pres">
      <dgm:prSet presAssocID="{260D89EA-F6C4-41FB-9EDB-4A717078E28A}" presName="text_4" presStyleLbl="node1" presStyleIdx="3" presStyleCnt="7">
        <dgm:presLayoutVars>
          <dgm:bulletEnabled val="1"/>
        </dgm:presLayoutVars>
      </dgm:prSet>
      <dgm:spPr/>
    </dgm:pt>
    <dgm:pt modelId="{18524195-8C97-4C71-8F0A-A69106D57BEF}" type="pres">
      <dgm:prSet presAssocID="{260D89EA-F6C4-41FB-9EDB-4A717078E28A}" presName="accent_4" presStyleCnt="0"/>
      <dgm:spPr/>
    </dgm:pt>
    <dgm:pt modelId="{3E4C2A09-88D7-431D-B88E-F9B20F9AC434}" type="pres">
      <dgm:prSet presAssocID="{260D89EA-F6C4-41FB-9EDB-4A717078E28A}" presName="accentRepeatNode" presStyleLbl="solidFgAcc1" presStyleIdx="3" presStyleCnt="7"/>
      <dgm:spPr/>
    </dgm:pt>
    <dgm:pt modelId="{62801FF5-90EB-406A-B13A-F5FDB6E9348F}" type="pres">
      <dgm:prSet presAssocID="{206C5993-343B-49C6-B12B-EBC44C1C4C2A}" presName="text_5" presStyleLbl="node1" presStyleIdx="4" presStyleCnt="7">
        <dgm:presLayoutVars>
          <dgm:bulletEnabled val="1"/>
        </dgm:presLayoutVars>
      </dgm:prSet>
      <dgm:spPr/>
    </dgm:pt>
    <dgm:pt modelId="{90690E5B-E796-47E0-AC7C-5D256ED6D19A}" type="pres">
      <dgm:prSet presAssocID="{206C5993-343B-49C6-B12B-EBC44C1C4C2A}" presName="accent_5" presStyleCnt="0"/>
      <dgm:spPr/>
    </dgm:pt>
    <dgm:pt modelId="{46470182-0F96-4D07-96F6-C49B42BC0038}" type="pres">
      <dgm:prSet presAssocID="{206C5993-343B-49C6-B12B-EBC44C1C4C2A}" presName="accentRepeatNode" presStyleLbl="solidFgAcc1" presStyleIdx="4" presStyleCnt="7"/>
      <dgm:spPr/>
    </dgm:pt>
    <dgm:pt modelId="{FE3D9900-FF7A-44F7-AD40-6CFA8396B594}" type="pres">
      <dgm:prSet presAssocID="{5DDB38A2-91A0-484C-9F5E-EAAAEE66F0EF}" presName="text_6" presStyleLbl="node1" presStyleIdx="5" presStyleCnt="7">
        <dgm:presLayoutVars>
          <dgm:bulletEnabled val="1"/>
        </dgm:presLayoutVars>
      </dgm:prSet>
      <dgm:spPr/>
    </dgm:pt>
    <dgm:pt modelId="{01B254E9-17D8-4C44-9A90-CAF5ED467BC7}" type="pres">
      <dgm:prSet presAssocID="{5DDB38A2-91A0-484C-9F5E-EAAAEE66F0EF}" presName="accent_6" presStyleCnt="0"/>
      <dgm:spPr/>
    </dgm:pt>
    <dgm:pt modelId="{F2FEB119-AE67-4E07-879C-22E2CEF0425C}" type="pres">
      <dgm:prSet presAssocID="{5DDB38A2-91A0-484C-9F5E-EAAAEE66F0EF}" presName="accentRepeatNode" presStyleLbl="solidFgAcc1" presStyleIdx="5" presStyleCnt="7"/>
      <dgm:spPr/>
    </dgm:pt>
    <dgm:pt modelId="{4982EB92-0265-4BA3-9428-58BB7AB81F64}" type="pres">
      <dgm:prSet presAssocID="{20E429C1-6B85-413F-A715-39A976366916}" presName="text_7" presStyleLbl="node1" presStyleIdx="6" presStyleCnt="7">
        <dgm:presLayoutVars>
          <dgm:bulletEnabled val="1"/>
        </dgm:presLayoutVars>
      </dgm:prSet>
      <dgm:spPr/>
    </dgm:pt>
    <dgm:pt modelId="{3163CE4C-B501-4C5C-95D3-612650F2970E}" type="pres">
      <dgm:prSet presAssocID="{20E429C1-6B85-413F-A715-39A976366916}" presName="accent_7" presStyleCnt="0"/>
      <dgm:spPr/>
    </dgm:pt>
    <dgm:pt modelId="{3CC3EE69-B9FB-49D6-A73F-1E178C1A3742}" type="pres">
      <dgm:prSet presAssocID="{20E429C1-6B85-413F-A715-39A976366916}" presName="accentRepeatNode" presStyleLbl="solidFgAcc1" presStyleIdx="6" presStyleCnt="7"/>
      <dgm:spPr/>
    </dgm:pt>
  </dgm:ptLst>
  <dgm:cxnLst>
    <dgm:cxn modelId="{A81DF41D-61DB-47EB-8A9F-9B1FD7E544BB}" type="presOf" srcId="{8A363962-DD07-4F56-B1B7-A312D181749E}" destId="{D837FE45-9505-43C4-85A4-C38609303019}" srcOrd="0" destOrd="0" presId="urn:microsoft.com/office/officeart/2008/layout/VerticalCurvedList"/>
    <dgm:cxn modelId="{8D3B8F2D-D429-4B5D-9D30-7D802A804A59}" type="presOf" srcId="{1B497A90-FC0C-471D-9E30-AA4E9A6D0BE2}" destId="{53119CA1-156B-4AD8-8EC9-B7B8F8717332}" srcOrd="0" destOrd="0" presId="urn:microsoft.com/office/officeart/2008/layout/VerticalCurvedList"/>
    <dgm:cxn modelId="{D15E2F2F-62B3-48D1-991F-F2A160E17CEE}" srcId="{EF995F76-72DD-4F7C-9C69-D97131474D45}" destId="{2F50BE1F-C31B-46DD-B18A-633CFC129B3D}" srcOrd="0" destOrd="0" parTransId="{F3BA1E62-5842-4DBC-A509-293B5FB6EE9A}" sibTransId="{8A363962-DD07-4F56-B1B7-A312D181749E}"/>
    <dgm:cxn modelId="{BFA4414E-9B7E-4FAF-8224-8A0C8A55FAA4}" srcId="{EF995F76-72DD-4F7C-9C69-D97131474D45}" destId="{206C5993-343B-49C6-B12B-EBC44C1C4C2A}" srcOrd="4" destOrd="0" parTransId="{591BE98D-5B11-4991-88CC-251663BCB8D9}" sibTransId="{1155033D-1DDF-4B18-866C-9F1704DDFF17}"/>
    <dgm:cxn modelId="{54F61F50-6F1A-4BEC-8B3A-E500F3E793D9}" srcId="{EF995F76-72DD-4F7C-9C69-D97131474D45}" destId="{260D89EA-F6C4-41FB-9EDB-4A717078E28A}" srcOrd="3" destOrd="0" parTransId="{BE8E571F-C733-4721-9AA7-0EC52CD391C3}" sibTransId="{A1863597-1013-4B1E-BA94-C926E4DCB1FD}"/>
    <dgm:cxn modelId="{1CABCD51-9DF3-45C9-8ED3-9E1B0ED63444}" type="presOf" srcId="{2F50BE1F-C31B-46DD-B18A-633CFC129B3D}" destId="{49180731-82CE-4AEF-8BD6-BDA149197B3E}" srcOrd="0" destOrd="0" presId="urn:microsoft.com/office/officeart/2008/layout/VerticalCurvedList"/>
    <dgm:cxn modelId="{18DE3E8E-98D0-499F-AE04-684CE4A8D1AA}" type="presOf" srcId="{5DDB38A2-91A0-484C-9F5E-EAAAEE66F0EF}" destId="{FE3D9900-FF7A-44F7-AD40-6CFA8396B594}" srcOrd="0" destOrd="0" presId="urn:microsoft.com/office/officeart/2008/layout/VerticalCurvedList"/>
    <dgm:cxn modelId="{88DBEC9A-CE12-4D82-9FC2-D41076FA2EBC}" type="presOf" srcId="{E6D02BB9-21EF-4C73-9FAB-FA57AC08013E}" destId="{9A33B6C6-20FF-48C5-9BE3-FD1E16707A80}" srcOrd="0" destOrd="0" presId="urn:microsoft.com/office/officeart/2008/layout/VerticalCurvedList"/>
    <dgm:cxn modelId="{5B5759BF-4ACA-4425-BC73-B29249D58361}" type="presOf" srcId="{260D89EA-F6C4-41FB-9EDB-4A717078E28A}" destId="{9E328766-789C-4073-992A-A93FF0D801A7}" srcOrd="0" destOrd="0" presId="urn:microsoft.com/office/officeart/2008/layout/VerticalCurvedList"/>
    <dgm:cxn modelId="{8ED797CB-E067-4DEC-A9C2-324F301B8281}" type="presOf" srcId="{206C5993-343B-49C6-B12B-EBC44C1C4C2A}" destId="{62801FF5-90EB-406A-B13A-F5FDB6E9348F}" srcOrd="0" destOrd="0" presId="urn:microsoft.com/office/officeart/2008/layout/VerticalCurvedList"/>
    <dgm:cxn modelId="{012AE0CE-B548-4C24-BD95-7F41F7557F94}" srcId="{EF995F76-72DD-4F7C-9C69-D97131474D45}" destId="{1B497A90-FC0C-471D-9E30-AA4E9A6D0BE2}" srcOrd="1" destOrd="0" parTransId="{5E79A7F4-4C11-41EB-B6E2-BA6E23385F62}" sibTransId="{4BBA89F2-B6AB-4BE7-8366-FB69064CD71F}"/>
    <dgm:cxn modelId="{6A9702D1-9A10-4091-B612-5E484B01E754}" srcId="{EF995F76-72DD-4F7C-9C69-D97131474D45}" destId="{5DDB38A2-91A0-484C-9F5E-EAAAEE66F0EF}" srcOrd="5" destOrd="0" parTransId="{704143C3-D137-4E59-A243-21FE3B4C4D4A}" sibTransId="{578214AA-27FD-4793-B219-BBA0876D5848}"/>
    <dgm:cxn modelId="{A6A041E9-3738-4C52-B30B-07F114A638FE}" srcId="{EF995F76-72DD-4F7C-9C69-D97131474D45}" destId="{E6D02BB9-21EF-4C73-9FAB-FA57AC08013E}" srcOrd="2" destOrd="0" parTransId="{6A3D1B16-D5CD-4EFB-852F-FC689552ADEF}" sibTransId="{5519EE8F-ADAC-4F37-A3DC-A0E5AF8EEDBA}"/>
    <dgm:cxn modelId="{7F48FBEE-FCA3-4945-BEB8-F6041AFC2269}" type="presOf" srcId="{EF995F76-72DD-4F7C-9C69-D97131474D45}" destId="{B15658B9-53D2-4433-8BB1-36AB431E9A36}" srcOrd="0" destOrd="0" presId="urn:microsoft.com/office/officeart/2008/layout/VerticalCurvedList"/>
    <dgm:cxn modelId="{89085AF5-A224-4606-8C2F-4DDBAD301185}" type="presOf" srcId="{20E429C1-6B85-413F-A715-39A976366916}" destId="{4982EB92-0265-4BA3-9428-58BB7AB81F64}" srcOrd="0" destOrd="0" presId="urn:microsoft.com/office/officeart/2008/layout/VerticalCurvedList"/>
    <dgm:cxn modelId="{196B19FD-E42D-4785-958C-001CB2006FD7}" srcId="{EF995F76-72DD-4F7C-9C69-D97131474D45}" destId="{20E429C1-6B85-413F-A715-39A976366916}" srcOrd="6" destOrd="0" parTransId="{1D4F9C6C-3C5E-49E2-8527-4CF31899DF75}" sibTransId="{A4DF1E20-98CB-4362-815E-FD55F55DF48F}"/>
    <dgm:cxn modelId="{0A46E2AE-7A40-4540-9E42-D66238FE4C40}" type="presParOf" srcId="{B15658B9-53D2-4433-8BB1-36AB431E9A36}" destId="{2B4D8923-FF75-4CFB-AC1C-5D5B21B261F8}" srcOrd="0" destOrd="0" presId="urn:microsoft.com/office/officeart/2008/layout/VerticalCurvedList"/>
    <dgm:cxn modelId="{D7EC1DD4-D702-4789-A19C-A3595A15DA16}" type="presParOf" srcId="{2B4D8923-FF75-4CFB-AC1C-5D5B21B261F8}" destId="{F20A8178-8FEC-4242-BE8D-21EE2A677E7A}" srcOrd="0" destOrd="0" presId="urn:microsoft.com/office/officeart/2008/layout/VerticalCurvedList"/>
    <dgm:cxn modelId="{8C2F064D-A6C2-4693-B5E0-B77026325141}" type="presParOf" srcId="{F20A8178-8FEC-4242-BE8D-21EE2A677E7A}" destId="{78626896-4FD0-4233-A972-AD0028ABE3A5}" srcOrd="0" destOrd="0" presId="urn:microsoft.com/office/officeart/2008/layout/VerticalCurvedList"/>
    <dgm:cxn modelId="{B31FF4E7-9A62-4C9B-9101-02407D1C5F17}" type="presParOf" srcId="{F20A8178-8FEC-4242-BE8D-21EE2A677E7A}" destId="{D837FE45-9505-43C4-85A4-C38609303019}" srcOrd="1" destOrd="0" presId="urn:microsoft.com/office/officeart/2008/layout/VerticalCurvedList"/>
    <dgm:cxn modelId="{95C2529D-C882-46D2-8F0E-F9FCA895E9D0}" type="presParOf" srcId="{F20A8178-8FEC-4242-BE8D-21EE2A677E7A}" destId="{268EE61E-FF47-4FA0-905B-C53412B6695C}" srcOrd="2" destOrd="0" presId="urn:microsoft.com/office/officeart/2008/layout/VerticalCurvedList"/>
    <dgm:cxn modelId="{A536065F-5C3F-4896-B76C-766BB545FC57}" type="presParOf" srcId="{F20A8178-8FEC-4242-BE8D-21EE2A677E7A}" destId="{76F9D709-50FE-4AD6-9D6B-3AFE2989AEAB}" srcOrd="3" destOrd="0" presId="urn:microsoft.com/office/officeart/2008/layout/VerticalCurvedList"/>
    <dgm:cxn modelId="{33A2D076-1701-4AE5-B9D8-80E587B49394}" type="presParOf" srcId="{2B4D8923-FF75-4CFB-AC1C-5D5B21B261F8}" destId="{49180731-82CE-4AEF-8BD6-BDA149197B3E}" srcOrd="1" destOrd="0" presId="urn:microsoft.com/office/officeart/2008/layout/VerticalCurvedList"/>
    <dgm:cxn modelId="{993A36A6-BF88-472D-83D9-1BAD966BD812}" type="presParOf" srcId="{2B4D8923-FF75-4CFB-AC1C-5D5B21B261F8}" destId="{4B20CD9B-5F3F-497C-A5AF-4A4ACB59A629}" srcOrd="2" destOrd="0" presId="urn:microsoft.com/office/officeart/2008/layout/VerticalCurvedList"/>
    <dgm:cxn modelId="{06EB8780-8CCC-4692-80B4-E5AC8CADFCA9}" type="presParOf" srcId="{4B20CD9B-5F3F-497C-A5AF-4A4ACB59A629}" destId="{AEB43501-EE69-4238-BD22-F848BB8BCDB4}" srcOrd="0" destOrd="0" presId="urn:microsoft.com/office/officeart/2008/layout/VerticalCurvedList"/>
    <dgm:cxn modelId="{3A39563D-8154-4AE3-A229-4899174982F1}" type="presParOf" srcId="{2B4D8923-FF75-4CFB-AC1C-5D5B21B261F8}" destId="{53119CA1-156B-4AD8-8EC9-B7B8F8717332}" srcOrd="3" destOrd="0" presId="urn:microsoft.com/office/officeart/2008/layout/VerticalCurvedList"/>
    <dgm:cxn modelId="{0AA2E892-BCD5-4E08-AD37-3AF4242FE326}" type="presParOf" srcId="{2B4D8923-FF75-4CFB-AC1C-5D5B21B261F8}" destId="{E5B1416B-5DBC-4277-8FDD-59CE7933F2F0}" srcOrd="4" destOrd="0" presId="urn:microsoft.com/office/officeart/2008/layout/VerticalCurvedList"/>
    <dgm:cxn modelId="{C6575BAA-0C20-4444-BEC9-F9591B0C1928}" type="presParOf" srcId="{E5B1416B-5DBC-4277-8FDD-59CE7933F2F0}" destId="{41767BFE-7DE5-4559-857B-7A2D71897B68}" srcOrd="0" destOrd="0" presId="urn:microsoft.com/office/officeart/2008/layout/VerticalCurvedList"/>
    <dgm:cxn modelId="{57F47E7D-DBC7-42E0-9D89-3E5D38E5613A}" type="presParOf" srcId="{2B4D8923-FF75-4CFB-AC1C-5D5B21B261F8}" destId="{9A33B6C6-20FF-48C5-9BE3-FD1E16707A80}" srcOrd="5" destOrd="0" presId="urn:microsoft.com/office/officeart/2008/layout/VerticalCurvedList"/>
    <dgm:cxn modelId="{7058F178-4940-468E-9629-DEF02948085A}" type="presParOf" srcId="{2B4D8923-FF75-4CFB-AC1C-5D5B21B261F8}" destId="{E58AB311-3960-493A-BFF5-4D8D99FAD80E}" srcOrd="6" destOrd="0" presId="urn:microsoft.com/office/officeart/2008/layout/VerticalCurvedList"/>
    <dgm:cxn modelId="{F10161E5-26F1-486A-B7BD-0F22658504C6}" type="presParOf" srcId="{E58AB311-3960-493A-BFF5-4D8D99FAD80E}" destId="{E3908E77-8AD6-4F98-91A2-3C3B62B87BD4}" srcOrd="0" destOrd="0" presId="urn:microsoft.com/office/officeart/2008/layout/VerticalCurvedList"/>
    <dgm:cxn modelId="{F527C8DE-864C-4D29-87D8-A1CE65075B73}" type="presParOf" srcId="{2B4D8923-FF75-4CFB-AC1C-5D5B21B261F8}" destId="{9E328766-789C-4073-992A-A93FF0D801A7}" srcOrd="7" destOrd="0" presId="urn:microsoft.com/office/officeart/2008/layout/VerticalCurvedList"/>
    <dgm:cxn modelId="{ECE30869-BE01-43D3-82E8-BF41316926B1}" type="presParOf" srcId="{2B4D8923-FF75-4CFB-AC1C-5D5B21B261F8}" destId="{18524195-8C97-4C71-8F0A-A69106D57BEF}" srcOrd="8" destOrd="0" presId="urn:microsoft.com/office/officeart/2008/layout/VerticalCurvedList"/>
    <dgm:cxn modelId="{F2B66E9B-9402-4A9D-A90D-94B3A48B8259}" type="presParOf" srcId="{18524195-8C97-4C71-8F0A-A69106D57BEF}" destId="{3E4C2A09-88D7-431D-B88E-F9B20F9AC434}" srcOrd="0" destOrd="0" presId="urn:microsoft.com/office/officeart/2008/layout/VerticalCurvedList"/>
    <dgm:cxn modelId="{34FA43FD-0204-4790-ADBC-6325DF04070C}" type="presParOf" srcId="{2B4D8923-FF75-4CFB-AC1C-5D5B21B261F8}" destId="{62801FF5-90EB-406A-B13A-F5FDB6E9348F}" srcOrd="9" destOrd="0" presId="urn:microsoft.com/office/officeart/2008/layout/VerticalCurvedList"/>
    <dgm:cxn modelId="{A84C8928-212A-4953-8458-70848043C5D7}" type="presParOf" srcId="{2B4D8923-FF75-4CFB-AC1C-5D5B21B261F8}" destId="{90690E5B-E796-47E0-AC7C-5D256ED6D19A}" srcOrd="10" destOrd="0" presId="urn:microsoft.com/office/officeart/2008/layout/VerticalCurvedList"/>
    <dgm:cxn modelId="{C94A85DF-6782-4E3C-B6D8-7188D0747F02}" type="presParOf" srcId="{90690E5B-E796-47E0-AC7C-5D256ED6D19A}" destId="{46470182-0F96-4D07-96F6-C49B42BC0038}" srcOrd="0" destOrd="0" presId="urn:microsoft.com/office/officeart/2008/layout/VerticalCurvedList"/>
    <dgm:cxn modelId="{B294B1C2-2B0A-4ED1-A980-D59DE50AFA10}" type="presParOf" srcId="{2B4D8923-FF75-4CFB-AC1C-5D5B21B261F8}" destId="{FE3D9900-FF7A-44F7-AD40-6CFA8396B594}" srcOrd="11" destOrd="0" presId="urn:microsoft.com/office/officeart/2008/layout/VerticalCurvedList"/>
    <dgm:cxn modelId="{FFC4BCB9-86D3-4E8C-8E83-9BFD97218DA0}" type="presParOf" srcId="{2B4D8923-FF75-4CFB-AC1C-5D5B21B261F8}" destId="{01B254E9-17D8-4C44-9A90-CAF5ED467BC7}" srcOrd="12" destOrd="0" presId="urn:microsoft.com/office/officeart/2008/layout/VerticalCurvedList"/>
    <dgm:cxn modelId="{77E6F94F-5F9A-4C48-ADDF-9C945A757324}" type="presParOf" srcId="{01B254E9-17D8-4C44-9A90-CAF5ED467BC7}" destId="{F2FEB119-AE67-4E07-879C-22E2CEF0425C}" srcOrd="0" destOrd="0" presId="urn:microsoft.com/office/officeart/2008/layout/VerticalCurvedList"/>
    <dgm:cxn modelId="{9464E072-3C01-4A89-B921-C2C3A2B54063}" type="presParOf" srcId="{2B4D8923-FF75-4CFB-AC1C-5D5B21B261F8}" destId="{4982EB92-0265-4BA3-9428-58BB7AB81F64}" srcOrd="13" destOrd="0" presId="urn:microsoft.com/office/officeart/2008/layout/VerticalCurvedList"/>
    <dgm:cxn modelId="{1C55A6C1-16EC-4101-8F09-ED66F4EA1C9E}" type="presParOf" srcId="{2B4D8923-FF75-4CFB-AC1C-5D5B21B261F8}" destId="{3163CE4C-B501-4C5C-95D3-612650F2970E}" srcOrd="14" destOrd="0" presId="urn:microsoft.com/office/officeart/2008/layout/VerticalCurvedList"/>
    <dgm:cxn modelId="{4AFDD64B-9B7E-4734-BE96-BDC06227EFE5}" type="presParOf" srcId="{3163CE4C-B501-4C5C-95D3-612650F2970E}" destId="{3CC3EE69-B9FB-49D6-A73F-1E178C1A3742}" srcOrd="0" destOrd="0" presId="urn:microsoft.com/office/officeart/2008/layout/VerticalCurvedList"/>
  </dgm:cxnLst>
  <dgm:bg/>
  <dgm:whole/>
  <dgm:extLst>
    <a:ext uri="http://schemas.microsoft.com/office/drawing/2008/diagram">
      <dsp:dataModelExt xmlns:dsp="http://schemas.microsoft.com/office/drawing/2008/diagram" relId="rId10"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37FE45-9505-43C4-85A4-C38609303019}">
      <dsp:nvSpPr>
        <dsp:cNvPr id="0" name=""/>
        <dsp:cNvSpPr/>
      </dsp:nvSpPr>
      <dsp:spPr>
        <a:xfrm>
          <a:off x="-4680626" y="-78994"/>
          <a:ext cx="5576655" cy="5576655"/>
        </a:xfrm>
        <a:prstGeom prst="blockArc">
          <a:avLst>
            <a:gd name="adj1" fmla="val 18900000"/>
            <a:gd name="adj2" fmla="val 2700000"/>
            <a:gd name="adj3" fmla="val 387"/>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9180731-82CE-4AEF-8BD6-BDA149197B3E}">
      <dsp:nvSpPr>
        <dsp:cNvPr id="0" name=""/>
        <dsp:cNvSpPr/>
      </dsp:nvSpPr>
      <dsp:spPr>
        <a:xfrm>
          <a:off x="290509" y="826964"/>
          <a:ext cx="2967213" cy="376357"/>
        </a:xfrm>
        <a:prstGeom prst="rect">
          <a:avLst/>
        </a:prstGeom>
        <a:solidFill>
          <a:schemeClr val="accent2">
            <a:hueOff val="0"/>
            <a:satOff val="0"/>
            <a:lumOff val="0"/>
            <a:alphaOff val="0"/>
          </a:schemeClr>
        </a:solidFill>
        <a:ln w="12700" cap="flat" cmpd="sng" algn="ctr">
          <a:noFill/>
          <a:prstDash val="solid"/>
          <a:miter lim="800000"/>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298734" tIns="35560" rIns="35560" bIns="35560" numCol="1" spcCol="1270" anchor="ctr" anchorCtr="0">
          <a:noAutofit/>
        </a:bodyPr>
        <a:lstStyle/>
        <a:p>
          <a:pPr marL="0" lvl="0" indent="0" algn="l" defTabSz="622300">
            <a:lnSpc>
              <a:spcPct val="90000"/>
            </a:lnSpc>
            <a:spcBef>
              <a:spcPct val="0"/>
            </a:spcBef>
            <a:spcAft>
              <a:spcPct val="35000"/>
            </a:spcAft>
            <a:buClr>
              <a:srgbClr val="009CDE"/>
            </a:buClr>
            <a:buNone/>
          </a:pPr>
          <a:r>
            <a:rPr kumimoji="0" lang="en-US" sz="1400" b="1" i="0" u="none" strike="noStrike" kern="1200" cap="none" spc="0" normalizeH="0" baseline="0" noProof="0">
              <a:ln/>
              <a:effectLst/>
              <a:uLnTx/>
              <a:uFillTx/>
              <a:latin typeface="Arial" panose="020B0604020202020204"/>
              <a:ea typeface="+mn-ea"/>
              <a:cs typeface="+mn-cs"/>
            </a:rPr>
            <a:t>Turnkey Solution</a:t>
          </a:r>
          <a:endParaRPr lang="en-US" sz="1400" kern="1200"/>
        </a:p>
      </dsp:txBody>
      <dsp:txXfrm>
        <a:off x="290509" y="826964"/>
        <a:ext cx="2967213" cy="376357"/>
      </dsp:txXfrm>
    </dsp:sp>
    <dsp:sp modelId="{AEB43501-EE69-4238-BD22-F848BB8BCDB4}">
      <dsp:nvSpPr>
        <dsp:cNvPr id="0" name=""/>
        <dsp:cNvSpPr/>
      </dsp:nvSpPr>
      <dsp:spPr>
        <a:xfrm>
          <a:off x="55285" y="779919"/>
          <a:ext cx="470447" cy="47044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3119CA1-156B-4AD8-8EC9-B7B8F8717332}">
      <dsp:nvSpPr>
        <dsp:cNvPr id="0" name=""/>
        <dsp:cNvSpPr/>
      </dsp:nvSpPr>
      <dsp:spPr>
        <a:xfrm>
          <a:off x="631335" y="1391832"/>
          <a:ext cx="2626387" cy="376357"/>
        </a:xfrm>
        <a:prstGeom prst="rect">
          <a:avLst/>
        </a:prstGeom>
        <a:solidFill>
          <a:schemeClr val="accent2">
            <a:hueOff val="0"/>
            <a:satOff val="0"/>
            <a:lumOff val="0"/>
            <a:alphaOff val="0"/>
          </a:schemeClr>
        </a:solidFill>
        <a:ln w="12700" cap="flat" cmpd="sng" algn="ctr">
          <a:noFill/>
          <a:prstDash val="solid"/>
          <a:miter lim="800000"/>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298734" tIns="35560" rIns="35560" bIns="35560" numCol="1" spcCol="1270" anchor="ctr" anchorCtr="0">
          <a:noAutofit/>
        </a:bodyPr>
        <a:lstStyle/>
        <a:p>
          <a:pPr marL="0" lvl="0" indent="0" algn="l" defTabSz="622300">
            <a:lnSpc>
              <a:spcPct val="90000"/>
            </a:lnSpc>
            <a:spcBef>
              <a:spcPct val="0"/>
            </a:spcBef>
            <a:spcAft>
              <a:spcPct val="35000"/>
            </a:spcAft>
            <a:buNone/>
          </a:pPr>
          <a:r>
            <a:rPr kumimoji="0" lang="en-US" sz="1400" b="1" i="0" u="none" strike="noStrike" kern="1200" cap="none" spc="0" normalizeH="0" baseline="0" noProof="0" dirty="0">
              <a:ln/>
              <a:effectLst/>
              <a:uLnTx/>
              <a:uFillTx/>
              <a:latin typeface="Arial" panose="020B0604020202020204"/>
              <a:ea typeface="+mn-ea"/>
              <a:cs typeface="+mn-cs"/>
            </a:rPr>
            <a:t>24x7x365 Security Operations</a:t>
          </a:r>
        </a:p>
      </dsp:txBody>
      <dsp:txXfrm>
        <a:off x="631335" y="1391832"/>
        <a:ext cx="2626387" cy="376357"/>
      </dsp:txXfrm>
    </dsp:sp>
    <dsp:sp modelId="{41767BFE-7DE5-4559-857B-7A2D71897B68}">
      <dsp:nvSpPr>
        <dsp:cNvPr id="0" name=""/>
        <dsp:cNvSpPr/>
      </dsp:nvSpPr>
      <dsp:spPr>
        <a:xfrm>
          <a:off x="396111" y="1344787"/>
          <a:ext cx="470447" cy="47044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A33B6C6-20FF-48C5-9BE3-FD1E16707A80}">
      <dsp:nvSpPr>
        <dsp:cNvPr id="0" name=""/>
        <dsp:cNvSpPr/>
      </dsp:nvSpPr>
      <dsp:spPr>
        <a:xfrm>
          <a:off x="818106" y="1956286"/>
          <a:ext cx="2439617" cy="376357"/>
        </a:xfrm>
        <a:prstGeom prst="rect">
          <a:avLst/>
        </a:prstGeom>
        <a:solidFill>
          <a:schemeClr val="accent2">
            <a:hueOff val="0"/>
            <a:satOff val="0"/>
            <a:lumOff val="0"/>
            <a:alphaOff val="0"/>
          </a:schemeClr>
        </a:solidFill>
        <a:ln w="12700" cap="flat" cmpd="sng" algn="ctr">
          <a:noFill/>
          <a:prstDash val="solid"/>
          <a:miter lim="800000"/>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298734" tIns="35560" rIns="35560" bIns="35560" numCol="1" spcCol="1270" anchor="ctr" anchorCtr="0">
          <a:noAutofit/>
        </a:bodyPr>
        <a:lstStyle/>
        <a:p>
          <a:pPr marL="0" lvl="0" indent="0" algn="l" defTabSz="622300">
            <a:lnSpc>
              <a:spcPct val="90000"/>
            </a:lnSpc>
            <a:spcBef>
              <a:spcPct val="0"/>
            </a:spcBef>
            <a:spcAft>
              <a:spcPct val="35000"/>
            </a:spcAft>
            <a:buNone/>
          </a:pPr>
          <a:r>
            <a:rPr kumimoji="0" lang="en-US" sz="1400" b="1" i="0" u="none" strike="noStrike" kern="1200" cap="none" spc="0" normalizeH="0" baseline="0" noProof="0" dirty="0">
              <a:ln/>
              <a:effectLst/>
              <a:uLnTx/>
              <a:uFillTx/>
              <a:latin typeface="Arial" panose="020B0604020202020204"/>
              <a:ea typeface="+mn-ea"/>
              <a:cs typeface="+mn-cs"/>
            </a:rPr>
            <a:t>Service Delivery Management</a:t>
          </a:r>
        </a:p>
      </dsp:txBody>
      <dsp:txXfrm>
        <a:off x="818106" y="1956286"/>
        <a:ext cx="2439617" cy="376357"/>
      </dsp:txXfrm>
    </dsp:sp>
    <dsp:sp modelId="{E3908E77-8AD6-4F98-91A2-3C3B62B87BD4}">
      <dsp:nvSpPr>
        <dsp:cNvPr id="0" name=""/>
        <dsp:cNvSpPr/>
      </dsp:nvSpPr>
      <dsp:spPr>
        <a:xfrm>
          <a:off x="582882" y="1909241"/>
          <a:ext cx="470447" cy="47044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E328766-789C-4073-992A-A93FF0D801A7}">
      <dsp:nvSpPr>
        <dsp:cNvPr id="0" name=""/>
        <dsp:cNvSpPr/>
      </dsp:nvSpPr>
      <dsp:spPr>
        <a:xfrm>
          <a:off x="877740" y="2521154"/>
          <a:ext cx="2379982" cy="376357"/>
        </a:xfrm>
        <a:prstGeom prst="rect">
          <a:avLst/>
        </a:prstGeom>
        <a:solidFill>
          <a:schemeClr val="accent2">
            <a:hueOff val="0"/>
            <a:satOff val="0"/>
            <a:lumOff val="0"/>
            <a:alphaOff val="0"/>
          </a:schemeClr>
        </a:solidFill>
        <a:ln w="12700" cap="flat" cmpd="sng" algn="ctr">
          <a:noFill/>
          <a:prstDash val="solid"/>
          <a:miter lim="800000"/>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298734" tIns="35560" rIns="35560" bIns="35560" numCol="1" spcCol="1270" anchor="ctr" anchorCtr="0">
          <a:noAutofit/>
        </a:bodyPr>
        <a:lstStyle/>
        <a:p>
          <a:pPr marL="0" lvl="0" indent="0" algn="l" defTabSz="622300">
            <a:lnSpc>
              <a:spcPct val="90000"/>
            </a:lnSpc>
            <a:spcBef>
              <a:spcPct val="0"/>
            </a:spcBef>
            <a:spcAft>
              <a:spcPct val="35000"/>
            </a:spcAft>
            <a:buNone/>
          </a:pPr>
          <a:r>
            <a:rPr kumimoji="0" lang="en-US" sz="1400" b="1" i="0" u="none" strike="noStrike" kern="1200" cap="none" spc="0" normalizeH="0" baseline="0" noProof="0">
              <a:ln/>
              <a:effectLst/>
              <a:uLnTx/>
              <a:uFillTx/>
              <a:latin typeface="Arial" panose="020B0604020202020204"/>
              <a:ea typeface="+mn-ea"/>
              <a:cs typeface="+mn-cs"/>
            </a:rPr>
            <a:t>XDR SIEM</a:t>
          </a:r>
          <a:endParaRPr kumimoji="0" lang="en-US" sz="1400" b="1" i="0" u="none" strike="noStrike" kern="1200" cap="none" spc="0" normalizeH="0" baseline="0" noProof="0" dirty="0">
            <a:ln/>
            <a:effectLst/>
            <a:uLnTx/>
            <a:uFillTx/>
            <a:latin typeface="Arial" panose="020B0604020202020204"/>
            <a:ea typeface="+mn-ea"/>
            <a:cs typeface="+mn-cs"/>
          </a:endParaRPr>
        </a:p>
      </dsp:txBody>
      <dsp:txXfrm>
        <a:off x="877740" y="2521154"/>
        <a:ext cx="2379982" cy="376357"/>
      </dsp:txXfrm>
    </dsp:sp>
    <dsp:sp modelId="{3E4C2A09-88D7-431D-B88E-F9B20F9AC434}">
      <dsp:nvSpPr>
        <dsp:cNvPr id="0" name=""/>
        <dsp:cNvSpPr/>
      </dsp:nvSpPr>
      <dsp:spPr>
        <a:xfrm>
          <a:off x="642516" y="2474109"/>
          <a:ext cx="470447" cy="47044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2801FF5-90EB-406A-B13A-F5FDB6E9348F}">
      <dsp:nvSpPr>
        <dsp:cNvPr id="0" name=""/>
        <dsp:cNvSpPr/>
      </dsp:nvSpPr>
      <dsp:spPr>
        <a:xfrm>
          <a:off x="818106" y="3086022"/>
          <a:ext cx="2439617" cy="376357"/>
        </a:xfrm>
        <a:prstGeom prst="rect">
          <a:avLst/>
        </a:prstGeom>
        <a:solidFill>
          <a:schemeClr val="accent2">
            <a:hueOff val="0"/>
            <a:satOff val="0"/>
            <a:lumOff val="0"/>
            <a:alphaOff val="0"/>
          </a:schemeClr>
        </a:solidFill>
        <a:ln w="12700" cap="flat" cmpd="sng" algn="ctr">
          <a:noFill/>
          <a:prstDash val="solid"/>
          <a:miter lim="800000"/>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298734" tIns="35560" rIns="35560" bIns="35560" numCol="1" spcCol="1270" anchor="ctr" anchorCtr="0">
          <a:noAutofit/>
        </a:bodyPr>
        <a:lstStyle/>
        <a:p>
          <a:pPr marL="0" lvl="0" indent="0" algn="l" defTabSz="622300">
            <a:lnSpc>
              <a:spcPct val="90000"/>
            </a:lnSpc>
            <a:spcBef>
              <a:spcPct val="0"/>
            </a:spcBef>
            <a:spcAft>
              <a:spcPct val="35000"/>
            </a:spcAft>
            <a:buNone/>
          </a:pPr>
          <a:r>
            <a:rPr kumimoji="0" lang="en-US" sz="1400" b="1" i="0" u="none" strike="noStrike" kern="1200" cap="none" spc="0" normalizeH="0" baseline="0" noProof="0">
              <a:ln/>
              <a:effectLst/>
              <a:uLnTx/>
              <a:uFillTx/>
              <a:latin typeface="Arial" panose="020B0604020202020204"/>
              <a:ea typeface="+mn-ea"/>
              <a:cs typeface="+mn-cs"/>
            </a:rPr>
            <a:t>Threat Hunting &amp; Tuning</a:t>
          </a:r>
          <a:endParaRPr kumimoji="0" lang="en-US" sz="1400" b="1" i="0" u="none" strike="noStrike" kern="1200" cap="none" spc="0" normalizeH="0" baseline="0" noProof="0" dirty="0">
            <a:ln/>
            <a:effectLst/>
            <a:uLnTx/>
            <a:uFillTx/>
            <a:latin typeface="Arial" panose="020B0604020202020204"/>
            <a:ea typeface="+mn-ea"/>
            <a:cs typeface="+mn-cs"/>
          </a:endParaRPr>
        </a:p>
      </dsp:txBody>
      <dsp:txXfrm>
        <a:off x="818106" y="3086022"/>
        <a:ext cx="2439617" cy="376357"/>
      </dsp:txXfrm>
    </dsp:sp>
    <dsp:sp modelId="{46470182-0F96-4D07-96F6-C49B42BC0038}">
      <dsp:nvSpPr>
        <dsp:cNvPr id="0" name=""/>
        <dsp:cNvSpPr/>
      </dsp:nvSpPr>
      <dsp:spPr>
        <a:xfrm>
          <a:off x="582882" y="3038977"/>
          <a:ext cx="470447" cy="47044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E3D9900-FF7A-44F7-AD40-6CFA8396B594}">
      <dsp:nvSpPr>
        <dsp:cNvPr id="0" name=""/>
        <dsp:cNvSpPr/>
      </dsp:nvSpPr>
      <dsp:spPr>
        <a:xfrm>
          <a:off x="631335" y="3650476"/>
          <a:ext cx="2626387" cy="376357"/>
        </a:xfrm>
        <a:prstGeom prst="rect">
          <a:avLst/>
        </a:prstGeom>
        <a:solidFill>
          <a:schemeClr val="accent2">
            <a:hueOff val="0"/>
            <a:satOff val="0"/>
            <a:lumOff val="0"/>
            <a:alphaOff val="0"/>
          </a:schemeClr>
        </a:solidFill>
        <a:ln w="12700" cap="flat" cmpd="sng" algn="ctr">
          <a:noFill/>
          <a:prstDash val="solid"/>
          <a:miter lim="800000"/>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298734" tIns="35560" rIns="35560" bIns="35560" numCol="1" spcCol="1270" anchor="ctr" anchorCtr="0">
          <a:noAutofit/>
        </a:bodyPr>
        <a:lstStyle/>
        <a:p>
          <a:pPr marL="0" lvl="0" indent="0" algn="l" defTabSz="622300">
            <a:lnSpc>
              <a:spcPct val="90000"/>
            </a:lnSpc>
            <a:spcBef>
              <a:spcPct val="0"/>
            </a:spcBef>
            <a:spcAft>
              <a:spcPct val="35000"/>
            </a:spcAft>
            <a:buNone/>
          </a:pPr>
          <a:r>
            <a:rPr kumimoji="0" lang="en-US" sz="1400" b="1" i="0" u="none" strike="noStrike" kern="1200" cap="none" spc="0" normalizeH="0" baseline="0" noProof="0" dirty="0">
              <a:ln/>
              <a:effectLst/>
              <a:uLnTx/>
              <a:uFillTx/>
              <a:latin typeface="Arial" panose="020B0604020202020204"/>
              <a:ea typeface="+mn-ea"/>
              <a:cs typeface="+mn-cs"/>
            </a:rPr>
            <a:t>Incident &amp; Case Handling</a:t>
          </a:r>
        </a:p>
      </dsp:txBody>
      <dsp:txXfrm>
        <a:off x="631335" y="3650476"/>
        <a:ext cx="2626387" cy="376357"/>
      </dsp:txXfrm>
    </dsp:sp>
    <dsp:sp modelId="{F2FEB119-AE67-4E07-879C-22E2CEF0425C}">
      <dsp:nvSpPr>
        <dsp:cNvPr id="0" name=""/>
        <dsp:cNvSpPr/>
      </dsp:nvSpPr>
      <dsp:spPr>
        <a:xfrm>
          <a:off x="396111" y="3603431"/>
          <a:ext cx="470447" cy="47044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982EB92-0265-4BA3-9428-58BB7AB81F64}">
      <dsp:nvSpPr>
        <dsp:cNvPr id="0" name=""/>
        <dsp:cNvSpPr/>
      </dsp:nvSpPr>
      <dsp:spPr>
        <a:xfrm>
          <a:off x="290509" y="4215344"/>
          <a:ext cx="2967213" cy="376357"/>
        </a:xfrm>
        <a:prstGeom prst="rect">
          <a:avLst/>
        </a:prstGeom>
        <a:solidFill>
          <a:schemeClr val="accent2">
            <a:hueOff val="0"/>
            <a:satOff val="0"/>
            <a:lumOff val="0"/>
            <a:alphaOff val="0"/>
          </a:schemeClr>
        </a:solidFill>
        <a:ln w="12700" cap="flat" cmpd="sng" algn="ctr">
          <a:noFill/>
          <a:prstDash val="solid"/>
          <a:miter lim="800000"/>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298734" tIns="35560" rIns="35560" bIns="35560" numCol="1" spcCol="1270" anchor="ctr" anchorCtr="0">
          <a:noAutofit/>
        </a:bodyPr>
        <a:lstStyle/>
        <a:p>
          <a:pPr marL="0" lvl="0" indent="0" algn="l" defTabSz="622300">
            <a:lnSpc>
              <a:spcPct val="90000"/>
            </a:lnSpc>
            <a:spcBef>
              <a:spcPct val="0"/>
            </a:spcBef>
            <a:spcAft>
              <a:spcPct val="35000"/>
            </a:spcAft>
            <a:buNone/>
          </a:pPr>
          <a:r>
            <a:rPr kumimoji="0" lang="en-US" sz="1400" b="1" i="0" u="none" strike="noStrike" kern="1200" cap="none" spc="0" normalizeH="0" baseline="0" noProof="0" dirty="0">
              <a:ln/>
              <a:effectLst/>
              <a:uLnTx/>
              <a:uFillTx/>
              <a:latin typeface="Arial" panose="020B0604020202020204"/>
              <a:ea typeface="+mn-ea"/>
              <a:cs typeface="+mn-cs"/>
            </a:rPr>
            <a:t>Identity / Collaboration / E-mail / Cloud Security Monitoring</a:t>
          </a:r>
        </a:p>
      </dsp:txBody>
      <dsp:txXfrm>
        <a:off x="290509" y="4215344"/>
        <a:ext cx="2967213" cy="376357"/>
      </dsp:txXfrm>
    </dsp:sp>
    <dsp:sp modelId="{3CC3EE69-B9FB-49D6-A73F-1E178C1A3742}">
      <dsp:nvSpPr>
        <dsp:cNvPr id="0" name=""/>
        <dsp:cNvSpPr/>
      </dsp:nvSpPr>
      <dsp:spPr>
        <a:xfrm>
          <a:off x="55285" y="4168299"/>
          <a:ext cx="470447" cy="47044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GB"/>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149EEC42-3DB7-4322-9795-C5286F9612A2}" type="datetimeFigureOut">
              <a:rPr lang="en-GB" smtClean="0"/>
              <a:t>17/07/2024</a:t>
            </a:fld>
            <a:endParaRPr lang="en-GB"/>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GB"/>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GB"/>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FB2AFE08-BD0B-422A-BC0C-3E45B8EFC929}" type="slidenum">
              <a:rPr lang="en-GB" smtClean="0"/>
              <a:t>‹#›</a:t>
            </a:fld>
            <a:endParaRPr lang="en-GB"/>
          </a:p>
        </p:txBody>
      </p:sp>
    </p:spTree>
    <p:extLst>
      <p:ext uri="{BB962C8B-B14F-4D97-AF65-F5344CB8AC3E}">
        <p14:creationId xmlns:p14="http://schemas.microsoft.com/office/powerpoint/2010/main" val="2576296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latin typeface="Arial"/>
                <a:ea typeface="Times New Roman" panose="02020603050405020304" pitchFamily="18" charset="0"/>
                <a:cs typeface="Arial"/>
              </a:rPr>
              <a:t>Key Points:</a:t>
            </a:r>
          </a:p>
          <a:p>
            <a:pPr marL="181240" indent="-181240">
              <a:buFont typeface="Arial" panose="020B0604020202020204" pitchFamily="34" charset="0"/>
              <a:buChar char="•"/>
            </a:pPr>
            <a:r>
              <a:rPr lang="en-US">
                <a:latin typeface="Arial"/>
                <a:ea typeface="Times New Roman" panose="02020603050405020304" pitchFamily="18" charset="0"/>
                <a:cs typeface="Arial"/>
              </a:rPr>
              <a:t>RSM Risk Consulting has global reach and scale</a:t>
            </a:r>
          </a:p>
          <a:p>
            <a:pPr marL="181240" indent="-181240">
              <a:buFont typeface="Arial" panose="020B0604020202020204" pitchFamily="34" charset="0"/>
              <a:buChar char="•"/>
            </a:pPr>
            <a:r>
              <a:rPr lang="en-US">
                <a:latin typeface="Arial"/>
                <a:ea typeface="Times New Roman" panose="02020603050405020304" pitchFamily="18" charset="0"/>
                <a:cs typeface="Arial"/>
              </a:rPr>
              <a:t>We’re a full-service accounting and consulting team, and bring full firm to serve clients</a:t>
            </a:r>
          </a:p>
          <a:p>
            <a:pPr marL="181240" indent="-181240">
              <a:buFont typeface="Arial" panose="020B0604020202020204" pitchFamily="34" charset="0"/>
              <a:buChar char="•"/>
            </a:pPr>
            <a:r>
              <a:rPr lang="en-US">
                <a:latin typeface="Arial"/>
                <a:ea typeface="Times New Roman" panose="02020603050405020304" pitchFamily="18" charset="0"/>
                <a:cs typeface="Arial"/>
              </a:rPr>
              <a:t>We’re continuing to grow and build out international risk consulting capabilities</a:t>
            </a:r>
            <a:endParaRPr lang="en-US" sz="1100">
              <a:latin typeface="Arial"/>
              <a:ea typeface="Times New Roman" panose="02020603050405020304" pitchFamily="18" charset="0"/>
              <a:cs typeface="Arial"/>
            </a:endParaRPr>
          </a:p>
          <a:p>
            <a:pPr marL="308410" indent="-308410">
              <a:buFont typeface="Arial" panose="02070309020205020404" pitchFamily="49" charset="0"/>
              <a:buChar char="•"/>
            </a:pPr>
            <a:endParaRPr lang="en-US" sz="1100">
              <a:ea typeface="Times New Roman" panose="02020603050405020304" pitchFamily="18"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defTabSz="966612">
              <a:defRPr/>
            </a:pPr>
            <a:fld id="{ACBFFC86-8DCC-4AEB-B1A3-767D57D6E417}" type="slidenum">
              <a:rPr lang="en-GB">
                <a:solidFill>
                  <a:prstClr val="black"/>
                </a:solidFill>
                <a:latin typeface="Arial" panose="020B0604020202020204" pitchFamily="34" charset="0"/>
              </a:rPr>
              <a:pPr defTabSz="966612">
                <a:defRPr/>
              </a:pPr>
              <a:t>2</a:t>
            </a:fld>
            <a:endParaRPr lang="en-GB">
              <a:solidFill>
                <a:prstClr val="black"/>
              </a:solidFill>
              <a:latin typeface="Arial" panose="020B0604020202020204" pitchFamily="34" charset="0"/>
            </a:endParaRPr>
          </a:p>
        </p:txBody>
      </p:sp>
    </p:spTree>
    <p:extLst>
      <p:ext uri="{BB962C8B-B14F-4D97-AF65-F5344CB8AC3E}">
        <p14:creationId xmlns:p14="http://schemas.microsoft.com/office/powerpoint/2010/main" val="24638913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5:notes"/>
          <p:cNvSpPr txBox="1">
            <a:spLocks noGrp="1"/>
          </p:cNvSpPr>
          <p:nvPr>
            <p:ph type="body" idx="1"/>
          </p:nvPr>
        </p:nvSpPr>
        <p:spPr>
          <a:xfrm>
            <a:off x="731520" y="4620577"/>
            <a:ext cx="5852160" cy="3780473"/>
          </a:xfrm>
          <a:prstGeom prst="rect">
            <a:avLst/>
          </a:prstGeom>
          <a:noFill/>
          <a:ln>
            <a:noFill/>
          </a:ln>
        </p:spPr>
        <p:txBody>
          <a:bodyPr spcFirstLastPara="1" wrap="square" lIns="96645" tIns="48309" rIns="96645" bIns="48309" anchor="t" anchorCtr="0">
            <a:noAutofit/>
          </a:bodyPr>
          <a:lstStyle/>
          <a:p>
            <a:pPr>
              <a:buSzPts val="1400"/>
            </a:pPr>
            <a:endParaRPr/>
          </a:p>
        </p:txBody>
      </p:sp>
      <p:sp>
        <p:nvSpPr>
          <p:cNvPr id="1607" name="Google Shape;1607;p15:notes"/>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7592195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5:notes"/>
          <p:cNvSpPr txBox="1">
            <a:spLocks noGrp="1"/>
          </p:cNvSpPr>
          <p:nvPr>
            <p:ph type="body" idx="1"/>
          </p:nvPr>
        </p:nvSpPr>
        <p:spPr>
          <a:xfrm>
            <a:off x="731520" y="4620577"/>
            <a:ext cx="5852160" cy="3780473"/>
          </a:xfrm>
          <a:prstGeom prst="rect">
            <a:avLst/>
          </a:prstGeom>
          <a:noFill/>
          <a:ln>
            <a:noFill/>
          </a:ln>
        </p:spPr>
        <p:txBody>
          <a:bodyPr spcFirstLastPara="1" wrap="square" lIns="96645" tIns="48309" rIns="96645" bIns="48309" anchor="t" anchorCtr="0">
            <a:noAutofit/>
          </a:bodyPr>
          <a:lstStyle/>
          <a:p>
            <a:pPr>
              <a:buSzPts val="1400"/>
            </a:pPr>
            <a:endParaRPr/>
          </a:p>
        </p:txBody>
      </p:sp>
      <p:sp>
        <p:nvSpPr>
          <p:cNvPr id="1607" name="Google Shape;1607;p15:notes"/>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1889719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66612">
              <a:defRPr/>
            </a:pPr>
            <a:fld id="{D4518E38-0ED5-4518-8D49-FAC6EA024E3F}" type="slidenum">
              <a:rPr lang="en-US" sz="1400">
                <a:solidFill>
                  <a:prstClr val="black"/>
                </a:solidFill>
                <a:latin typeface="Calibri" panose="020F0502020204030204"/>
              </a:rPr>
              <a:pPr defTabSz="966612">
                <a:defRPr/>
              </a:pPr>
              <a:t>23</a:t>
            </a:fld>
            <a:endParaRPr lang="en-US" sz="1400">
              <a:solidFill>
                <a:prstClr val="black"/>
              </a:solidFill>
              <a:latin typeface="Calibri" panose="020F0502020204030204"/>
            </a:endParaRPr>
          </a:p>
        </p:txBody>
      </p:sp>
    </p:spTree>
    <p:extLst>
      <p:ext uri="{BB962C8B-B14F-4D97-AF65-F5344CB8AC3E}">
        <p14:creationId xmlns:p14="http://schemas.microsoft.com/office/powerpoint/2010/main" val="11709441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66612">
              <a:defRPr/>
            </a:pPr>
            <a:fld id="{B4A55CF2-256D-44FD-9430-5B63A079CF51}" type="slidenum">
              <a:rPr lang="en-US">
                <a:solidFill>
                  <a:prstClr val="black"/>
                </a:solidFill>
                <a:latin typeface="Calibri" panose="020F0502020204030204"/>
              </a:rPr>
              <a:pPr defTabSz="966612">
                <a:defRPr/>
              </a:pPr>
              <a:t>24</a:t>
            </a:fld>
            <a:endParaRPr lang="en-US">
              <a:solidFill>
                <a:prstClr val="black"/>
              </a:solidFill>
              <a:latin typeface="Calibri" panose="020F0502020204030204"/>
            </a:endParaRPr>
          </a:p>
        </p:txBody>
      </p:sp>
    </p:spTree>
    <p:extLst>
      <p:ext uri="{BB962C8B-B14F-4D97-AF65-F5344CB8AC3E}">
        <p14:creationId xmlns:p14="http://schemas.microsoft.com/office/powerpoint/2010/main" val="27067186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66612">
              <a:defRPr/>
            </a:pPr>
            <a:fld id="{B4A55CF2-256D-44FD-9430-5B63A079CF51}" type="slidenum">
              <a:rPr lang="en-US">
                <a:solidFill>
                  <a:prstClr val="black"/>
                </a:solidFill>
                <a:latin typeface="Calibri" panose="020F0502020204030204"/>
              </a:rPr>
              <a:pPr defTabSz="966612">
                <a:defRPr/>
              </a:pPr>
              <a:t>25</a:t>
            </a:fld>
            <a:endParaRPr lang="en-US">
              <a:solidFill>
                <a:prstClr val="black"/>
              </a:solidFill>
              <a:latin typeface="Calibri" panose="020F0502020204030204"/>
            </a:endParaRPr>
          </a:p>
        </p:txBody>
      </p:sp>
    </p:spTree>
    <p:extLst>
      <p:ext uri="{BB962C8B-B14F-4D97-AF65-F5344CB8AC3E}">
        <p14:creationId xmlns:p14="http://schemas.microsoft.com/office/powerpoint/2010/main" val="21024814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niel</a:t>
            </a:r>
          </a:p>
        </p:txBody>
      </p:sp>
      <p:sp>
        <p:nvSpPr>
          <p:cNvPr id="4" name="Slide Number Placeholder 3"/>
          <p:cNvSpPr>
            <a:spLocks noGrp="1"/>
          </p:cNvSpPr>
          <p:nvPr>
            <p:ph type="sldNum" sz="quarter" idx="5"/>
          </p:nvPr>
        </p:nvSpPr>
        <p:spPr/>
        <p:txBody>
          <a:bodyPr/>
          <a:lstStyle/>
          <a:p>
            <a:pPr defTabSz="966612">
              <a:defRPr/>
            </a:pPr>
            <a:fld id="{48305BCE-0C6B-4DF8-ABFF-431DB9C064C4}" type="slidenum">
              <a:rPr lang="en-US">
                <a:solidFill>
                  <a:prstClr val="black"/>
                </a:solidFill>
                <a:latin typeface="Calibri" panose="020F0502020204030204"/>
              </a:rPr>
              <a:pPr defTabSz="966612">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3208483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1299127">
              <a:defRPr/>
            </a:pPr>
            <a:fld id="{D1AEC648-5EF4-2E4D-BECC-1E5B1F6EC08A}" type="slidenum">
              <a:rPr lang="en-US">
                <a:solidFill>
                  <a:prstClr val="black"/>
                </a:solidFill>
                <a:latin typeface="Calibri" panose="020F0502020204030204"/>
              </a:rPr>
              <a:pPr defTabSz="1299127">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3930592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A55CF2-256D-44FD-9430-5B63A079CF51}" type="slidenum">
              <a:rPr lang="en-US" smtClean="0"/>
              <a:t>8</a:t>
            </a:fld>
            <a:endParaRPr lang="en-US"/>
          </a:p>
        </p:txBody>
      </p:sp>
    </p:spTree>
    <p:extLst>
      <p:ext uri="{BB962C8B-B14F-4D97-AF65-F5344CB8AC3E}">
        <p14:creationId xmlns:p14="http://schemas.microsoft.com/office/powerpoint/2010/main" val="2121133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5:notes"/>
          <p:cNvSpPr txBox="1">
            <a:spLocks noGrp="1"/>
          </p:cNvSpPr>
          <p:nvPr>
            <p:ph type="body" idx="1"/>
          </p:nvPr>
        </p:nvSpPr>
        <p:spPr>
          <a:xfrm>
            <a:off x="731520" y="4620577"/>
            <a:ext cx="5852160" cy="3780473"/>
          </a:xfrm>
          <a:prstGeom prst="rect">
            <a:avLst/>
          </a:prstGeom>
          <a:noFill/>
          <a:ln>
            <a:noFill/>
          </a:ln>
        </p:spPr>
        <p:txBody>
          <a:bodyPr spcFirstLastPara="1" wrap="square" lIns="96645" tIns="48309" rIns="96645" bIns="48309" anchor="t" anchorCtr="0">
            <a:noAutofit/>
          </a:bodyPr>
          <a:lstStyle/>
          <a:p>
            <a:pPr>
              <a:buSzPts val="1400"/>
            </a:pPr>
            <a:endParaRPr/>
          </a:p>
        </p:txBody>
      </p:sp>
      <p:sp>
        <p:nvSpPr>
          <p:cNvPr id="1607" name="Google Shape;1607;p15:notes"/>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0020814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66612">
              <a:defRPr/>
            </a:pPr>
            <a:fld id="{B4A55CF2-256D-44FD-9430-5B63A079CF51}" type="slidenum">
              <a:rPr lang="en-US">
                <a:solidFill>
                  <a:prstClr val="black"/>
                </a:solidFill>
                <a:latin typeface="Calibri" panose="020F0502020204030204"/>
              </a:rPr>
              <a:pPr defTabSz="966612">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5014652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5:notes"/>
          <p:cNvSpPr txBox="1">
            <a:spLocks noGrp="1"/>
          </p:cNvSpPr>
          <p:nvPr>
            <p:ph type="body" idx="1"/>
          </p:nvPr>
        </p:nvSpPr>
        <p:spPr>
          <a:xfrm>
            <a:off x="731520" y="4620577"/>
            <a:ext cx="5852160" cy="3780473"/>
          </a:xfrm>
          <a:prstGeom prst="rect">
            <a:avLst/>
          </a:prstGeom>
          <a:noFill/>
          <a:ln>
            <a:noFill/>
          </a:ln>
        </p:spPr>
        <p:txBody>
          <a:bodyPr spcFirstLastPara="1" wrap="square" lIns="96645" tIns="48309" rIns="96645" bIns="48309" anchor="t" anchorCtr="0">
            <a:noAutofit/>
          </a:bodyPr>
          <a:lstStyle/>
          <a:p>
            <a:pPr>
              <a:buSzPts val="1400"/>
            </a:pPr>
            <a:endParaRPr/>
          </a:p>
        </p:txBody>
      </p:sp>
      <p:sp>
        <p:nvSpPr>
          <p:cNvPr id="1607" name="Google Shape;1607;p15:notes"/>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946415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5:notes"/>
          <p:cNvSpPr txBox="1">
            <a:spLocks noGrp="1"/>
          </p:cNvSpPr>
          <p:nvPr>
            <p:ph type="body" idx="1"/>
          </p:nvPr>
        </p:nvSpPr>
        <p:spPr>
          <a:xfrm>
            <a:off x="731520" y="4620577"/>
            <a:ext cx="5852160" cy="3780473"/>
          </a:xfrm>
          <a:prstGeom prst="rect">
            <a:avLst/>
          </a:prstGeom>
          <a:noFill/>
          <a:ln>
            <a:noFill/>
          </a:ln>
        </p:spPr>
        <p:txBody>
          <a:bodyPr spcFirstLastPara="1" wrap="square" lIns="96645" tIns="48309" rIns="96645" bIns="48309" anchor="t" anchorCtr="0">
            <a:noAutofit/>
          </a:bodyPr>
          <a:lstStyle/>
          <a:p>
            <a:pPr>
              <a:buSzPts val="1400"/>
            </a:pPr>
            <a:endParaRPr/>
          </a:p>
        </p:txBody>
      </p:sp>
      <p:sp>
        <p:nvSpPr>
          <p:cNvPr id="1607" name="Google Shape;1607;p15:notes"/>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024614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5:notes"/>
          <p:cNvSpPr txBox="1">
            <a:spLocks noGrp="1"/>
          </p:cNvSpPr>
          <p:nvPr>
            <p:ph type="body" idx="1"/>
          </p:nvPr>
        </p:nvSpPr>
        <p:spPr>
          <a:xfrm>
            <a:off x="731520" y="4620577"/>
            <a:ext cx="5852160" cy="3780473"/>
          </a:xfrm>
          <a:prstGeom prst="rect">
            <a:avLst/>
          </a:prstGeom>
          <a:noFill/>
          <a:ln>
            <a:noFill/>
          </a:ln>
        </p:spPr>
        <p:txBody>
          <a:bodyPr spcFirstLastPara="1" wrap="square" lIns="96645" tIns="48309" rIns="96645" bIns="48309" anchor="t" anchorCtr="0">
            <a:noAutofit/>
          </a:bodyPr>
          <a:lstStyle/>
          <a:p>
            <a:pPr>
              <a:buSzPts val="1400"/>
            </a:pPr>
            <a:endParaRPr/>
          </a:p>
        </p:txBody>
      </p:sp>
      <p:sp>
        <p:nvSpPr>
          <p:cNvPr id="1607" name="Google Shape;1607;p15:notes"/>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335426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25.xml"/><Relationship Id="rId4" Type="http://schemas.openxmlformats.org/officeDocument/2006/relationships/image" Target="../media/image6.sv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26.xml"/><Relationship Id="rId4" Type="http://schemas.openxmlformats.org/officeDocument/2006/relationships/image" Target="../media/image6.sv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27.xml"/><Relationship Id="rId4" Type="http://schemas.openxmlformats.org/officeDocument/2006/relationships/image" Target="../media/image6.sv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2.xml"/><Relationship Id="rId1" Type="http://schemas.openxmlformats.org/officeDocument/2006/relationships/tags" Target="../tags/tag155.xml"/><Relationship Id="rId4" Type="http://schemas.openxmlformats.org/officeDocument/2006/relationships/image" Target="../media/image36.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2.xml"/><Relationship Id="rId1" Type="http://schemas.openxmlformats.org/officeDocument/2006/relationships/tags" Target="../tags/tag156.xml"/><Relationship Id="rId4" Type="http://schemas.openxmlformats.org/officeDocument/2006/relationships/image" Target="../media/image36.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28.xml"/><Relationship Id="rId4" Type="http://schemas.openxmlformats.org/officeDocument/2006/relationships/image" Target="../media/image2.sv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2.xml"/><Relationship Id="rId1" Type="http://schemas.openxmlformats.org/officeDocument/2006/relationships/tags" Target="../tags/tag157.xml"/><Relationship Id="rId4" Type="http://schemas.openxmlformats.org/officeDocument/2006/relationships/image" Target="../media/image36.sv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158.xml"/><Relationship Id="rId6" Type="http://schemas.openxmlformats.org/officeDocument/2006/relationships/image" Target="../media/image38.svg"/><Relationship Id="rId5" Type="http://schemas.openxmlformats.org/officeDocument/2006/relationships/image" Target="../media/image10.png"/><Relationship Id="rId4" Type="http://schemas.openxmlformats.org/officeDocument/2006/relationships/image" Target="../media/image15.sv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29.xml"/><Relationship Id="rId4" Type="http://schemas.openxmlformats.org/officeDocument/2006/relationships/image" Target="../media/image6.sv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2.jpeg"/><Relationship Id="rId1" Type="http://schemas.openxmlformats.org/officeDocument/2006/relationships/slideMaster" Target="../slideMasters/slideMaster3.xml"/><Relationship Id="rId4" Type="http://schemas.openxmlformats.org/officeDocument/2006/relationships/image" Target="../media/image38.sv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3.jpeg"/><Relationship Id="rId1" Type="http://schemas.openxmlformats.org/officeDocument/2006/relationships/slideMaster" Target="../slideMasters/slideMaster3.xml"/><Relationship Id="rId4" Type="http://schemas.openxmlformats.org/officeDocument/2006/relationships/image" Target="../media/image38.sv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4.jpeg"/><Relationship Id="rId1" Type="http://schemas.openxmlformats.org/officeDocument/2006/relationships/slideMaster" Target="../slideMasters/slideMaster3.xml"/><Relationship Id="rId4" Type="http://schemas.openxmlformats.org/officeDocument/2006/relationships/image" Target="../media/image38.sv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0.xml"/><Relationship Id="rId4" Type="http://schemas.openxmlformats.org/officeDocument/2006/relationships/image" Target="../media/image6.sv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3.xml"/><Relationship Id="rId1" Type="http://schemas.openxmlformats.org/officeDocument/2006/relationships/tags" Target="../tags/tag159.xml"/><Relationship Id="rId4" Type="http://schemas.openxmlformats.org/officeDocument/2006/relationships/image" Target="../media/image36.svg"/></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3.xml"/><Relationship Id="rId4" Type="http://schemas.openxmlformats.org/officeDocument/2006/relationships/image" Target="../media/image4.svg"/></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4.xml"/><Relationship Id="rId4" Type="http://schemas.openxmlformats.org/officeDocument/2006/relationships/image" Target="../media/image4.sv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18.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5.xml"/><Relationship Id="rId4" Type="http://schemas.openxmlformats.org/officeDocument/2006/relationships/image" Target="../media/image4.sv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tags" Target="../tags/tag177.xml"/><Relationship Id="rId18" Type="http://schemas.openxmlformats.org/officeDocument/2006/relationships/tags" Target="../tags/tag182.xml"/><Relationship Id="rId3" Type="http://schemas.openxmlformats.org/officeDocument/2006/relationships/tags" Target="../tags/tag167.xml"/><Relationship Id="rId21" Type="http://schemas.openxmlformats.org/officeDocument/2006/relationships/slideMaster" Target="../slideMasters/slideMaster4.xml"/><Relationship Id="rId7" Type="http://schemas.openxmlformats.org/officeDocument/2006/relationships/tags" Target="../tags/tag171.xml"/><Relationship Id="rId12" Type="http://schemas.openxmlformats.org/officeDocument/2006/relationships/tags" Target="../tags/tag176.xml"/><Relationship Id="rId17" Type="http://schemas.openxmlformats.org/officeDocument/2006/relationships/tags" Target="../tags/tag181.xml"/><Relationship Id="rId2" Type="http://schemas.openxmlformats.org/officeDocument/2006/relationships/tags" Target="../tags/tag166.xml"/><Relationship Id="rId16" Type="http://schemas.openxmlformats.org/officeDocument/2006/relationships/tags" Target="../tags/tag180.xml"/><Relationship Id="rId20" Type="http://schemas.openxmlformats.org/officeDocument/2006/relationships/tags" Target="../tags/tag184.xml"/><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tags" Target="../tags/tag175.xml"/><Relationship Id="rId5" Type="http://schemas.openxmlformats.org/officeDocument/2006/relationships/tags" Target="../tags/tag169.xml"/><Relationship Id="rId15" Type="http://schemas.openxmlformats.org/officeDocument/2006/relationships/tags" Target="../tags/tag179.xml"/><Relationship Id="rId10" Type="http://schemas.openxmlformats.org/officeDocument/2006/relationships/tags" Target="../tags/tag174.xml"/><Relationship Id="rId19" Type="http://schemas.openxmlformats.org/officeDocument/2006/relationships/tags" Target="../tags/tag183.xml"/><Relationship Id="rId4" Type="http://schemas.openxmlformats.org/officeDocument/2006/relationships/tags" Target="../tags/tag168.xml"/><Relationship Id="rId9" Type="http://schemas.openxmlformats.org/officeDocument/2006/relationships/tags" Target="../tags/tag173.xml"/><Relationship Id="rId14" Type="http://schemas.openxmlformats.org/officeDocument/2006/relationships/tags" Target="../tags/tag178.xml"/></Relationships>
</file>

<file path=ppt/slideLayouts/_rels/slideLayout206.xml.rels><?xml version="1.0" encoding="UTF-8" standalone="yes"?>
<Relationships xmlns="http://schemas.openxmlformats.org/package/2006/relationships"><Relationship Id="rId8" Type="http://schemas.openxmlformats.org/officeDocument/2006/relationships/tags" Target="../tags/tag192.xml"/><Relationship Id="rId13" Type="http://schemas.openxmlformats.org/officeDocument/2006/relationships/tags" Target="../tags/tag197.xml"/><Relationship Id="rId18" Type="http://schemas.openxmlformats.org/officeDocument/2006/relationships/tags" Target="../tags/tag202.xml"/><Relationship Id="rId3" Type="http://schemas.openxmlformats.org/officeDocument/2006/relationships/tags" Target="../tags/tag187.xml"/><Relationship Id="rId21" Type="http://schemas.openxmlformats.org/officeDocument/2006/relationships/slideMaster" Target="../slideMasters/slideMaster4.xml"/><Relationship Id="rId7" Type="http://schemas.openxmlformats.org/officeDocument/2006/relationships/tags" Target="../tags/tag191.xml"/><Relationship Id="rId12" Type="http://schemas.openxmlformats.org/officeDocument/2006/relationships/tags" Target="../tags/tag196.xml"/><Relationship Id="rId17" Type="http://schemas.openxmlformats.org/officeDocument/2006/relationships/tags" Target="../tags/tag201.xml"/><Relationship Id="rId2" Type="http://schemas.openxmlformats.org/officeDocument/2006/relationships/tags" Target="../tags/tag186.xml"/><Relationship Id="rId16" Type="http://schemas.openxmlformats.org/officeDocument/2006/relationships/tags" Target="../tags/tag200.xml"/><Relationship Id="rId20" Type="http://schemas.openxmlformats.org/officeDocument/2006/relationships/tags" Target="../tags/tag204.xml"/><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tags" Target="../tags/tag195.xml"/><Relationship Id="rId5" Type="http://schemas.openxmlformats.org/officeDocument/2006/relationships/tags" Target="../tags/tag189.xml"/><Relationship Id="rId15" Type="http://schemas.openxmlformats.org/officeDocument/2006/relationships/tags" Target="../tags/tag199.xml"/><Relationship Id="rId10" Type="http://schemas.openxmlformats.org/officeDocument/2006/relationships/tags" Target="../tags/tag194.xml"/><Relationship Id="rId19" Type="http://schemas.openxmlformats.org/officeDocument/2006/relationships/tags" Target="../tags/tag203.xml"/><Relationship Id="rId4" Type="http://schemas.openxmlformats.org/officeDocument/2006/relationships/tags" Target="../tags/tag188.xml"/><Relationship Id="rId9" Type="http://schemas.openxmlformats.org/officeDocument/2006/relationships/tags" Target="../tags/tag193.xml"/><Relationship Id="rId14" Type="http://schemas.openxmlformats.org/officeDocument/2006/relationships/tags" Target="../tags/tag198.xml"/></Relationships>
</file>

<file path=ppt/slideLayouts/_rels/slideLayout207.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18" Type="http://schemas.openxmlformats.org/officeDocument/2006/relationships/tags" Target="../tags/tag222.xml"/><Relationship Id="rId3" Type="http://schemas.openxmlformats.org/officeDocument/2006/relationships/tags" Target="../tags/tag207.xml"/><Relationship Id="rId21" Type="http://schemas.openxmlformats.org/officeDocument/2006/relationships/slideMaster" Target="../slideMasters/slideMaster4.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tags" Target="../tags/tag221.xml"/><Relationship Id="rId2" Type="http://schemas.openxmlformats.org/officeDocument/2006/relationships/tags" Target="../tags/tag206.xml"/><Relationship Id="rId16" Type="http://schemas.openxmlformats.org/officeDocument/2006/relationships/tags" Target="../tags/tag220.xml"/><Relationship Id="rId20" Type="http://schemas.openxmlformats.org/officeDocument/2006/relationships/tags" Target="../tags/tag224.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tags" Target="../tags/tag219.xml"/><Relationship Id="rId10" Type="http://schemas.openxmlformats.org/officeDocument/2006/relationships/tags" Target="../tags/tag214.xml"/><Relationship Id="rId19" Type="http://schemas.openxmlformats.org/officeDocument/2006/relationships/tags" Target="../tags/tag223.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208.xml.rels><?xml version="1.0" encoding="UTF-8" standalone="yes"?>
<Relationships xmlns="http://schemas.openxmlformats.org/package/2006/relationships"><Relationship Id="rId8" Type="http://schemas.openxmlformats.org/officeDocument/2006/relationships/tags" Target="../tags/tag232.xml"/><Relationship Id="rId13" Type="http://schemas.openxmlformats.org/officeDocument/2006/relationships/tags" Target="../tags/tag237.xml"/><Relationship Id="rId18" Type="http://schemas.openxmlformats.org/officeDocument/2006/relationships/tags" Target="../tags/tag242.xml"/><Relationship Id="rId3" Type="http://schemas.openxmlformats.org/officeDocument/2006/relationships/tags" Target="../tags/tag227.xml"/><Relationship Id="rId21" Type="http://schemas.openxmlformats.org/officeDocument/2006/relationships/slideMaster" Target="../slideMasters/slideMaster4.xml"/><Relationship Id="rId7" Type="http://schemas.openxmlformats.org/officeDocument/2006/relationships/tags" Target="../tags/tag231.xml"/><Relationship Id="rId12" Type="http://schemas.openxmlformats.org/officeDocument/2006/relationships/tags" Target="../tags/tag236.xml"/><Relationship Id="rId17" Type="http://schemas.openxmlformats.org/officeDocument/2006/relationships/tags" Target="../tags/tag241.xml"/><Relationship Id="rId2" Type="http://schemas.openxmlformats.org/officeDocument/2006/relationships/tags" Target="../tags/tag226.xml"/><Relationship Id="rId16" Type="http://schemas.openxmlformats.org/officeDocument/2006/relationships/tags" Target="../tags/tag240.xml"/><Relationship Id="rId20" Type="http://schemas.openxmlformats.org/officeDocument/2006/relationships/tags" Target="../tags/tag244.xml"/><Relationship Id="rId1" Type="http://schemas.openxmlformats.org/officeDocument/2006/relationships/tags" Target="../tags/tag225.xml"/><Relationship Id="rId6" Type="http://schemas.openxmlformats.org/officeDocument/2006/relationships/tags" Target="../tags/tag230.xml"/><Relationship Id="rId11" Type="http://schemas.openxmlformats.org/officeDocument/2006/relationships/tags" Target="../tags/tag235.xml"/><Relationship Id="rId5" Type="http://schemas.openxmlformats.org/officeDocument/2006/relationships/tags" Target="../tags/tag229.xml"/><Relationship Id="rId15" Type="http://schemas.openxmlformats.org/officeDocument/2006/relationships/tags" Target="../tags/tag239.xml"/><Relationship Id="rId10" Type="http://schemas.openxmlformats.org/officeDocument/2006/relationships/tags" Target="../tags/tag234.xml"/><Relationship Id="rId19" Type="http://schemas.openxmlformats.org/officeDocument/2006/relationships/tags" Target="../tags/tag243.xml"/><Relationship Id="rId4" Type="http://schemas.openxmlformats.org/officeDocument/2006/relationships/tags" Target="../tags/tag228.xml"/><Relationship Id="rId9" Type="http://schemas.openxmlformats.org/officeDocument/2006/relationships/tags" Target="../tags/tag233.xml"/><Relationship Id="rId14" Type="http://schemas.openxmlformats.org/officeDocument/2006/relationships/tags" Target="../tags/tag238.xml"/></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252.xml"/><Relationship Id="rId13" Type="http://schemas.openxmlformats.org/officeDocument/2006/relationships/tags" Target="../tags/tag257.xml"/><Relationship Id="rId18" Type="http://schemas.openxmlformats.org/officeDocument/2006/relationships/tags" Target="../tags/tag262.xml"/><Relationship Id="rId3" Type="http://schemas.openxmlformats.org/officeDocument/2006/relationships/tags" Target="../tags/tag247.xml"/><Relationship Id="rId21" Type="http://schemas.openxmlformats.org/officeDocument/2006/relationships/tags" Target="../tags/tag265.xml"/><Relationship Id="rId7" Type="http://schemas.openxmlformats.org/officeDocument/2006/relationships/tags" Target="../tags/tag251.xml"/><Relationship Id="rId12" Type="http://schemas.openxmlformats.org/officeDocument/2006/relationships/tags" Target="../tags/tag256.xml"/><Relationship Id="rId17" Type="http://schemas.openxmlformats.org/officeDocument/2006/relationships/tags" Target="../tags/tag261.xml"/><Relationship Id="rId2" Type="http://schemas.openxmlformats.org/officeDocument/2006/relationships/tags" Target="../tags/tag246.xml"/><Relationship Id="rId16" Type="http://schemas.openxmlformats.org/officeDocument/2006/relationships/tags" Target="../tags/tag260.xml"/><Relationship Id="rId20" Type="http://schemas.openxmlformats.org/officeDocument/2006/relationships/tags" Target="../tags/tag264.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tags" Target="../tags/tag255.xml"/><Relationship Id="rId24" Type="http://schemas.openxmlformats.org/officeDocument/2006/relationships/image" Target="../media/image4.svg"/><Relationship Id="rId5" Type="http://schemas.openxmlformats.org/officeDocument/2006/relationships/tags" Target="../tags/tag249.xml"/><Relationship Id="rId15" Type="http://schemas.openxmlformats.org/officeDocument/2006/relationships/tags" Target="../tags/tag259.xml"/><Relationship Id="rId23" Type="http://schemas.openxmlformats.org/officeDocument/2006/relationships/image" Target="../media/image3.png"/><Relationship Id="rId10" Type="http://schemas.openxmlformats.org/officeDocument/2006/relationships/tags" Target="../tags/tag254.xml"/><Relationship Id="rId19" Type="http://schemas.openxmlformats.org/officeDocument/2006/relationships/tags" Target="../tags/tag263.xml"/><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tags" Target="../tags/tag258.xml"/><Relationship Id="rId22"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8" Type="http://schemas.openxmlformats.org/officeDocument/2006/relationships/tags" Target="../tags/tag273.xml"/><Relationship Id="rId13" Type="http://schemas.openxmlformats.org/officeDocument/2006/relationships/tags" Target="../tags/tag278.xml"/><Relationship Id="rId18" Type="http://schemas.openxmlformats.org/officeDocument/2006/relationships/tags" Target="../tags/tag283.xml"/><Relationship Id="rId3" Type="http://schemas.openxmlformats.org/officeDocument/2006/relationships/tags" Target="../tags/tag268.xml"/><Relationship Id="rId21" Type="http://schemas.openxmlformats.org/officeDocument/2006/relationships/slideMaster" Target="../slideMasters/slideMaster4.xml"/><Relationship Id="rId7" Type="http://schemas.openxmlformats.org/officeDocument/2006/relationships/tags" Target="../tags/tag272.xml"/><Relationship Id="rId12" Type="http://schemas.openxmlformats.org/officeDocument/2006/relationships/tags" Target="../tags/tag277.xml"/><Relationship Id="rId17" Type="http://schemas.openxmlformats.org/officeDocument/2006/relationships/tags" Target="../tags/tag282.xml"/><Relationship Id="rId2" Type="http://schemas.openxmlformats.org/officeDocument/2006/relationships/tags" Target="../tags/tag267.xml"/><Relationship Id="rId16" Type="http://schemas.openxmlformats.org/officeDocument/2006/relationships/tags" Target="../tags/tag281.xml"/><Relationship Id="rId20" Type="http://schemas.openxmlformats.org/officeDocument/2006/relationships/tags" Target="../tags/tag285.xml"/><Relationship Id="rId1" Type="http://schemas.openxmlformats.org/officeDocument/2006/relationships/tags" Target="../tags/tag266.xml"/><Relationship Id="rId6" Type="http://schemas.openxmlformats.org/officeDocument/2006/relationships/tags" Target="../tags/tag271.xml"/><Relationship Id="rId11" Type="http://schemas.openxmlformats.org/officeDocument/2006/relationships/tags" Target="../tags/tag276.xml"/><Relationship Id="rId5" Type="http://schemas.openxmlformats.org/officeDocument/2006/relationships/tags" Target="../tags/tag270.xml"/><Relationship Id="rId15" Type="http://schemas.openxmlformats.org/officeDocument/2006/relationships/tags" Target="../tags/tag280.xml"/><Relationship Id="rId23" Type="http://schemas.openxmlformats.org/officeDocument/2006/relationships/image" Target="../media/image2.svg"/><Relationship Id="rId10" Type="http://schemas.openxmlformats.org/officeDocument/2006/relationships/tags" Target="../tags/tag275.xml"/><Relationship Id="rId19" Type="http://schemas.openxmlformats.org/officeDocument/2006/relationships/tags" Target="../tags/tag284.xml"/><Relationship Id="rId4" Type="http://schemas.openxmlformats.org/officeDocument/2006/relationships/tags" Target="../tags/tag269.xml"/><Relationship Id="rId9" Type="http://schemas.openxmlformats.org/officeDocument/2006/relationships/tags" Target="../tags/tag274.xml"/><Relationship Id="rId14" Type="http://schemas.openxmlformats.org/officeDocument/2006/relationships/tags" Target="../tags/tag279.xml"/><Relationship Id="rId22" Type="http://schemas.openxmlformats.org/officeDocument/2006/relationships/image" Target="../media/image1.png"/></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7.xml"/><Relationship Id="rId1" Type="http://schemas.openxmlformats.org/officeDocument/2006/relationships/tags" Target="../tags/tag28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88.xml"/><Relationship Id="rId4" Type="http://schemas.openxmlformats.org/officeDocument/2006/relationships/image" Target="../media/image6.sv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89.xml"/><Relationship Id="rId4" Type="http://schemas.openxmlformats.org/officeDocument/2006/relationships/image" Target="../media/image6.sv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90.xml"/><Relationship Id="rId4" Type="http://schemas.openxmlformats.org/officeDocument/2006/relationships/image" Target="../media/image6.sv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ags" Target="../tags/tag291.xml"/><Relationship Id="rId4" Type="http://schemas.openxmlformats.org/officeDocument/2006/relationships/image" Target="../media/image2.sv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92.xml"/><Relationship Id="rId4" Type="http://schemas.openxmlformats.org/officeDocument/2006/relationships/image" Target="../media/image6.sv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93.xml"/><Relationship Id="rId4" Type="http://schemas.openxmlformats.org/officeDocument/2006/relationships/image" Target="../media/image6.sv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5.xml"/><Relationship Id="rId1" Type="http://schemas.openxmlformats.org/officeDocument/2006/relationships/tags" Target="../tags/tag29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296.xml"/><Relationship Id="rId4" Type="http://schemas.openxmlformats.org/officeDocument/2006/relationships/image" Target="../media/image4.sv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297.xml"/><Relationship Id="rId4" Type="http://schemas.openxmlformats.org/officeDocument/2006/relationships/image" Target="../media/image4.sv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298.xml"/><Relationship Id="rId4" Type="http://schemas.openxmlformats.org/officeDocument/2006/relationships/image" Target="../media/image4.sv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29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ags" Target="../tags/tag300.xml"/><Relationship Id="rId4" Type="http://schemas.openxmlformats.org/officeDocument/2006/relationships/image" Target="../media/image2.svg"/></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8.png"/></Relationships>
</file>

<file path=ppt/slideLayouts/_rels/slideLayout23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05.xml"/><Relationship Id="rId7" Type="http://schemas.openxmlformats.org/officeDocument/2006/relationships/image" Target="../media/image4.svg"/><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image" Target="../media/image3.png"/><Relationship Id="rId5" Type="http://schemas.openxmlformats.org/officeDocument/2006/relationships/slideMaster" Target="../slideMasters/slideMaster4.xml"/><Relationship Id="rId4" Type="http://schemas.openxmlformats.org/officeDocument/2006/relationships/tags" Target="../tags/tag30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307.xml"/><Relationship Id="rId4" Type="http://schemas.openxmlformats.org/officeDocument/2006/relationships/image" Target="../media/image4.sv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3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37.xml"/><Relationship Id="rId4" Type="http://schemas.openxmlformats.org/officeDocument/2006/relationships/image" Target="../media/image2.sv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slideMaster" Target="../slideMasters/slideMaster1.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42.xml"/><Relationship Id="rId7" Type="http://schemas.openxmlformats.org/officeDocument/2006/relationships/image" Target="../media/image4.sv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14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4.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3" Type="http://schemas.openxmlformats.org/officeDocument/2006/relationships/tags" Target="../tags/tag24.xml"/><Relationship Id="rId21" Type="http://schemas.openxmlformats.org/officeDocument/2006/relationships/slideMaster" Target="../slideMasters/slideMaster1.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tags" Target="../tags/tag41.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tags" Target="../tags/tag36.xml"/><Relationship Id="rId10" Type="http://schemas.openxmlformats.org/officeDocument/2006/relationships/tags" Target="../tags/tag31.xml"/><Relationship Id="rId19" Type="http://schemas.openxmlformats.org/officeDocument/2006/relationships/tags" Target="../tags/tag40.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3" Type="http://schemas.openxmlformats.org/officeDocument/2006/relationships/tags" Target="../tags/tag44.xml"/><Relationship Id="rId21" Type="http://schemas.openxmlformats.org/officeDocument/2006/relationships/slideMaster" Target="../slideMasters/slideMaster1.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tags" Target="../tags/tag52.xml"/><Relationship Id="rId5" Type="http://schemas.openxmlformats.org/officeDocument/2006/relationships/tags" Target="../tags/tag46.xml"/><Relationship Id="rId15" Type="http://schemas.openxmlformats.org/officeDocument/2006/relationships/tags" Target="../tags/tag56.xml"/><Relationship Id="rId10" Type="http://schemas.openxmlformats.org/officeDocument/2006/relationships/tags" Target="../tags/tag51.xml"/><Relationship Id="rId19" Type="http://schemas.openxmlformats.org/officeDocument/2006/relationships/tags" Target="../tags/tag60.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tags" Target="../tags/tag79.xml"/><Relationship Id="rId3" Type="http://schemas.openxmlformats.org/officeDocument/2006/relationships/tags" Target="../tags/tag64.xml"/><Relationship Id="rId21" Type="http://schemas.openxmlformats.org/officeDocument/2006/relationships/slideMaster" Target="../slideMasters/slideMaster1.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5" Type="http://schemas.openxmlformats.org/officeDocument/2006/relationships/tags" Target="../tags/tag66.xml"/><Relationship Id="rId15" Type="http://schemas.openxmlformats.org/officeDocument/2006/relationships/tags" Target="../tags/tag76.xml"/><Relationship Id="rId10" Type="http://schemas.openxmlformats.org/officeDocument/2006/relationships/tags" Target="../tags/tag71.xml"/><Relationship Id="rId19" Type="http://schemas.openxmlformats.org/officeDocument/2006/relationships/tags" Target="../tags/tag80.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tags" Target="../tags/tag99.xml"/><Relationship Id="rId3" Type="http://schemas.openxmlformats.org/officeDocument/2006/relationships/tags" Target="../tags/tag84.xml"/><Relationship Id="rId21" Type="http://schemas.openxmlformats.org/officeDocument/2006/relationships/tags" Target="../tags/tag102.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image" Target="../media/image4.svg"/><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image" Target="../media/image3.png"/><Relationship Id="rId10" Type="http://schemas.openxmlformats.org/officeDocument/2006/relationships/tags" Target="../tags/tag91.xml"/><Relationship Id="rId19" Type="http://schemas.openxmlformats.org/officeDocument/2006/relationships/tags" Target="../tags/tag100.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2.xml"/><Relationship Id="rId1" Type="http://schemas.openxmlformats.org/officeDocument/2006/relationships/tags" Target="../tags/tag145.xml"/><Relationship Id="rId4" Type="http://schemas.openxmlformats.org/officeDocument/2006/relationships/image" Target="../media/image36.sv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tags" Target="../tags/tag120.xml"/><Relationship Id="rId3" Type="http://schemas.openxmlformats.org/officeDocument/2006/relationships/tags" Target="../tags/tag105.xml"/><Relationship Id="rId21" Type="http://schemas.openxmlformats.org/officeDocument/2006/relationships/slideMaster" Target="../slideMasters/slideMaster1.xml"/><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tags" Target="../tags/tag119.xml"/><Relationship Id="rId2" Type="http://schemas.openxmlformats.org/officeDocument/2006/relationships/tags" Target="../tags/tag104.xml"/><Relationship Id="rId16" Type="http://schemas.openxmlformats.org/officeDocument/2006/relationships/tags" Target="../tags/tag118.xml"/><Relationship Id="rId20" Type="http://schemas.openxmlformats.org/officeDocument/2006/relationships/tags" Target="../tags/tag122.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tags" Target="../tags/tag113.xml"/><Relationship Id="rId5" Type="http://schemas.openxmlformats.org/officeDocument/2006/relationships/tags" Target="../tags/tag107.xml"/><Relationship Id="rId15" Type="http://schemas.openxmlformats.org/officeDocument/2006/relationships/tags" Target="../tags/tag117.xml"/><Relationship Id="rId23" Type="http://schemas.openxmlformats.org/officeDocument/2006/relationships/image" Target="../media/image2.svg"/><Relationship Id="rId10" Type="http://schemas.openxmlformats.org/officeDocument/2006/relationships/tags" Target="../tags/tag112.xml"/><Relationship Id="rId19" Type="http://schemas.openxmlformats.org/officeDocument/2006/relationships/tags" Target="../tags/tag121.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image" Target="../media/image1.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7.xml"/><Relationship Id="rId1" Type="http://schemas.openxmlformats.org/officeDocument/2006/relationships/tags" Target="../tags/tag146.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tags" Target="../tags/tag148.xml"/><Relationship Id="rId4"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slideMaster" Target="../slideMasters/slideMaster2.xml"/><Relationship Id="rId4" Type="http://schemas.openxmlformats.org/officeDocument/2006/relationships/tags" Target="../tags/tag15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with portait and secondary images">
    <p:bg>
      <p:bgPr>
        <a:solidFill>
          <a:schemeClr val="bg2"/>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73D5DB45-4269-99F7-3A66-E68CAE1CA056}"/>
              </a:ext>
            </a:extLst>
          </p:cNvPr>
          <p:cNvSpPr>
            <a:spLocks noGrp="1"/>
          </p:cNvSpPr>
          <p:nvPr>
            <p:ph type="title"/>
          </p:nvPr>
        </p:nvSpPr>
        <p:spPr>
          <a:xfrm>
            <a:off x="785813" y="1047600"/>
            <a:ext cx="5220000" cy="1108800"/>
          </a:xfrm>
        </p:spPr>
        <p:txBody>
          <a:bodyPr/>
          <a:lstStyle>
            <a:lvl1pPr>
              <a:defRPr>
                <a:solidFill>
                  <a:schemeClr val="tx1"/>
                </a:solidFill>
              </a:defRPr>
            </a:lvl1pPr>
          </a:lstStyle>
          <a:p>
            <a:r>
              <a:rPr lang="en-US"/>
              <a:t>Click to edit Master title style</a:t>
            </a:r>
            <a:endParaRPr lang="en-GB" dirty="0"/>
          </a:p>
        </p:txBody>
      </p:sp>
      <p:sp>
        <p:nvSpPr>
          <p:cNvPr id="16" name="Subtitle 15">
            <a:extLst>
              <a:ext uri="{FF2B5EF4-FFF2-40B4-BE49-F238E27FC236}">
                <a16:creationId xmlns:a16="http://schemas.microsoft.com/office/drawing/2014/main" id="{9F3DA2FF-7188-63AA-76BC-BD6192A78923}"/>
              </a:ext>
            </a:extLst>
          </p:cNvPr>
          <p:cNvSpPr>
            <a:spLocks noGrp="1"/>
          </p:cNvSpPr>
          <p:nvPr>
            <p:ph type="body" sz="quarter" idx="15"/>
          </p:nvPr>
        </p:nvSpPr>
        <p:spPr>
          <a:xfrm>
            <a:off x="784800" y="2708992"/>
            <a:ext cx="5220000" cy="716400"/>
          </a:xfrm>
        </p:spPr>
        <p:txBody>
          <a:bodyPr/>
          <a:lstStyle>
            <a:lvl1pPr>
              <a:defRPr sz="2000"/>
            </a:lvl1pPr>
          </a:lstStyle>
          <a:p>
            <a:pPr lvl="0"/>
            <a:r>
              <a:rPr lang="en-US"/>
              <a:t>Click to edit Master text styles</a:t>
            </a:r>
          </a:p>
        </p:txBody>
      </p:sp>
    </p:spTree>
    <p:extLst>
      <p:ext uri="{BB962C8B-B14F-4D97-AF65-F5344CB8AC3E}">
        <p14:creationId xmlns:p14="http://schemas.microsoft.com/office/powerpoint/2010/main" val="2962155262"/>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ark grey">
    <p:bg>
      <p:bgPr>
        <a:solidFill>
          <a:srgbClr val="63666A"/>
        </a:solidFill>
        <a:effectLst/>
      </p:bgPr>
    </p:bg>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A82C8FE1-7B67-4CBD-25F4-B479A5C5FF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572"/>
          </a:xfrm>
          <a:prstGeom prst="rect">
            <a:avLst/>
          </a:prstGeom>
        </p:spPr>
      </p:pic>
      <p:sp>
        <p:nvSpPr>
          <p:cNvPr id="4" name="PoP">
            <a:extLst>
              <a:ext uri="{FF2B5EF4-FFF2-40B4-BE49-F238E27FC236}">
                <a16:creationId xmlns:a16="http://schemas.microsoft.com/office/drawing/2014/main" id="{D6337EF5-9A10-BF0A-3BE2-117178035E0E}"/>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4216758051"/>
      </p:ext>
    </p:extLst>
  </p:cSld>
  <p:clrMapOvr>
    <a:overrideClrMapping bg1="dk1" tx1="lt1" bg2="dk2" tx2="lt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our point layout 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4904191-EEB5-9F85-6970-0CA5975AAF81}"/>
              </a:ext>
            </a:extLst>
          </p:cNvPr>
          <p:cNvGrpSpPr/>
          <p:nvPr userDrawn="1"/>
        </p:nvGrpSpPr>
        <p:grpSpPr>
          <a:xfrm>
            <a:off x="812746" y="2109022"/>
            <a:ext cx="2519363" cy="3588504"/>
            <a:chOff x="812746" y="2109022"/>
            <a:chExt cx="2519363" cy="3588504"/>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2F6075DC-AC8B-A902-F0DF-581ADB159B21}"/>
                </a:ext>
              </a:extLst>
            </p:cNvPr>
            <p:cNvSpPr/>
            <p:nvPr/>
          </p:nvSpPr>
          <p:spPr>
            <a:xfrm>
              <a:off x="996085" y="2109022"/>
              <a:ext cx="782212" cy="78221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17" name="Group 16">
            <a:extLst>
              <a:ext uri="{FF2B5EF4-FFF2-40B4-BE49-F238E27FC236}">
                <a16:creationId xmlns:a16="http://schemas.microsoft.com/office/drawing/2014/main" id="{1AFB3616-1CDC-02C3-AB33-E6E089D1287B}"/>
              </a:ext>
            </a:extLst>
          </p:cNvPr>
          <p:cNvGrpSpPr/>
          <p:nvPr userDrawn="1"/>
        </p:nvGrpSpPr>
        <p:grpSpPr>
          <a:xfrm>
            <a:off x="3514895" y="2084213"/>
            <a:ext cx="2519364" cy="3613313"/>
            <a:chOff x="3514895" y="2084213"/>
            <a:chExt cx="2519364" cy="3613313"/>
          </a:xfrm>
        </p:grpSpPr>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2FD286CE-CC53-E808-0E79-A3CCA3682696}"/>
                </a:ext>
              </a:extLst>
            </p:cNvPr>
            <p:cNvSpPr/>
            <p:nvPr/>
          </p:nvSpPr>
          <p:spPr>
            <a:xfrm>
              <a:off x="3692852" y="2084213"/>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grpSp>
        <p:nvGrpSpPr>
          <p:cNvPr id="23" name="Group 22">
            <a:extLst>
              <a:ext uri="{FF2B5EF4-FFF2-40B4-BE49-F238E27FC236}">
                <a16:creationId xmlns:a16="http://schemas.microsoft.com/office/drawing/2014/main" id="{29A1CD70-9347-46EA-16C2-D34CFEC99667}"/>
              </a:ext>
            </a:extLst>
          </p:cNvPr>
          <p:cNvGrpSpPr/>
          <p:nvPr userDrawn="1"/>
        </p:nvGrpSpPr>
        <p:grpSpPr>
          <a:xfrm>
            <a:off x="6213646" y="2113851"/>
            <a:ext cx="2519363" cy="3583677"/>
            <a:chOff x="6213646" y="2113851"/>
            <a:chExt cx="2519363" cy="3583677"/>
          </a:xfrm>
        </p:grpSpPr>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21D66ACE-32E7-B65B-9076-7C3122A8AC31}"/>
                </a:ext>
              </a:extLst>
            </p:cNvPr>
            <p:cNvSpPr/>
            <p:nvPr/>
          </p:nvSpPr>
          <p:spPr>
            <a:xfrm>
              <a:off x="6394975" y="2113851"/>
              <a:ext cx="782212" cy="78221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grpSp>
      <p:grpSp>
        <p:nvGrpSpPr>
          <p:cNvPr id="26" name="Group 25">
            <a:extLst>
              <a:ext uri="{FF2B5EF4-FFF2-40B4-BE49-F238E27FC236}">
                <a16:creationId xmlns:a16="http://schemas.microsoft.com/office/drawing/2014/main" id="{EAA38804-C885-A3E4-6A2B-69EA8B5424DF}"/>
              </a:ext>
            </a:extLst>
          </p:cNvPr>
          <p:cNvGrpSpPr/>
          <p:nvPr userDrawn="1"/>
        </p:nvGrpSpPr>
        <p:grpSpPr>
          <a:xfrm>
            <a:off x="8915569" y="2109022"/>
            <a:ext cx="2519364" cy="3588506"/>
            <a:chOff x="8915569" y="2109022"/>
            <a:chExt cx="2519364" cy="3588506"/>
          </a:xfrm>
        </p:grpSpPr>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FA3EB875-A7EF-3680-1B2A-75E3978D4E98}"/>
                </a:ext>
              </a:extLst>
            </p:cNvPr>
            <p:cNvSpPr/>
            <p:nvPr/>
          </p:nvSpPr>
          <p:spPr>
            <a:xfrm>
              <a:off x="9093725"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708703" y="2965295"/>
            <a:ext cx="2158698"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6086" y="2945267"/>
            <a:ext cx="2158094" cy="2571296"/>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6394975" y="2965294"/>
            <a:ext cx="2215625"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9093725" y="2977097"/>
            <a:ext cx="2215625"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EBF1A456-1439-4FB5-BB78-B79ADD19D336}"/>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1FBF6D5E-AA9C-60A1-187F-81D0D8F74DC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CA142A32-23A3-7EE7-061F-9FA8C8D4AED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D525DFC4-D1B2-FCE6-D288-B5037B60770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4C851619-C36F-73A8-3895-4A4A14A48E1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CB22C222-DD92-1306-3AFE-FA78EE8DF06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A1991430-453A-5C89-E194-64954E4C39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D22D5A49-4232-83BE-F20D-F2A1C7E303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49118405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our point layout 3">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Four point</a:t>
            </a:r>
            <a:br>
              <a:rPr lang="en-US"/>
            </a:br>
            <a:r>
              <a:rPr lang="en-US"/>
              <a:t>Slide – vertical</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sp>
        <p:nvSpPr>
          <p:cNvPr id="7" name="Slide Number Placeholder 2">
            <a:extLst>
              <a:ext uri="{FF2B5EF4-FFF2-40B4-BE49-F238E27FC236}">
                <a16:creationId xmlns:a16="http://schemas.microsoft.com/office/drawing/2014/main" id="{E7FCF6E2-32CE-8CCA-6C4F-F9AC1223897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C7303873-522F-9510-3C03-12FB53DC434E}"/>
              </a:ext>
            </a:extLst>
          </p:cNvPr>
          <p:cNvSpPr/>
          <p:nvPr userDrawn="1"/>
        </p:nvSpPr>
        <p:spPr>
          <a:xfrm>
            <a:off x="5194920" y="1089039"/>
            <a:ext cx="6601422"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27" name="Rectangle 26">
            <a:extLst>
              <a:ext uri="{FF2B5EF4-FFF2-40B4-BE49-F238E27FC236}">
                <a16:creationId xmlns:a16="http://schemas.microsoft.com/office/drawing/2014/main" id="{CAD003E4-E465-0098-5ABA-D9AF39CD02D5}"/>
              </a:ext>
            </a:extLst>
          </p:cNvPr>
          <p:cNvSpPr/>
          <p:nvPr userDrawn="1"/>
        </p:nvSpPr>
        <p:spPr>
          <a:xfrm>
            <a:off x="4594635" y="1229920"/>
            <a:ext cx="765419" cy="78855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28" name="Rectangle 27">
            <a:extLst>
              <a:ext uri="{FF2B5EF4-FFF2-40B4-BE49-F238E27FC236}">
                <a16:creationId xmlns:a16="http://schemas.microsoft.com/office/drawing/2014/main" id="{726F2FA3-CF30-5ACA-8D01-170E03AC0205}"/>
              </a:ext>
            </a:extLst>
          </p:cNvPr>
          <p:cNvSpPr/>
          <p:nvPr userDrawn="1"/>
        </p:nvSpPr>
        <p:spPr>
          <a:xfrm>
            <a:off x="5194921" y="2261682"/>
            <a:ext cx="6601422"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29" name="Rectangle 28">
            <a:extLst>
              <a:ext uri="{FF2B5EF4-FFF2-40B4-BE49-F238E27FC236}">
                <a16:creationId xmlns:a16="http://schemas.microsoft.com/office/drawing/2014/main" id="{B420F3FB-DC84-905E-C61A-6CE449962890}"/>
              </a:ext>
            </a:extLst>
          </p:cNvPr>
          <p:cNvSpPr/>
          <p:nvPr userDrawn="1"/>
        </p:nvSpPr>
        <p:spPr>
          <a:xfrm>
            <a:off x="4594635" y="2372080"/>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30" name="Rectangle 29">
            <a:extLst>
              <a:ext uri="{FF2B5EF4-FFF2-40B4-BE49-F238E27FC236}">
                <a16:creationId xmlns:a16="http://schemas.microsoft.com/office/drawing/2014/main" id="{B19CD226-8331-7490-8999-02DEC32221A5}"/>
              </a:ext>
            </a:extLst>
          </p:cNvPr>
          <p:cNvSpPr/>
          <p:nvPr userDrawn="1"/>
        </p:nvSpPr>
        <p:spPr>
          <a:xfrm>
            <a:off x="5194920" y="3434325"/>
            <a:ext cx="6601422"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31" name="Rectangle 30">
            <a:extLst>
              <a:ext uri="{FF2B5EF4-FFF2-40B4-BE49-F238E27FC236}">
                <a16:creationId xmlns:a16="http://schemas.microsoft.com/office/drawing/2014/main" id="{6D12AF13-9AC1-2403-C65D-AA9417AC25B3}"/>
              </a:ext>
            </a:extLst>
          </p:cNvPr>
          <p:cNvSpPr/>
          <p:nvPr userDrawn="1"/>
        </p:nvSpPr>
        <p:spPr>
          <a:xfrm>
            <a:off x="4602989" y="3565048"/>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32" name="Rectangle 31">
            <a:extLst>
              <a:ext uri="{FF2B5EF4-FFF2-40B4-BE49-F238E27FC236}">
                <a16:creationId xmlns:a16="http://schemas.microsoft.com/office/drawing/2014/main" id="{A0D890D1-F42C-988F-84F3-9F7F4EEFC16D}"/>
              </a:ext>
            </a:extLst>
          </p:cNvPr>
          <p:cNvSpPr/>
          <p:nvPr userDrawn="1"/>
        </p:nvSpPr>
        <p:spPr>
          <a:xfrm>
            <a:off x="5202261" y="4606968"/>
            <a:ext cx="6601422"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33" name="Rectangle 32">
            <a:extLst>
              <a:ext uri="{FF2B5EF4-FFF2-40B4-BE49-F238E27FC236}">
                <a16:creationId xmlns:a16="http://schemas.microsoft.com/office/drawing/2014/main" id="{05D55508-1E31-40F8-1795-EAC9E5110ABA}"/>
              </a:ext>
            </a:extLst>
          </p:cNvPr>
          <p:cNvSpPr/>
          <p:nvPr userDrawn="1"/>
        </p:nvSpPr>
        <p:spPr>
          <a:xfrm>
            <a:off x="4602989" y="4737789"/>
            <a:ext cx="765419" cy="7885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34" name="Text Placeholder 13">
            <a:extLst>
              <a:ext uri="{FF2B5EF4-FFF2-40B4-BE49-F238E27FC236}">
                <a16:creationId xmlns:a16="http://schemas.microsoft.com/office/drawing/2014/main" id="{9D0BCE8B-CE8C-76FD-7830-C19C99EF41AB}"/>
              </a:ext>
            </a:extLst>
          </p:cNvPr>
          <p:cNvSpPr>
            <a:spLocks noGrp="1"/>
          </p:cNvSpPr>
          <p:nvPr>
            <p:ph type="body" sz="quarter" idx="12" hasCustomPrompt="1"/>
          </p:nvPr>
        </p:nvSpPr>
        <p:spPr>
          <a:xfrm>
            <a:off x="5512225" y="2376051"/>
            <a:ext cx="6156310" cy="780293"/>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5" name="Text Placeholder 13">
            <a:extLst>
              <a:ext uri="{FF2B5EF4-FFF2-40B4-BE49-F238E27FC236}">
                <a16:creationId xmlns:a16="http://schemas.microsoft.com/office/drawing/2014/main" id="{3994EAD7-C93B-72F8-A01E-9552CFAE44FC}"/>
              </a:ext>
            </a:extLst>
          </p:cNvPr>
          <p:cNvSpPr>
            <a:spLocks noGrp="1"/>
          </p:cNvSpPr>
          <p:nvPr>
            <p:ph type="body" sz="quarter" idx="16" hasCustomPrompt="1"/>
          </p:nvPr>
        </p:nvSpPr>
        <p:spPr>
          <a:xfrm>
            <a:off x="5512225" y="1229920"/>
            <a:ext cx="6156310" cy="788552"/>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6" name="Text Placeholder 13">
            <a:extLst>
              <a:ext uri="{FF2B5EF4-FFF2-40B4-BE49-F238E27FC236}">
                <a16:creationId xmlns:a16="http://schemas.microsoft.com/office/drawing/2014/main" id="{F40F0698-23F4-DDB3-B360-E8AA6D732A02}"/>
              </a:ext>
            </a:extLst>
          </p:cNvPr>
          <p:cNvSpPr>
            <a:spLocks noGrp="1"/>
          </p:cNvSpPr>
          <p:nvPr>
            <p:ph type="body" sz="quarter" idx="17" hasCustomPrompt="1"/>
          </p:nvPr>
        </p:nvSpPr>
        <p:spPr>
          <a:xfrm>
            <a:off x="5529073" y="3565049"/>
            <a:ext cx="6139462" cy="788552"/>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7" name="Text Placeholder 13">
            <a:extLst>
              <a:ext uri="{FF2B5EF4-FFF2-40B4-BE49-F238E27FC236}">
                <a16:creationId xmlns:a16="http://schemas.microsoft.com/office/drawing/2014/main" id="{B7CE308E-4200-2A91-8DA7-871A6448993E}"/>
              </a:ext>
            </a:extLst>
          </p:cNvPr>
          <p:cNvSpPr>
            <a:spLocks noGrp="1"/>
          </p:cNvSpPr>
          <p:nvPr>
            <p:ph type="body" sz="quarter" idx="18" hasCustomPrompt="1"/>
          </p:nvPr>
        </p:nvSpPr>
        <p:spPr>
          <a:xfrm>
            <a:off x="5512225" y="4737790"/>
            <a:ext cx="6156310" cy="788552"/>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Tree>
    <p:extLst>
      <p:ext uri="{BB962C8B-B14F-4D97-AF65-F5344CB8AC3E}">
        <p14:creationId xmlns:p14="http://schemas.microsoft.com/office/powerpoint/2010/main" val="4690888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ive point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29EC14-E5A6-9D6A-7FF4-17664D976727}"/>
              </a:ext>
            </a:extLst>
          </p:cNvPr>
          <p:cNvGrpSpPr/>
          <p:nvPr userDrawn="1"/>
        </p:nvGrpSpPr>
        <p:grpSpPr>
          <a:xfrm>
            <a:off x="814558" y="2344613"/>
            <a:ext cx="10621792" cy="3336708"/>
            <a:chOff x="814558" y="2344613"/>
            <a:chExt cx="13317540" cy="2508611"/>
          </a:xfrm>
          <a:solidFill>
            <a:schemeClr val="tx1"/>
          </a:solidFill>
        </p:grpSpPr>
        <p:sp>
          <p:nvSpPr>
            <p:cNvPr id="5" name="Rectangle 4">
              <a:extLst>
                <a:ext uri="{FF2B5EF4-FFF2-40B4-BE49-F238E27FC236}">
                  <a16:creationId xmlns:a16="http://schemas.microsoft.com/office/drawing/2014/main" id="{87CE835E-3AC6-A77D-D58F-1B5820EDFF1D}"/>
                </a:ext>
              </a:extLst>
            </p:cNvPr>
            <p:cNvSpPr/>
            <p:nvPr/>
          </p:nvSpPr>
          <p:spPr>
            <a:xfrm>
              <a:off x="814558" y="2364195"/>
              <a:ext cx="2519363"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A1DF2854-AA0B-BB73-3C6E-7362B18049CD}"/>
                </a:ext>
              </a:extLst>
            </p:cNvPr>
            <p:cNvSpPr/>
            <p:nvPr/>
          </p:nvSpPr>
          <p:spPr>
            <a:xfrm>
              <a:off x="3514894" y="2354209"/>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7" name="Rectangle 6">
              <a:extLst>
                <a:ext uri="{FF2B5EF4-FFF2-40B4-BE49-F238E27FC236}">
                  <a16:creationId xmlns:a16="http://schemas.microsoft.com/office/drawing/2014/main" id="{28DC8BF6-4102-3CA3-926F-390EADD69955}"/>
                </a:ext>
              </a:extLst>
            </p:cNvPr>
            <p:cNvSpPr/>
            <p:nvPr/>
          </p:nvSpPr>
          <p:spPr>
            <a:xfrm>
              <a:off x="6213646" y="2354211"/>
              <a:ext cx="2519363"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p>
            <a:p>
              <a:endParaRPr lang="en-GB" sz="1400">
                <a:solidFill>
                  <a:schemeClr val="bg1"/>
                </a:solidFill>
              </a:endParaRPr>
            </a:p>
          </p:txBody>
        </p:sp>
        <p:sp>
          <p:nvSpPr>
            <p:cNvPr id="8" name="Rectangle 7">
              <a:extLst>
                <a:ext uri="{FF2B5EF4-FFF2-40B4-BE49-F238E27FC236}">
                  <a16:creationId xmlns:a16="http://schemas.microsoft.com/office/drawing/2014/main" id="{4A8C1BF7-DF0A-D533-BCF5-22463ABE13DD}"/>
                </a:ext>
              </a:extLst>
            </p:cNvPr>
            <p:cNvSpPr/>
            <p:nvPr/>
          </p:nvSpPr>
          <p:spPr>
            <a:xfrm>
              <a:off x="8915569" y="2354211"/>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3B63A5ED-6858-828D-7742-72C89BEEDA94}"/>
                </a:ext>
              </a:extLst>
            </p:cNvPr>
            <p:cNvSpPr/>
            <p:nvPr/>
          </p:nvSpPr>
          <p:spPr>
            <a:xfrm>
              <a:off x="11612734" y="2344613"/>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grpSp>
      <p:sp>
        <p:nvSpPr>
          <p:cNvPr id="12" name="Rectangle 11">
            <a:extLst>
              <a:ext uri="{FF2B5EF4-FFF2-40B4-BE49-F238E27FC236}">
                <a16:creationId xmlns:a16="http://schemas.microsoft.com/office/drawing/2014/main" id="{EC0DA285-F6A1-1863-3D78-3C07B12B8EA0}"/>
              </a:ext>
            </a:extLst>
          </p:cNvPr>
          <p:cNvSpPr/>
          <p:nvPr userDrawn="1"/>
        </p:nvSpPr>
        <p:spPr>
          <a:xfrm>
            <a:off x="996085"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4" name="Rectangle 13">
            <a:extLst>
              <a:ext uri="{FF2B5EF4-FFF2-40B4-BE49-F238E27FC236}">
                <a16:creationId xmlns:a16="http://schemas.microsoft.com/office/drawing/2014/main" id="{76198D3D-D4F3-C5AA-2579-39291F1DC68A}"/>
              </a:ext>
            </a:extLst>
          </p:cNvPr>
          <p:cNvSpPr/>
          <p:nvPr userDrawn="1"/>
        </p:nvSpPr>
        <p:spPr>
          <a:xfrm>
            <a:off x="3153824" y="2109022"/>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21" name="Rectangle 20">
            <a:extLst>
              <a:ext uri="{FF2B5EF4-FFF2-40B4-BE49-F238E27FC236}">
                <a16:creationId xmlns:a16="http://schemas.microsoft.com/office/drawing/2014/main" id="{13FD2861-33BB-D001-9E95-0A47ACA54A69}"/>
              </a:ext>
            </a:extLst>
          </p:cNvPr>
          <p:cNvSpPr/>
          <p:nvPr userDrawn="1"/>
        </p:nvSpPr>
        <p:spPr>
          <a:xfrm>
            <a:off x="5256014" y="2115705"/>
            <a:ext cx="782212" cy="78221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30" name="Rectangle 29">
            <a:extLst>
              <a:ext uri="{FF2B5EF4-FFF2-40B4-BE49-F238E27FC236}">
                <a16:creationId xmlns:a16="http://schemas.microsoft.com/office/drawing/2014/main" id="{F10E4388-9B27-B5EE-E908-CA8CA556F9C8}"/>
              </a:ext>
            </a:extLst>
          </p:cNvPr>
          <p:cNvSpPr/>
          <p:nvPr userDrawn="1"/>
        </p:nvSpPr>
        <p:spPr>
          <a:xfrm>
            <a:off x="7444794"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31" name="Rectangle 30">
            <a:extLst>
              <a:ext uri="{FF2B5EF4-FFF2-40B4-BE49-F238E27FC236}">
                <a16:creationId xmlns:a16="http://schemas.microsoft.com/office/drawing/2014/main" id="{01364A24-B640-D439-8636-E6ED59C613B3}"/>
              </a:ext>
            </a:extLst>
          </p:cNvPr>
          <p:cNvSpPr/>
          <p:nvPr userDrawn="1"/>
        </p:nvSpPr>
        <p:spPr>
          <a:xfrm>
            <a:off x="9599792" y="2102943"/>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ive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153824" y="2998694"/>
            <a:ext cx="1682658"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5730" y="2978666"/>
            <a:ext cx="1682187" cy="2571296"/>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5261937" y="2998693"/>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452036" y="3010496"/>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9599792" y="3010496"/>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9" name="Group 8">
            <a:extLst>
              <a:ext uri="{FF2B5EF4-FFF2-40B4-BE49-F238E27FC236}">
                <a16:creationId xmlns:a16="http://schemas.microsoft.com/office/drawing/2014/main" id="{767E171F-71B9-01A0-B59A-01A36E3DB61F}"/>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C25ECC34-EF7C-AA38-C328-772526BEBFE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E3AC3B26-17D5-E42F-F575-A7B5A3E3CE5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6A725BBC-0EDE-E35B-774C-CE4DAC5DFAA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5247FC5D-90C5-925E-5C43-A57E913983E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D203253A-68FA-3CE3-292B-1D3BFB50B56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58C9A7BC-F2D6-C189-F0C5-8135A251FE5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D94CA1D8-0B68-2C65-F21E-4909960805B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12318925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ive point layout 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29EC14-E5A6-9D6A-7FF4-17664D976727}"/>
              </a:ext>
            </a:extLst>
          </p:cNvPr>
          <p:cNvGrpSpPr/>
          <p:nvPr userDrawn="1"/>
        </p:nvGrpSpPr>
        <p:grpSpPr>
          <a:xfrm>
            <a:off x="814558" y="2344613"/>
            <a:ext cx="10621792" cy="3336708"/>
            <a:chOff x="814558" y="2344613"/>
            <a:chExt cx="13317540" cy="2508611"/>
          </a:xfrm>
          <a:solidFill>
            <a:schemeClr val="tx1"/>
          </a:solidFill>
        </p:grpSpPr>
        <p:sp>
          <p:nvSpPr>
            <p:cNvPr id="5" name="Rectangle 4">
              <a:extLst>
                <a:ext uri="{FF2B5EF4-FFF2-40B4-BE49-F238E27FC236}">
                  <a16:creationId xmlns:a16="http://schemas.microsoft.com/office/drawing/2014/main" id="{87CE835E-3AC6-A77D-D58F-1B5820EDFF1D}"/>
                </a:ext>
              </a:extLst>
            </p:cNvPr>
            <p:cNvSpPr/>
            <p:nvPr/>
          </p:nvSpPr>
          <p:spPr>
            <a:xfrm>
              <a:off x="814558" y="2364195"/>
              <a:ext cx="2519363" cy="248902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A1DF2854-AA0B-BB73-3C6E-7362B18049CD}"/>
                </a:ext>
              </a:extLst>
            </p:cNvPr>
            <p:cNvSpPr/>
            <p:nvPr/>
          </p:nvSpPr>
          <p:spPr>
            <a:xfrm>
              <a:off x="3514894" y="2354209"/>
              <a:ext cx="2519364" cy="2489029"/>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7" name="Rectangle 6">
              <a:extLst>
                <a:ext uri="{FF2B5EF4-FFF2-40B4-BE49-F238E27FC236}">
                  <a16:creationId xmlns:a16="http://schemas.microsoft.com/office/drawing/2014/main" id="{28DC8BF6-4102-3CA3-926F-390EADD69955}"/>
                </a:ext>
              </a:extLst>
            </p:cNvPr>
            <p:cNvSpPr/>
            <p:nvPr/>
          </p:nvSpPr>
          <p:spPr>
            <a:xfrm>
              <a:off x="6213646" y="2354211"/>
              <a:ext cx="2519363" cy="248902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p>
            <a:p>
              <a:endParaRPr lang="en-GB" sz="1400">
                <a:solidFill>
                  <a:schemeClr val="bg1"/>
                </a:solidFill>
              </a:endParaRPr>
            </a:p>
          </p:txBody>
        </p:sp>
        <p:sp>
          <p:nvSpPr>
            <p:cNvPr id="8" name="Rectangle 7">
              <a:extLst>
                <a:ext uri="{FF2B5EF4-FFF2-40B4-BE49-F238E27FC236}">
                  <a16:creationId xmlns:a16="http://schemas.microsoft.com/office/drawing/2014/main" id="{4A8C1BF7-DF0A-D533-BCF5-22463ABE13DD}"/>
                </a:ext>
              </a:extLst>
            </p:cNvPr>
            <p:cNvSpPr/>
            <p:nvPr/>
          </p:nvSpPr>
          <p:spPr>
            <a:xfrm>
              <a:off x="8915569" y="2354211"/>
              <a:ext cx="2519364" cy="248902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3B63A5ED-6858-828D-7742-72C89BEEDA94}"/>
                </a:ext>
              </a:extLst>
            </p:cNvPr>
            <p:cNvSpPr/>
            <p:nvPr/>
          </p:nvSpPr>
          <p:spPr>
            <a:xfrm>
              <a:off x="11612734" y="2344613"/>
              <a:ext cx="2519364" cy="2489029"/>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grpSp>
      <p:sp>
        <p:nvSpPr>
          <p:cNvPr id="12" name="Rectangle 11">
            <a:extLst>
              <a:ext uri="{FF2B5EF4-FFF2-40B4-BE49-F238E27FC236}">
                <a16:creationId xmlns:a16="http://schemas.microsoft.com/office/drawing/2014/main" id="{EC0DA285-F6A1-1863-3D78-3C07B12B8EA0}"/>
              </a:ext>
            </a:extLst>
          </p:cNvPr>
          <p:cNvSpPr/>
          <p:nvPr userDrawn="1"/>
        </p:nvSpPr>
        <p:spPr>
          <a:xfrm>
            <a:off x="996085"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4" name="Rectangle 13">
            <a:extLst>
              <a:ext uri="{FF2B5EF4-FFF2-40B4-BE49-F238E27FC236}">
                <a16:creationId xmlns:a16="http://schemas.microsoft.com/office/drawing/2014/main" id="{76198D3D-D4F3-C5AA-2579-39291F1DC68A}"/>
              </a:ext>
            </a:extLst>
          </p:cNvPr>
          <p:cNvSpPr/>
          <p:nvPr userDrawn="1"/>
        </p:nvSpPr>
        <p:spPr>
          <a:xfrm>
            <a:off x="3153824" y="2109022"/>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21" name="Rectangle 20">
            <a:extLst>
              <a:ext uri="{FF2B5EF4-FFF2-40B4-BE49-F238E27FC236}">
                <a16:creationId xmlns:a16="http://schemas.microsoft.com/office/drawing/2014/main" id="{13FD2861-33BB-D001-9E95-0A47ACA54A69}"/>
              </a:ext>
            </a:extLst>
          </p:cNvPr>
          <p:cNvSpPr/>
          <p:nvPr userDrawn="1"/>
        </p:nvSpPr>
        <p:spPr>
          <a:xfrm>
            <a:off x="5256014" y="2115705"/>
            <a:ext cx="782212" cy="78221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30" name="Rectangle 29">
            <a:extLst>
              <a:ext uri="{FF2B5EF4-FFF2-40B4-BE49-F238E27FC236}">
                <a16:creationId xmlns:a16="http://schemas.microsoft.com/office/drawing/2014/main" id="{F10E4388-9B27-B5EE-E908-CA8CA556F9C8}"/>
              </a:ext>
            </a:extLst>
          </p:cNvPr>
          <p:cNvSpPr/>
          <p:nvPr userDrawn="1"/>
        </p:nvSpPr>
        <p:spPr>
          <a:xfrm>
            <a:off x="7444794"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31" name="Rectangle 30">
            <a:extLst>
              <a:ext uri="{FF2B5EF4-FFF2-40B4-BE49-F238E27FC236}">
                <a16:creationId xmlns:a16="http://schemas.microsoft.com/office/drawing/2014/main" id="{01364A24-B640-D439-8636-E6ED59C613B3}"/>
              </a:ext>
            </a:extLst>
          </p:cNvPr>
          <p:cNvSpPr/>
          <p:nvPr userDrawn="1"/>
        </p:nvSpPr>
        <p:spPr>
          <a:xfrm>
            <a:off x="9599792" y="2102943"/>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ive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153824" y="2998694"/>
            <a:ext cx="1682658"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5730" y="2978666"/>
            <a:ext cx="1682187" cy="2571296"/>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5261937" y="2998693"/>
            <a:ext cx="1727031"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452036" y="3010496"/>
            <a:ext cx="1727031"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9599792" y="3010496"/>
            <a:ext cx="1727031"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grpSp>
        <p:nvGrpSpPr>
          <p:cNvPr id="9" name="Group 8">
            <a:extLst>
              <a:ext uri="{FF2B5EF4-FFF2-40B4-BE49-F238E27FC236}">
                <a16:creationId xmlns:a16="http://schemas.microsoft.com/office/drawing/2014/main" id="{696B34EB-2BF4-723B-3B16-D58A35A4B1C1}"/>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E2C89716-8E2F-D218-9D69-728D9833E4D7}"/>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9164CDD3-24C0-C7DD-02C3-F42F7142023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65CF9E34-0366-A4F6-CAAA-83F93AF1BD9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C9F1D2DA-E0A1-FC28-0F16-353355F7668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FDF29F8D-143F-3F4D-B705-A86AA62F15B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C72AED6F-CB0A-0FA1-FD2E-DB97FA03568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49A2C6B1-6983-CEA2-5B6A-26581F6C7DF3}"/>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0339472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ive point layout 3">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Five point</a:t>
            </a:r>
            <a:br>
              <a:rPr lang="en-US"/>
            </a:br>
            <a:r>
              <a:rPr lang="en-US"/>
              <a:t>Slide – vertical</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sp>
        <p:nvSpPr>
          <p:cNvPr id="7" name="Slide Number Placeholder 2">
            <a:extLst>
              <a:ext uri="{FF2B5EF4-FFF2-40B4-BE49-F238E27FC236}">
                <a16:creationId xmlns:a16="http://schemas.microsoft.com/office/drawing/2014/main" id="{E7FCF6E2-32CE-8CCA-6C4F-F9AC12238976}"/>
              </a:ext>
            </a:extLst>
          </p:cNvPr>
          <p:cNvSpPr>
            <a:spLocks noGrp="1"/>
          </p:cNvSpPr>
          <p:nvPr>
            <p:ph type="sldNum" sz="quarter" idx="4"/>
          </p:nvPr>
        </p:nvSpPr>
        <p:spPr>
          <a:xfrm>
            <a:off x="11195915" y="5363957"/>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C7303873-522F-9510-3C03-12FB53DC434E}"/>
              </a:ext>
            </a:extLst>
          </p:cNvPr>
          <p:cNvSpPr/>
          <p:nvPr userDrawn="1"/>
        </p:nvSpPr>
        <p:spPr>
          <a:xfrm>
            <a:off x="5194920" y="8382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27" name="Rectangle 26">
            <a:extLst>
              <a:ext uri="{FF2B5EF4-FFF2-40B4-BE49-F238E27FC236}">
                <a16:creationId xmlns:a16="http://schemas.microsoft.com/office/drawing/2014/main" id="{CAD003E4-E465-0098-5ABA-D9AF39CD02D5}"/>
              </a:ext>
            </a:extLst>
          </p:cNvPr>
          <p:cNvSpPr/>
          <p:nvPr userDrawn="1"/>
        </p:nvSpPr>
        <p:spPr>
          <a:xfrm>
            <a:off x="4594635" y="979081"/>
            <a:ext cx="765419" cy="693118"/>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28" name="Rectangle 27">
            <a:extLst>
              <a:ext uri="{FF2B5EF4-FFF2-40B4-BE49-F238E27FC236}">
                <a16:creationId xmlns:a16="http://schemas.microsoft.com/office/drawing/2014/main" id="{726F2FA3-CF30-5ACA-8D01-170E03AC0205}"/>
              </a:ext>
            </a:extLst>
          </p:cNvPr>
          <p:cNvSpPr/>
          <p:nvPr userDrawn="1"/>
        </p:nvSpPr>
        <p:spPr>
          <a:xfrm>
            <a:off x="5194921" y="18288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29" name="Rectangle 28">
            <a:extLst>
              <a:ext uri="{FF2B5EF4-FFF2-40B4-BE49-F238E27FC236}">
                <a16:creationId xmlns:a16="http://schemas.microsoft.com/office/drawing/2014/main" id="{B420F3FB-DC84-905E-C61A-6CE449962890}"/>
              </a:ext>
            </a:extLst>
          </p:cNvPr>
          <p:cNvSpPr/>
          <p:nvPr userDrawn="1"/>
        </p:nvSpPr>
        <p:spPr>
          <a:xfrm>
            <a:off x="4594635" y="1939198"/>
            <a:ext cx="765419" cy="6931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30" name="Rectangle 29">
            <a:extLst>
              <a:ext uri="{FF2B5EF4-FFF2-40B4-BE49-F238E27FC236}">
                <a16:creationId xmlns:a16="http://schemas.microsoft.com/office/drawing/2014/main" id="{B19CD226-8331-7490-8999-02DEC32221A5}"/>
              </a:ext>
            </a:extLst>
          </p:cNvPr>
          <p:cNvSpPr/>
          <p:nvPr userDrawn="1"/>
        </p:nvSpPr>
        <p:spPr>
          <a:xfrm>
            <a:off x="5194920" y="28194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31" name="Rectangle 30">
            <a:extLst>
              <a:ext uri="{FF2B5EF4-FFF2-40B4-BE49-F238E27FC236}">
                <a16:creationId xmlns:a16="http://schemas.microsoft.com/office/drawing/2014/main" id="{6D12AF13-9AC1-2403-C65D-AA9417AC25B3}"/>
              </a:ext>
            </a:extLst>
          </p:cNvPr>
          <p:cNvSpPr/>
          <p:nvPr userDrawn="1"/>
        </p:nvSpPr>
        <p:spPr>
          <a:xfrm>
            <a:off x="4602989" y="2950123"/>
            <a:ext cx="765419" cy="69311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32" name="Rectangle 31">
            <a:extLst>
              <a:ext uri="{FF2B5EF4-FFF2-40B4-BE49-F238E27FC236}">
                <a16:creationId xmlns:a16="http://schemas.microsoft.com/office/drawing/2014/main" id="{A0D890D1-F42C-988F-84F3-9F7F4EEFC16D}"/>
              </a:ext>
            </a:extLst>
          </p:cNvPr>
          <p:cNvSpPr/>
          <p:nvPr userDrawn="1"/>
        </p:nvSpPr>
        <p:spPr>
          <a:xfrm>
            <a:off x="5202261" y="38100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33" name="Rectangle 32">
            <a:extLst>
              <a:ext uri="{FF2B5EF4-FFF2-40B4-BE49-F238E27FC236}">
                <a16:creationId xmlns:a16="http://schemas.microsoft.com/office/drawing/2014/main" id="{05D55508-1E31-40F8-1795-EAC9E5110ABA}"/>
              </a:ext>
            </a:extLst>
          </p:cNvPr>
          <p:cNvSpPr/>
          <p:nvPr userDrawn="1"/>
        </p:nvSpPr>
        <p:spPr>
          <a:xfrm>
            <a:off x="4602989" y="3940821"/>
            <a:ext cx="765419" cy="6931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34" name="Text Placeholder 13">
            <a:extLst>
              <a:ext uri="{FF2B5EF4-FFF2-40B4-BE49-F238E27FC236}">
                <a16:creationId xmlns:a16="http://schemas.microsoft.com/office/drawing/2014/main" id="{9D0BCE8B-CE8C-76FD-7830-C19C99EF41AB}"/>
              </a:ext>
            </a:extLst>
          </p:cNvPr>
          <p:cNvSpPr>
            <a:spLocks noGrp="1"/>
          </p:cNvSpPr>
          <p:nvPr>
            <p:ph type="body" sz="quarter" idx="12" hasCustomPrompt="1"/>
          </p:nvPr>
        </p:nvSpPr>
        <p:spPr>
          <a:xfrm>
            <a:off x="5512225" y="1943169"/>
            <a:ext cx="6156310" cy="685859"/>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5" name="Text Placeholder 13">
            <a:extLst>
              <a:ext uri="{FF2B5EF4-FFF2-40B4-BE49-F238E27FC236}">
                <a16:creationId xmlns:a16="http://schemas.microsoft.com/office/drawing/2014/main" id="{3994EAD7-C93B-72F8-A01E-9552CFAE44FC}"/>
              </a:ext>
            </a:extLst>
          </p:cNvPr>
          <p:cNvSpPr>
            <a:spLocks noGrp="1"/>
          </p:cNvSpPr>
          <p:nvPr>
            <p:ph type="body" sz="quarter" idx="16" hasCustomPrompt="1"/>
          </p:nvPr>
        </p:nvSpPr>
        <p:spPr>
          <a:xfrm>
            <a:off x="5512225" y="979081"/>
            <a:ext cx="6156310" cy="69311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6" name="Text Placeholder 13">
            <a:extLst>
              <a:ext uri="{FF2B5EF4-FFF2-40B4-BE49-F238E27FC236}">
                <a16:creationId xmlns:a16="http://schemas.microsoft.com/office/drawing/2014/main" id="{F40F0698-23F4-DDB3-B360-E8AA6D732A02}"/>
              </a:ext>
            </a:extLst>
          </p:cNvPr>
          <p:cNvSpPr>
            <a:spLocks noGrp="1"/>
          </p:cNvSpPr>
          <p:nvPr>
            <p:ph type="body" sz="quarter" idx="17" hasCustomPrompt="1"/>
          </p:nvPr>
        </p:nvSpPr>
        <p:spPr>
          <a:xfrm>
            <a:off x="5529073" y="2950124"/>
            <a:ext cx="6139462" cy="69311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7" name="Text Placeholder 13">
            <a:extLst>
              <a:ext uri="{FF2B5EF4-FFF2-40B4-BE49-F238E27FC236}">
                <a16:creationId xmlns:a16="http://schemas.microsoft.com/office/drawing/2014/main" id="{B7CE308E-4200-2A91-8DA7-871A6448993E}"/>
              </a:ext>
            </a:extLst>
          </p:cNvPr>
          <p:cNvSpPr>
            <a:spLocks noGrp="1"/>
          </p:cNvSpPr>
          <p:nvPr>
            <p:ph type="body" sz="quarter" idx="18" hasCustomPrompt="1"/>
          </p:nvPr>
        </p:nvSpPr>
        <p:spPr>
          <a:xfrm>
            <a:off x="5512225" y="3940822"/>
            <a:ext cx="6156310" cy="69311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 name="Rectangle 2">
            <a:extLst>
              <a:ext uri="{FF2B5EF4-FFF2-40B4-BE49-F238E27FC236}">
                <a16:creationId xmlns:a16="http://schemas.microsoft.com/office/drawing/2014/main" id="{6CEA7CE0-6AF0-30FC-5354-C84DD26A1E43}"/>
              </a:ext>
            </a:extLst>
          </p:cNvPr>
          <p:cNvSpPr/>
          <p:nvPr userDrawn="1"/>
        </p:nvSpPr>
        <p:spPr>
          <a:xfrm>
            <a:off x="5203275" y="48006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8" name="Rectangle 7">
            <a:extLst>
              <a:ext uri="{FF2B5EF4-FFF2-40B4-BE49-F238E27FC236}">
                <a16:creationId xmlns:a16="http://schemas.microsoft.com/office/drawing/2014/main" id="{2378FCE4-D7CD-CF11-EA02-2CEC7F6690EE}"/>
              </a:ext>
            </a:extLst>
          </p:cNvPr>
          <p:cNvSpPr/>
          <p:nvPr userDrawn="1"/>
        </p:nvSpPr>
        <p:spPr>
          <a:xfrm>
            <a:off x="4602989" y="4910998"/>
            <a:ext cx="765419" cy="6931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6" name="Text Placeholder 13">
            <a:extLst>
              <a:ext uri="{FF2B5EF4-FFF2-40B4-BE49-F238E27FC236}">
                <a16:creationId xmlns:a16="http://schemas.microsoft.com/office/drawing/2014/main" id="{62400C6A-14CE-58FA-0C5A-B9C7B5D31512}"/>
              </a:ext>
            </a:extLst>
          </p:cNvPr>
          <p:cNvSpPr>
            <a:spLocks noGrp="1"/>
          </p:cNvSpPr>
          <p:nvPr>
            <p:ph type="body" sz="quarter" idx="19" hasCustomPrompt="1"/>
          </p:nvPr>
        </p:nvSpPr>
        <p:spPr>
          <a:xfrm>
            <a:off x="5520579" y="4914969"/>
            <a:ext cx="6156310" cy="685859"/>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Tree>
    <p:extLst>
      <p:ext uri="{BB962C8B-B14F-4D97-AF65-F5344CB8AC3E}">
        <p14:creationId xmlns:p14="http://schemas.microsoft.com/office/powerpoint/2010/main" val="328651916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ix point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300AE-DA2A-EE50-7FD5-B27F4FD014DC}"/>
              </a:ext>
            </a:extLst>
          </p:cNvPr>
          <p:cNvSpPr/>
          <p:nvPr userDrawn="1"/>
        </p:nvSpPr>
        <p:spPr>
          <a:xfrm>
            <a:off x="814557" y="2222992"/>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0" name="Rectangle 9">
            <a:extLst>
              <a:ext uri="{FF2B5EF4-FFF2-40B4-BE49-F238E27FC236}">
                <a16:creationId xmlns:a16="http://schemas.microsoft.com/office/drawing/2014/main" id="{080876E4-0CF0-8FCE-FFAB-4AAEF13D7EDF}"/>
              </a:ext>
            </a:extLst>
          </p:cNvPr>
          <p:cNvSpPr/>
          <p:nvPr userDrawn="1"/>
        </p:nvSpPr>
        <p:spPr>
          <a:xfrm>
            <a:off x="814557" y="3558216"/>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052AB288-F895-C711-5D46-3D631C0FCF81}"/>
              </a:ext>
            </a:extLst>
          </p:cNvPr>
          <p:cNvSpPr/>
          <p:nvPr userDrawn="1"/>
        </p:nvSpPr>
        <p:spPr>
          <a:xfrm>
            <a:off x="991269" y="2049023"/>
            <a:ext cx="765419" cy="78855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7" name="Rectangle 16">
            <a:extLst>
              <a:ext uri="{FF2B5EF4-FFF2-40B4-BE49-F238E27FC236}">
                <a16:creationId xmlns:a16="http://schemas.microsoft.com/office/drawing/2014/main" id="{438AA5A3-B928-D4E1-23B2-24018C6AC7D8}"/>
              </a:ext>
            </a:extLst>
          </p:cNvPr>
          <p:cNvSpPr/>
          <p:nvPr userDrawn="1"/>
        </p:nvSpPr>
        <p:spPr>
          <a:xfrm>
            <a:off x="991270" y="3401218"/>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8" name="Rectangle 17">
            <a:extLst>
              <a:ext uri="{FF2B5EF4-FFF2-40B4-BE49-F238E27FC236}">
                <a16:creationId xmlns:a16="http://schemas.microsoft.com/office/drawing/2014/main" id="{F5FFE906-4F19-DDCB-02D2-8D5F4368166D}"/>
              </a:ext>
            </a:extLst>
          </p:cNvPr>
          <p:cNvSpPr/>
          <p:nvPr userDrawn="1"/>
        </p:nvSpPr>
        <p:spPr>
          <a:xfrm>
            <a:off x="814556" y="4893440"/>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91F27DF9-4C1F-2007-22E2-10DE46A5CED1}"/>
              </a:ext>
            </a:extLst>
          </p:cNvPr>
          <p:cNvSpPr/>
          <p:nvPr userDrawn="1"/>
        </p:nvSpPr>
        <p:spPr>
          <a:xfrm>
            <a:off x="991269" y="4733866"/>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23" name="Rectangle 22">
            <a:extLst>
              <a:ext uri="{FF2B5EF4-FFF2-40B4-BE49-F238E27FC236}">
                <a16:creationId xmlns:a16="http://schemas.microsoft.com/office/drawing/2014/main" id="{360B642B-C832-01F1-B2C5-C0FA060F9BBA}"/>
              </a:ext>
            </a:extLst>
          </p:cNvPr>
          <p:cNvSpPr/>
          <p:nvPr userDrawn="1"/>
        </p:nvSpPr>
        <p:spPr>
          <a:xfrm>
            <a:off x="6223503" y="2222992"/>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4" name="Rectangle 23">
            <a:extLst>
              <a:ext uri="{FF2B5EF4-FFF2-40B4-BE49-F238E27FC236}">
                <a16:creationId xmlns:a16="http://schemas.microsoft.com/office/drawing/2014/main" id="{19299A4C-6C96-E6AB-8ACF-10C7C76985FA}"/>
              </a:ext>
            </a:extLst>
          </p:cNvPr>
          <p:cNvSpPr/>
          <p:nvPr userDrawn="1"/>
        </p:nvSpPr>
        <p:spPr>
          <a:xfrm>
            <a:off x="6223503" y="3558216"/>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FCE54376-64EB-DFE9-6400-0FC117E053E6}"/>
              </a:ext>
            </a:extLst>
          </p:cNvPr>
          <p:cNvSpPr/>
          <p:nvPr userDrawn="1"/>
        </p:nvSpPr>
        <p:spPr>
          <a:xfrm>
            <a:off x="6400215" y="2049023"/>
            <a:ext cx="765419" cy="7885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26" name="Rectangle 25">
            <a:extLst>
              <a:ext uri="{FF2B5EF4-FFF2-40B4-BE49-F238E27FC236}">
                <a16:creationId xmlns:a16="http://schemas.microsoft.com/office/drawing/2014/main" id="{5FC622A2-5C34-2F8C-490E-8CD39E29EC2C}"/>
              </a:ext>
            </a:extLst>
          </p:cNvPr>
          <p:cNvSpPr/>
          <p:nvPr userDrawn="1"/>
        </p:nvSpPr>
        <p:spPr>
          <a:xfrm>
            <a:off x="6400216" y="3401218"/>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27" name="Rectangle 26">
            <a:extLst>
              <a:ext uri="{FF2B5EF4-FFF2-40B4-BE49-F238E27FC236}">
                <a16:creationId xmlns:a16="http://schemas.microsoft.com/office/drawing/2014/main" id="{8D126E5A-C3FD-1E81-E69E-1DC585D3A13B}"/>
              </a:ext>
            </a:extLst>
          </p:cNvPr>
          <p:cNvSpPr/>
          <p:nvPr userDrawn="1"/>
        </p:nvSpPr>
        <p:spPr>
          <a:xfrm>
            <a:off x="6223502" y="4893440"/>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BEA397BA-BC8C-654C-9B85-345E20F00313}"/>
              </a:ext>
            </a:extLst>
          </p:cNvPr>
          <p:cNvSpPr/>
          <p:nvPr userDrawn="1"/>
        </p:nvSpPr>
        <p:spPr>
          <a:xfrm>
            <a:off x="6400215" y="4733866"/>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6</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Six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1849662" y="3617807"/>
            <a:ext cx="4087440" cy="881960"/>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849662" y="2322144"/>
            <a:ext cx="4087485" cy="842398"/>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1856693" y="4953000"/>
            <a:ext cx="4080407" cy="914370"/>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311651" y="2282582"/>
            <a:ext cx="4015172" cy="89376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7311650" y="3626932"/>
            <a:ext cx="4015173" cy="872835"/>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3" name="Text Placeholder 13">
            <a:extLst>
              <a:ext uri="{FF2B5EF4-FFF2-40B4-BE49-F238E27FC236}">
                <a16:creationId xmlns:a16="http://schemas.microsoft.com/office/drawing/2014/main" id="{B89C9103-F1AD-C497-856D-6AB1AAD9C3E8}"/>
              </a:ext>
            </a:extLst>
          </p:cNvPr>
          <p:cNvSpPr>
            <a:spLocks noGrp="1"/>
          </p:cNvSpPr>
          <p:nvPr>
            <p:ph type="body" sz="quarter" idx="19" hasCustomPrompt="1"/>
          </p:nvPr>
        </p:nvSpPr>
        <p:spPr>
          <a:xfrm>
            <a:off x="7297540" y="4994566"/>
            <a:ext cx="4015173" cy="872835"/>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FE8EF36C-84BC-198E-364F-F30BE58D04A2}"/>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7162C090-AFA1-2054-363E-778322097A5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D1909CDE-BEA0-E5CD-7DAD-F18CD192AD2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4DBAF33A-2E6B-6E89-E316-87A5208EF86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D20FDAC9-09B8-C953-9BBB-80FDB2D435E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BAEA8CEB-42F7-3563-8F00-9660D2EC0E0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CA888AD0-BAC5-CA0F-6061-345DCC842378}"/>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6182ECB7-0C56-7436-D956-6A36C0D58CC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7601753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ven point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300AE-DA2A-EE50-7FD5-B27F4FD014DC}"/>
              </a:ext>
            </a:extLst>
          </p:cNvPr>
          <p:cNvSpPr/>
          <p:nvPr userDrawn="1"/>
        </p:nvSpPr>
        <p:spPr>
          <a:xfrm>
            <a:off x="814557" y="2222992"/>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0" name="Rectangle 9">
            <a:extLst>
              <a:ext uri="{FF2B5EF4-FFF2-40B4-BE49-F238E27FC236}">
                <a16:creationId xmlns:a16="http://schemas.microsoft.com/office/drawing/2014/main" id="{080876E4-0CF0-8FCE-FFAB-4AAEF13D7EDF}"/>
              </a:ext>
            </a:extLst>
          </p:cNvPr>
          <p:cNvSpPr/>
          <p:nvPr userDrawn="1"/>
        </p:nvSpPr>
        <p:spPr>
          <a:xfrm>
            <a:off x="814557" y="3558216"/>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052AB288-F895-C711-5D46-3D631C0FCF81}"/>
              </a:ext>
            </a:extLst>
          </p:cNvPr>
          <p:cNvSpPr/>
          <p:nvPr userDrawn="1"/>
        </p:nvSpPr>
        <p:spPr>
          <a:xfrm>
            <a:off x="991269" y="2049023"/>
            <a:ext cx="765419" cy="78855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7" name="Rectangle 16">
            <a:extLst>
              <a:ext uri="{FF2B5EF4-FFF2-40B4-BE49-F238E27FC236}">
                <a16:creationId xmlns:a16="http://schemas.microsoft.com/office/drawing/2014/main" id="{438AA5A3-B928-D4E1-23B2-24018C6AC7D8}"/>
              </a:ext>
            </a:extLst>
          </p:cNvPr>
          <p:cNvSpPr/>
          <p:nvPr userDrawn="1"/>
        </p:nvSpPr>
        <p:spPr>
          <a:xfrm>
            <a:off x="991270" y="3401218"/>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8" name="Rectangle 17">
            <a:extLst>
              <a:ext uri="{FF2B5EF4-FFF2-40B4-BE49-F238E27FC236}">
                <a16:creationId xmlns:a16="http://schemas.microsoft.com/office/drawing/2014/main" id="{F5FFE906-4F19-DDCB-02D2-8D5F4368166D}"/>
              </a:ext>
            </a:extLst>
          </p:cNvPr>
          <p:cNvSpPr/>
          <p:nvPr userDrawn="1"/>
        </p:nvSpPr>
        <p:spPr>
          <a:xfrm>
            <a:off x="814556" y="4893440"/>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91F27DF9-4C1F-2007-22E2-10DE46A5CED1}"/>
              </a:ext>
            </a:extLst>
          </p:cNvPr>
          <p:cNvSpPr/>
          <p:nvPr userDrawn="1"/>
        </p:nvSpPr>
        <p:spPr>
          <a:xfrm>
            <a:off x="991269" y="4733866"/>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23" name="Rectangle 22">
            <a:extLst>
              <a:ext uri="{FF2B5EF4-FFF2-40B4-BE49-F238E27FC236}">
                <a16:creationId xmlns:a16="http://schemas.microsoft.com/office/drawing/2014/main" id="{360B642B-C832-01F1-B2C5-C0FA060F9BBA}"/>
              </a:ext>
            </a:extLst>
          </p:cNvPr>
          <p:cNvSpPr/>
          <p:nvPr userDrawn="1"/>
        </p:nvSpPr>
        <p:spPr>
          <a:xfrm>
            <a:off x="6223503" y="2222992"/>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4" name="Rectangle 23">
            <a:extLst>
              <a:ext uri="{FF2B5EF4-FFF2-40B4-BE49-F238E27FC236}">
                <a16:creationId xmlns:a16="http://schemas.microsoft.com/office/drawing/2014/main" id="{19299A4C-6C96-E6AB-8ACF-10C7C76985FA}"/>
              </a:ext>
            </a:extLst>
          </p:cNvPr>
          <p:cNvSpPr/>
          <p:nvPr userDrawn="1"/>
        </p:nvSpPr>
        <p:spPr>
          <a:xfrm>
            <a:off x="6223503" y="3558216"/>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FCE54376-64EB-DFE9-6400-0FC117E053E6}"/>
              </a:ext>
            </a:extLst>
          </p:cNvPr>
          <p:cNvSpPr/>
          <p:nvPr userDrawn="1"/>
        </p:nvSpPr>
        <p:spPr>
          <a:xfrm>
            <a:off x="6400215" y="2049023"/>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26" name="Rectangle 25">
            <a:extLst>
              <a:ext uri="{FF2B5EF4-FFF2-40B4-BE49-F238E27FC236}">
                <a16:creationId xmlns:a16="http://schemas.microsoft.com/office/drawing/2014/main" id="{5FC622A2-5C34-2F8C-490E-8CD39E29EC2C}"/>
              </a:ext>
            </a:extLst>
          </p:cNvPr>
          <p:cNvSpPr/>
          <p:nvPr userDrawn="1"/>
        </p:nvSpPr>
        <p:spPr>
          <a:xfrm>
            <a:off x="6400216" y="3401218"/>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6</a:t>
            </a:r>
          </a:p>
        </p:txBody>
      </p:sp>
      <p:sp>
        <p:nvSpPr>
          <p:cNvPr id="27" name="Rectangle 26">
            <a:extLst>
              <a:ext uri="{FF2B5EF4-FFF2-40B4-BE49-F238E27FC236}">
                <a16:creationId xmlns:a16="http://schemas.microsoft.com/office/drawing/2014/main" id="{8D126E5A-C3FD-1E81-E69E-1DC585D3A13B}"/>
              </a:ext>
            </a:extLst>
          </p:cNvPr>
          <p:cNvSpPr/>
          <p:nvPr userDrawn="1"/>
        </p:nvSpPr>
        <p:spPr>
          <a:xfrm>
            <a:off x="6223502" y="4893440"/>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BEA397BA-BC8C-654C-9B85-345E20F00313}"/>
              </a:ext>
            </a:extLst>
          </p:cNvPr>
          <p:cNvSpPr/>
          <p:nvPr userDrawn="1"/>
        </p:nvSpPr>
        <p:spPr>
          <a:xfrm>
            <a:off x="6400215" y="4733866"/>
            <a:ext cx="765419" cy="7885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7</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Seven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1849662" y="3617807"/>
            <a:ext cx="4087440" cy="881960"/>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849662" y="2322144"/>
            <a:ext cx="4087485" cy="842398"/>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1856693" y="4953000"/>
            <a:ext cx="4080407" cy="914370"/>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311651" y="2282582"/>
            <a:ext cx="4015172" cy="89376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7311650" y="3626932"/>
            <a:ext cx="4015173" cy="872835"/>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3" name="Text Placeholder 13">
            <a:extLst>
              <a:ext uri="{FF2B5EF4-FFF2-40B4-BE49-F238E27FC236}">
                <a16:creationId xmlns:a16="http://schemas.microsoft.com/office/drawing/2014/main" id="{B89C9103-F1AD-C497-856D-6AB1AAD9C3E8}"/>
              </a:ext>
            </a:extLst>
          </p:cNvPr>
          <p:cNvSpPr>
            <a:spLocks noGrp="1"/>
          </p:cNvSpPr>
          <p:nvPr>
            <p:ph type="body" sz="quarter" idx="19" hasCustomPrompt="1"/>
          </p:nvPr>
        </p:nvSpPr>
        <p:spPr>
          <a:xfrm>
            <a:off x="7297540" y="4994566"/>
            <a:ext cx="4015173" cy="872835"/>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4" name="Rectangle 3">
            <a:extLst>
              <a:ext uri="{FF2B5EF4-FFF2-40B4-BE49-F238E27FC236}">
                <a16:creationId xmlns:a16="http://schemas.microsoft.com/office/drawing/2014/main" id="{BD41C8D4-3DEF-AC4C-C9DF-6BC0ECE0A76F}"/>
              </a:ext>
            </a:extLst>
          </p:cNvPr>
          <p:cNvSpPr/>
          <p:nvPr userDrawn="1"/>
        </p:nvSpPr>
        <p:spPr>
          <a:xfrm>
            <a:off x="6223502" y="832058"/>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5" name="Rectangle 4">
            <a:extLst>
              <a:ext uri="{FF2B5EF4-FFF2-40B4-BE49-F238E27FC236}">
                <a16:creationId xmlns:a16="http://schemas.microsoft.com/office/drawing/2014/main" id="{65B552FE-2EC3-CC39-CB5D-6F69FCA32816}"/>
              </a:ext>
            </a:extLst>
          </p:cNvPr>
          <p:cNvSpPr/>
          <p:nvPr userDrawn="1"/>
        </p:nvSpPr>
        <p:spPr>
          <a:xfrm>
            <a:off x="6400214" y="658089"/>
            <a:ext cx="765419" cy="7885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6" name="Text Placeholder 13">
            <a:extLst>
              <a:ext uri="{FF2B5EF4-FFF2-40B4-BE49-F238E27FC236}">
                <a16:creationId xmlns:a16="http://schemas.microsoft.com/office/drawing/2014/main" id="{7EAA3751-B9E0-1F63-CBB5-04075FAC22A5}"/>
              </a:ext>
            </a:extLst>
          </p:cNvPr>
          <p:cNvSpPr>
            <a:spLocks noGrp="1"/>
          </p:cNvSpPr>
          <p:nvPr>
            <p:ph type="body" sz="quarter" idx="20" hasCustomPrompt="1"/>
          </p:nvPr>
        </p:nvSpPr>
        <p:spPr>
          <a:xfrm>
            <a:off x="7311650" y="891648"/>
            <a:ext cx="4015172" cy="89376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7" name="Group 6">
            <a:extLst>
              <a:ext uri="{FF2B5EF4-FFF2-40B4-BE49-F238E27FC236}">
                <a16:creationId xmlns:a16="http://schemas.microsoft.com/office/drawing/2014/main" id="{2DAD9D35-E99E-DAF7-2300-B1B1DF773AA0}"/>
              </a:ext>
            </a:extLst>
          </p:cNvPr>
          <p:cNvGrpSpPr/>
          <p:nvPr userDrawn="1"/>
        </p:nvGrpSpPr>
        <p:grpSpPr>
          <a:xfrm>
            <a:off x="10863102" y="309052"/>
            <a:ext cx="911847" cy="382707"/>
            <a:chOff x="7459170" y="481236"/>
            <a:chExt cx="2697427" cy="1132124"/>
          </a:xfrm>
        </p:grpSpPr>
        <p:sp>
          <p:nvSpPr>
            <p:cNvPr id="8" name="Freeform 9">
              <a:extLst>
                <a:ext uri="{FF2B5EF4-FFF2-40B4-BE49-F238E27FC236}">
                  <a16:creationId xmlns:a16="http://schemas.microsoft.com/office/drawing/2014/main" id="{576CD70B-A2D7-6DF6-C49F-225DBD63469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1">
              <a:extLst>
                <a:ext uri="{FF2B5EF4-FFF2-40B4-BE49-F238E27FC236}">
                  <a16:creationId xmlns:a16="http://schemas.microsoft.com/office/drawing/2014/main" id="{AE7111CB-C449-98A1-A61C-607A0D01C963}"/>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4">
              <a:extLst>
                <a:ext uri="{FF2B5EF4-FFF2-40B4-BE49-F238E27FC236}">
                  <a16:creationId xmlns:a16="http://schemas.microsoft.com/office/drawing/2014/main" id="{6A58A55F-A2F6-1C0E-CB59-5B447071A3B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8">
              <a:extLst>
                <a:ext uri="{FF2B5EF4-FFF2-40B4-BE49-F238E27FC236}">
                  <a16:creationId xmlns:a16="http://schemas.microsoft.com/office/drawing/2014/main" id="{DFCA8EC1-D85A-3462-2041-EE29FEE6D99A}"/>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19">
              <a:extLst>
                <a:ext uri="{FF2B5EF4-FFF2-40B4-BE49-F238E27FC236}">
                  <a16:creationId xmlns:a16="http://schemas.microsoft.com/office/drawing/2014/main" id="{03B56CF8-D1CE-7BBC-64EA-A4D57A55F1C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0" name="Freeform 20">
              <a:extLst>
                <a:ext uri="{FF2B5EF4-FFF2-40B4-BE49-F238E27FC236}">
                  <a16:creationId xmlns:a16="http://schemas.microsoft.com/office/drawing/2014/main" id="{BF946EC7-52B3-77FF-4D5E-A57A173C47D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1" name="Freeform 23">
              <a:extLst>
                <a:ext uri="{FF2B5EF4-FFF2-40B4-BE49-F238E27FC236}">
                  <a16:creationId xmlns:a16="http://schemas.microsoft.com/office/drawing/2014/main" id="{12BA66DC-658D-31A8-7F27-6409F373B00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25355847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ight point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300AE-DA2A-EE50-7FD5-B27F4FD014DC}"/>
              </a:ext>
            </a:extLst>
          </p:cNvPr>
          <p:cNvSpPr/>
          <p:nvPr userDrawn="1"/>
        </p:nvSpPr>
        <p:spPr>
          <a:xfrm>
            <a:off x="806289" y="1981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0" name="Rectangle 9">
            <a:extLst>
              <a:ext uri="{FF2B5EF4-FFF2-40B4-BE49-F238E27FC236}">
                <a16:creationId xmlns:a16="http://schemas.microsoft.com/office/drawing/2014/main" id="{080876E4-0CF0-8FCE-FFAB-4AAEF13D7EDF}"/>
              </a:ext>
            </a:extLst>
          </p:cNvPr>
          <p:cNvSpPr/>
          <p:nvPr userDrawn="1"/>
        </p:nvSpPr>
        <p:spPr>
          <a:xfrm>
            <a:off x="806289" y="2994548"/>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052AB288-F895-C711-5D46-3D631C0FCF81}"/>
              </a:ext>
            </a:extLst>
          </p:cNvPr>
          <p:cNvSpPr/>
          <p:nvPr userDrawn="1"/>
        </p:nvSpPr>
        <p:spPr>
          <a:xfrm>
            <a:off x="627288" y="2077910"/>
            <a:ext cx="765419" cy="66950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7" name="Rectangle 16">
            <a:extLst>
              <a:ext uri="{FF2B5EF4-FFF2-40B4-BE49-F238E27FC236}">
                <a16:creationId xmlns:a16="http://schemas.microsoft.com/office/drawing/2014/main" id="{438AA5A3-B928-D4E1-23B2-24018C6AC7D8}"/>
              </a:ext>
            </a:extLst>
          </p:cNvPr>
          <p:cNvSpPr/>
          <p:nvPr userDrawn="1"/>
        </p:nvSpPr>
        <p:spPr>
          <a:xfrm>
            <a:off x="600291" y="3072433"/>
            <a:ext cx="765419" cy="66950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8" name="Rectangle 17">
            <a:extLst>
              <a:ext uri="{FF2B5EF4-FFF2-40B4-BE49-F238E27FC236}">
                <a16:creationId xmlns:a16="http://schemas.microsoft.com/office/drawing/2014/main" id="{F5FFE906-4F19-DDCB-02D2-8D5F4368166D}"/>
              </a:ext>
            </a:extLst>
          </p:cNvPr>
          <p:cNvSpPr/>
          <p:nvPr userDrawn="1"/>
        </p:nvSpPr>
        <p:spPr>
          <a:xfrm>
            <a:off x="806288" y="3985148"/>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91F27DF9-4C1F-2007-22E2-10DE46A5CED1}"/>
              </a:ext>
            </a:extLst>
          </p:cNvPr>
          <p:cNvSpPr/>
          <p:nvPr userDrawn="1"/>
        </p:nvSpPr>
        <p:spPr>
          <a:xfrm>
            <a:off x="627289" y="4083860"/>
            <a:ext cx="765419" cy="669509"/>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23" name="Rectangle 22">
            <a:extLst>
              <a:ext uri="{FF2B5EF4-FFF2-40B4-BE49-F238E27FC236}">
                <a16:creationId xmlns:a16="http://schemas.microsoft.com/office/drawing/2014/main" id="{360B642B-C832-01F1-B2C5-C0FA060F9BBA}"/>
              </a:ext>
            </a:extLst>
          </p:cNvPr>
          <p:cNvSpPr/>
          <p:nvPr userDrawn="1"/>
        </p:nvSpPr>
        <p:spPr>
          <a:xfrm>
            <a:off x="6223503" y="2987331"/>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4" name="Rectangle 23">
            <a:extLst>
              <a:ext uri="{FF2B5EF4-FFF2-40B4-BE49-F238E27FC236}">
                <a16:creationId xmlns:a16="http://schemas.microsoft.com/office/drawing/2014/main" id="{19299A4C-6C96-E6AB-8ACF-10C7C76985FA}"/>
              </a:ext>
            </a:extLst>
          </p:cNvPr>
          <p:cNvSpPr/>
          <p:nvPr userDrawn="1"/>
        </p:nvSpPr>
        <p:spPr>
          <a:xfrm>
            <a:off x="6223503" y="3997598"/>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FCE54376-64EB-DFE9-6400-0FC117E053E6}"/>
              </a:ext>
            </a:extLst>
          </p:cNvPr>
          <p:cNvSpPr/>
          <p:nvPr userDrawn="1"/>
        </p:nvSpPr>
        <p:spPr>
          <a:xfrm>
            <a:off x="6132956" y="3076363"/>
            <a:ext cx="765419" cy="669509"/>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6</a:t>
            </a:r>
          </a:p>
        </p:txBody>
      </p:sp>
      <p:sp>
        <p:nvSpPr>
          <p:cNvPr id="26" name="Rectangle 25">
            <a:extLst>
              <a:ext uri="{FF2B5EF4-FFF2-40B4-BE49-F238E27FC236}">
                <a16:creationId xmlns:a16="http://schemas.microsoft.com/office/drawing/2014/main" id="{5FC622A2-5C34-2F8C-490E-8CD39E29EC2C}"/>
              </a:ext>
            </a:extLst>
          </p:cNvPr>
          <p:cNvSpPr/>
          <p:nvPr userDrawn="1"/>
        </p:nvSpPr>
        <p:spPr>
          <a:xfrm>
            <a:off x="6124930" y="4076419"/>
            <a:ext cx="765419" cy="66950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7</a:t>
            </a:r>
          </a:p>
        </p:txBody>
      </p:sp>
      <p:sp>
        <p:nvSpPr>
          <p:cNvPr id="27" name="Rectangle 26">
            <a:extLst>
              <a:ext uri="{FF2B5EF4-FFF2-40B4-BE49-F238E27FC236}">
                <a16:creationId xmlns:a16="http://schemas.microsoft.com/office/drawing/2014/main" id="{8D126E5A-C3FD-1E81-E69E-1DC585D3A13B}"/>
              </a:ext>
            </a:extLst>
          </p:cNvPr>
          <p:cNvSpPr/>
          <p:nvPr userDrawn="1"/>
        </p:nvSpPr>
        <p:spPr>
          <a:xfrm>
            <a:off x="6223502" y="5029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BEA397BA-BC8C-654C-9B85-345E20F00313}"/>
              </a:ext>
            </a:extLst>
          </p:cNvPr>
          <p:cNvSpPr/>
          <p:nvPr userDrawn="1"/>
        </p:nvSpPr>
        <p:spPr>
          <a:xfrm>
            <a:off x="6125454" y="5144848"/>
            <a:ext cx="765419" cy="66950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8</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Eight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1571708" y="3028741"/>
            <a:ext cx="4357126" cy="748815"/>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571706" y="2048982"/>
            <a:ext cx="4357174" cy="715226"/>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1579203" y="4024202"/>
            <a:ext cx="4349629" cy="776333"/>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086448" y="3023305"/>
            <a:ext cx="4240375" cy="758837"/>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7086448" y="4039539"/>
            <a:ext cx="4240376" cy="74106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3" name="Text Placeholder 13">
            <a:extLst>
              <a:ext uri="{FF2B5EF4-FFF2-40B4-BE49-F238E27FC236}">
                <a16:creationId xmlns:a16="http://schemas.microsoft.com/office/drawing/2014/main" id="{B89C9103-F1AD-C497-856D-6AB1AAD9C3E8}"/>
              </a:ext>
            </a:extLst>
          </p:cNvPr>
          <p:cNvSpPr>
            <a:spLocks noGrp="1"/>
          </p:cNvSpPr>
          <p:nvPr>
            <p:ph type="body" sz="quarter" idx="19" hasCustomPrompt="1"/>
          </p:nvPr>
        </p:nvSpPr>
        <p:spPr>
          <a:xfrm>
            <a:off x="7072338" y="5103551"/>
            <a:ext cx="4240376" cy="74106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4" name="Rectangle 3">
            <a:extLst>
              <a:ext uri="{FF2B5EF4-FFF2-40B4-BE49-F238E27FC236}">
                <a16:creationId xmlns:a16="http://schemas.microsoft.com/office/drawing/2014/main" id="{BD41C8D4-3DEF-AC4C-C9DF-6BC0ECE0A76F}"/>
              </a:ext>
            </a:extLst>
          </p:cNvPr>
          <p:cNvSpPr/>
          <p:nvPr userDrawn="1"/>
        </p:nvSpPr>
        <p:spPr>
          <a:xfrm>
            <a:off x="6223503" y="1981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5" name="Rectangle 4">
            <a:extLst>
              <a:ext uri="{FF2B5EF4-FFF2-40B4-BE49-F238E27FC236}">
                <a16:creationId xmlns:a16="http://schemas.microsoft.com/office/drawing/2014/main" id="{65B552FE-2EC3-CC39-CB5D-6F69FCA32816}"/>
              </a:ext>
            </a:extLst>
          </p:cNvPr>
          <p:cNvSpPr/>
          <p:nvPr userDrawn="1"/>
        </p:nvSpPr>
        <p:spPr>
          <a:xfrm>
            <a:off x="6132957" y="2067960"/>
            <a:ext cx="765419" cy="66950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6" name="Text Placeholder 13">
            <a:extLst>
              <a:ext uri="{FF2B5EF4-FFF2-40B4-BE49-F238E27FC236}">
                <a16:creationId xmlns:a16="http://schemas.microsoft.com/office/drawing/2014/main" id="{7EAA3751-B9E0-1F63-CBB5-04075FAC22A5}"/>
              </a:ext>
            </a:extLst>
          </p:cNvPr>
          <p:cNvSpPr>
            <a:spLocks noGrp="1"/>
          </p:cNvSpPr>
          <p:nvPr>
            <p:ph type="body" sz="quarter" idx="20" hasCustomPrompt="1"/>
          </p:nvPr>
        </p:nvSpPr>
        <p:spPr>
          <a:xfrm>
            <a:off x="7086448" y="2017174"/>
            <a:ext cx="4240375" cy="758837"/>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7" name="Rectangle 6">
            <a:extLst>
              <a:ext uri="{FF2B5EF4-FFF2-40B4-BE49-F238E27FC236}">
                <a16:creationId xmlns:a16="http://schemas.microsoft.com/office/drawing/2014/main" id="{ECB16B80-C336-C91C-9709-8FEA29DA0E7D}"/>
              </a:ext>
            </a:extLst>
          </p:cNvPr>
          <p:cNvSpPr/>
          <p:nvPr userDrawn="1"/>
        </p:nvSpPr>
        <p:spPr>
          <a:xfrm>
            <a:off x="768014" y="5005274"/>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8" name="Rectangle 7">
            <a:extLst>
              <a:ext uri="{FF2B5EF4-FFF2-40B4-BE49-F238E27FC236}">
                <a16:creationId xmlns:a16="http://schemas.microsoft.com/office/drawing/2014/main" id="{E820BEA7-7576-C802-9316-F443001B42FF}"/>
              </a:ext>
            </a:extLst>
          </p:cNvPr>
          <p:cNvSpPr/>
          <p:nvPr userDrawn="1"/>
        </p:nvSpPr>
        <p:spPr>
          <a:xfrm>
            <a:off x="627289" y="5092034"/>
            <a:ext cx="765419" cy="66950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11" name="Text Placeholder 13">
            <a:extLst>
              <a:ext uri="{FF2B5EF4-FFF2-40B4-BE49-F238E27FC236}">
                <a16:creationId xmlns:a16="http://schemas.microsoft.com/office/drawing/2014/main" id="{8DE5ED14-53B8-287D-A160-4E5BAAB61500}"/>
              </a:ext>
            </a:extLst>
          </p:cNvPr>
          <p:cNvSpPr>
            <a:spLocks noGrp="1"/>
          </p:cNvSpPr>
          <p:nvPr>
            <p:ph type="body" sz="quarter" idx="21" hasCustomPrompt="1"/>
          </p:nvPr>
        </p:nvSpPr>
        <p:spPr>
          <a:xfrm>
            <a:off x="1571706" y="5041248"/>
            <a:ext cx="4299628" cy="758837"/>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12" name="Group 11">
            <a:extLst>
              <a:ext uri="{FF2B5EF4-FFF2-40B4-BE49-F238E27FC236}">
                <a16:creationId xmlns:a16="http://schemas.microsoft.com/office/drawing/2014/main" id="{681E2C51-5620-BA24-0CAD-2462496E7CD0}"/>
              </a:ext>
            </a:extLst>
          </p:cNvPr>
          <p:cNvGrpSpPr/>
          <p:nvPr userDrawn="1"/>
        </p:nvGrpSpPr>
        <p:grpSpPr>
          <a:xfrm>
            <a:off x="10863102" y="309052"/>
            <a:ext cx="911847" cy="382707"/>
            <a:chOff x="7459170" y="481236"/>
            <a:chExt cx="2697427" cy="1132124"/>
          </a:xfrm>
        </p:grpSpPr>
        <p:sp>
          <p:nvSpPr>
            <p:cNvPr id="14" name="Freeform 9">
              <a:extLst>
                <a:ext uri="{FF2B5EF4-FFF2-40B4-BE49-F238E27FC236}">
                  <a16:creationId xmlns:a16="http://schemas.microsoft.com/office/drawing/2014/main" id="{591F2D88-4C41-B0BD-5B75-A7043DCAFCC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1" name="Freeform 11">
              <a:extLst>
                <a:ext uri="{FF2B5EF4-FFF2-40B4-BE49-F238E27FC236}">
                  <a16:creationId xmlns:a16="http://schemas.microsoft.com/office/drawing/2014/main" id="{1A2917E0-6775-4106-C86D-091BEAC1FC2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0" name="Freeform 14">
              <a:extLst>
                <a:ext uri="{FF2B5EF4-FFF2-40B4-BE49-F238E27FC236}">
                  <a16:creationId xmlns:a16="http://schemas.microsoft.com/office/drawing/2014/main" id="{C8D8F8DC-5E8F-294B-1040-A354F430C60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31" name="Freeform 18">
              <a:extLst>
                <a:ext uri="{FF2B5EF4-FFF2-40B4-BE49-F238E27FC236}">
                  <a16:creationId xmlns:a16="http://schemas.microsoft.com/office/drawing/2014/main" id="{B5559096-6B01-2C65-401D-B140D76B8C0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4" name="Freeform 19">
              <a:extLst>
                <a:ext uri="{FF2B5EF4-FFF2-40B4-BE49-F238E27FC236}">
                  <a16:creationId xmlns:a16="http://schemas.microsoft.com/office/drawing/2014/main" id="{F3E1436A-DC7D-BC5E-E292-E9942773844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5" name="Freeform 20">
              <a:extLst>
                <a:ext uri="{FF2B5EF4-FFF2-40B4-BE49-F238E27FC236}">
                  <a16:creationId xmlns:a16="http://schemas.microsoft.com/office/drawing/2014/main" id="{9109F6D6-9F0B-940E-3EFF-0F88783AC84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6" name="Freeform 23">
              <a:extLst>
                <a:ext uri="{FF2B5EF4-FFF2-40B4-BE49-F238E27FC236}">
                  <a16:creationId xmlns:a16="http://schemas.microsoft.com/office/drawing/2014/main" id="{2904DBF7-38A8-C0E0-9605-7D96621F23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49144378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point icon layou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userDrawn="1"/>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2896956"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7" name="Group 16">
            <a:extLst>
              <a:ext uri="{FF2B5EF4-FFF2-40B4-BE49-F238E27FC236}">
                <a16:creationId xmlns:a16="http://schemas.microsoft.com/office/drawing/2014/main" id="{957E97B0-A74B-82F4-6005-84FBD51EE67E}"/>
              </a:ext>
            </a:extLst>
          </p:cNvPr>
          <p:cNvGrpSpPr/>
          <p:nvPr userDrawn="1"/>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8345226"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0600"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 name="Picture Placeholder 4">
            <a:extLst>
              <a:ext uri="{FF2B5EF4-FFF2-40B4-BE49-F238E27FC236}">
                <a16:creationId xmlns:a16="http://schemas.microsoft.com/office/drawing/2014/main" id="{52A814C6-66D8-19FD-2FC6-E12146E14098}"/>
              </a:ext>
            </a:extLst>
          </p:cNvPr>
          <p:cNvSpPr>
            <a:spLocks noGrp="1"/>
          </p:cNvSpPr>
          <p:nvPr>
            <p:ph type="pic" sz="quarter" idx="16"/>
          </p:nvPr>
        </p:nvSpPr>
        <p:spPr>
          <a:xfrm>
            <a:off x="3048000" y="2133600"/>
            <a:ext cx="762000" cy="762000"/>
          </a:xfrm>
        </p:spPr>
        <p:txBody>
          <a:bodyPr/>
          <a:lstStyle/>
          <a:p>
            <a:r>
              <a:rPr lang="en-US"/>
              <a:t>Click icon to add picture</a:t>
            </a:r>
          </a:p>
        </p:txBody>
      </p:sp>
      <p:sp>
        <p:nvSpPr>
          <p:cNvPr id="6" name="Picture Placeholder 4">
            <a:extLst>
              <a:ext uri="{FF2B5EF4-FFF2-40B4-BE49-F238E27FC236}">
                <a16:creationId xmlns:a16="http://schemas.microsoft.com/office/drawing/2014/main" id="{DE9302CD-D48F-0F92-4AF1-DFCA38278D98}"/>
              </a:ext>
            </a:extLst>
          </p:cNvPr>
          <p:cNvSpPr>
            <a:spLocks noGrp="1"/>
          </p:cNvSpPr>
          <p:nvPr>
            <p:ph type="pic" sz="quarter" idx="17"/>
          </p:nvPr>
        </p:nvSpPr>
        <p:spPr>
          <a:xfrm>
            <a:off x="8491676" y="2133600"/>
            <a:ext cx="762000" cy="762000"/>
          </a:xfrm>
        </p:spPr>
        <p:txBody>
          <a:bodyPr/>
          <a:lstStyle/>
          <a:p>
            <a:r>
              <a:rPr lang="en-US"/>
              <a:t>Click icon to add picture</a:t>
            </a:r>
          </a:p>
        </p:txBody>
      </p:sp>
      <p:grpSp>
        <p:nvGrpSpPr>
          <p:cNvPr id="4" name="Group 3">
            <a:extLst>
              <a:ext uri="{FF2B5EF4-FFF2-40B4-BE49-F238E27FC236}">
                <a16:creationId xmlns:a16="http://schemas.microsoft.com/office/drawing/2014/main" id="{1F3E9FD1-975F-E69F-B199-C95DFEEE1269}"/>
              </a:ext>
            </a:extLst>
          </p:cNvPr>
          <p:cNvGrpSpPr/>
          <p:nvPr userDrawn="1"/>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6E433690-3D2C-A01E-E907-0A318C50FCE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7AD54B8B-0FC7-22A3-C59B-0463A729FF2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4">
              <a:extLst>
                <a:ext uri="{FF2B5EF4-FFF2-40B4-BE49-F238E27FC236}">
                  <a16:creationId xmlns:a16="http://schemas.microsoft.com/office/drawing/2014/main" id="{3748C0FA-E32D-192F-CAD3-0F318AAD5C66}"/>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8">
              <a:extLst>
                <a:ext uri="{FF2B5EF4-FFF2-40B4-BE49-F238E27FC236}">
                  <a16:creationId xmlns:a16="http://schemas.microsoft.com/office/drawing/2014/main" id="{EC7779F2-F6F4-1477-21C1-9D975646D620}"/>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9">
              <a:extLst>
                <a:ext uri="{FF2B5EF4-FFF2-40B4-BE49-F238E27FC236}">
                  <a16:creationId xmlns:a16="http://schemas.microsoft.com/office/drawing/2014/main" id="{CE2F52A1-C4D5-E8E2-D7B0-38662E12B76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35381351-185A-4FD0-5520-BED9A803954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3">
              <a:extLst>
                <a:ext uri="{FF2B5EF4-FFF2-40B4-BE49-F238E27FC236}">
                  <a16:creationId xmlns:a16="http://schemas.microsoft.com/office/drawing/2014/main" id="{F0B3656D-3E15-EA32-9D96-666AD2E9CB6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23823958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point icon layout 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userDrawn="1"/>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2896956"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7" name="Group 16">
            <a:extLst>
              <a:ext uri="{FF2B5EF4-FFF2-40B4-BE49-F238E27FC236}">
                <a16:creationId xmlns:a16="http://schemas.microsoft.com/office/drawing/2014/main" id="{957E97B0-A74B-82F4-6005-84FBD51EE67E}"/>
              </a:ext>
            </a:extLst>
          </p:cNvPr>
          <p:cNvGrpSpPr/>
          <p:nvPr userDrawn="1"/>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8345226"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0600" y="3133619"/>
            <a:ext cx="483206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5" name="Picture Placeholder 4">
            <a:extLst>
              <a:ext uri="{FF2B5EF4-FFF2-40B4-BE49-F238E27FC236}">
                <a16:creationId xmlns:a16="http://schemas.microsoft.com/office/drawing/2014/main" id="{52A814C6-66D8-19FD-2FC6-E12146E14098}"/>
              </a:ext>
            </a:extLst>
          </p:cNvPr>
          <p:cNvSpPr>
            <a:spLocks noGrp="1"/>
          </p:cNvSpPr>
          <p:nvPr>
            <p:ph type="pic" sz="quarter" idx="16"/>
          </p:nvPr>
        </p:nvSpPr>
        <p:spPr>
          <a:xfrm>
            <a:off x="3048000" y="2133600"/>
            <a:ext cx="762000" cy="762000"/>
          </a:xfrm>
        </p:spPr>
        <p:txBody>
          <a:bodyPr/>
          <a:lstStyle/>
          <a:p>
            <a:r>
              <a:rPr lang="en-US"/>
              <a:t>Click icon to add picture</a:t>
            </a:r>
          </a:p>
        </p:txBody>
      </p:sp>
      <p:sp>
        <p:nvSpPr>
          <p:cNvPr id="6" name="Picture Placeholder 4">
            <a:extLst>
              <a:ext uri="{FF2B5EF4-FFF2-40B4-BE49-F238E27FC236}">
                <a16:creationId xmlns:a16="http://schemas.microsoft.com/office/drawing/2014/main" id="{DE9302CD-D48F-0F92-4AF1-DFCA38278D98}"/>
              </a:ext>
            </a:extLst>
          </p:cNvPr>
          <p:cNvSpPr>
            <a:spLocks noGrp="1"/>
          </p:cNvSpPr>
          <p:nvPr>
            <p:ph type="pic" sz="quarter" idx="17"/>
          </p:nvPr>
        </p:nvSpPr>
        <p:spPr>
          <a:xfrm>
            <a:off x="8491676" y="2133600"/>
            <a:ext cx="762000" cy="762000"/>
          </a:xfrm>
        </p:spPr>
        <p:txBody>
          <a:bodyPr/>
          <a:lstStyle/>
          <a:p>
            <a:r>
              <a:rPr lang="en-US"/>
              <a:t>Click icon to add picture</a:t>
            </a:r>
          </a:p>
        </p:txBody>
      </p:sp>
      <p:grpSp>
        <p:nvGrpSpPr>
          <p:cNvPr id="4" name="Group 3">
            <a:extLst>
              <a:ext uri="{FF2B5EF4-FFF2-40B4-BE49-F238E27FC236}">
                <a16:creationId xmlns:a16="http://schemas.microsoft.com/office/drawing/2014/main" id="{1C1D145F-A93A-1DF9-2802-5D2FEAA06A23}"/>
              </a:ext>
            </a:extLst>
          </p:cNvPr>
          <p:cNvGrpSpPr/>
          <p:nvPr userDrawn="1"/>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DABF5E4C-C2B7-6FF0-6E33-915CB458972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8166F6ED-B718-EB5D-7993-92342A56BE6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4">
              <a:extLst>
                <a:ext uri="{FF2B5EF4-FFF2-40B4-BE49-F238E27FC236}">
                  <a16:creationId xmlns:a16="http://schemas.microsoft.com/office/drawing/2014/main" id="{D99D1DE0-1050-40B5-962D-4E68BA8B6BB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8">
              <a:extLst>
                <a:ext uri="{FF2B5EF4-FFF2-40B4-BE49-F238E27FC236}">
                  <a16:creationId xmlns:a16="http://schemas.microsoft.com/office/drawing/2014/main" id="{02FC67D5-DE2A-3D3E-6937-1ECC583D136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9">
              <a:extLst>
                <a:ext uri="{FF2B5EF4-FFF2-40B4-BE49-F238E27FC236}">
                  <a16:creationId xmlns:a16="http://schemas.microsoft.com/office/drawing/2014/main" id="{A32C4CE8-E5D5-2D3E-4509-BB3F9B6EA7B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C9068C72-FA71-1F9D-65C2-2187FED12CE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3">
              <a:extLst>
                <a:ext uri="{FF2B5EF4-FFF2-40B4-BE49-F238E27FC236}">
                  <a16:creationId xmlns:a16="http://schemas.microsoft.com/office/drawing/2014/main" id="{C0C0E603-87FE-409D-7A88-2DFC64200D9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0509964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Green">
    <p:bg>
      <p:bgPr>
        <a:solidFill>
          <a:srgbClr val="3F9C35"/>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C9F3E570-0A6A-CD8B-4A6C-0A0920D002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572"/>
          </a:xfrm>
          <a:prstGeom prst="rect">
            <a:avLst/>
          </a:prstGeom>
        </p:spPr>
      </p:pic>
      <p:sp>
        <p:nvSpPr>
          <p:cNvPr id="5" name="PoP">
            <a:extLst>
              <a:ext uri="{FF2B5EF4-FFF2-40B4-BE49-F238E27FC236}">
                <a16:creationId xmlns:a16="http://schemas.microsoft.com/office/drawing/2014/main" id="{4B5E4DB3-9D13-71C8-BC3C-01054E29F7D1}"/>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578502515"/>
      </p:ext>
    </p:extLst>
  </p:cSld>
  <p:clrMapOvr>
    <a:overrideClrMapping bg1="dk1" tx1="lt1" bg2="dk2" tx2="lt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hree point icon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986694"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5586633"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9187338"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0" name="Picture Placeholder 9">
            <a:extLst>
              <a:ext uri="{FF2B5EF4-FFF2-40B4-BE49-F238E27FC236}">
                <a16:creationId xmlns:a16="http://schemas.microsoft.com/office/drawing/2014/main" id="{0AB5EAD6-11DA-3280-0071-DFFE428A557B}"/>
              </a:ext>
            </a:extLst>
          </p:cNvPr>
          <p:cNvSpPr>
            <a:spLocks noGrp="1"/>
          </p:cNvSpPr>
          <p:nvPr>
            <p:ph type="pic" sz="quarter" idx="17"/>
          </p:nvPr>
        </p:nvSpPr>
        <p:spPr>
          <a:xfrm>
            <a:off x="2135294" y="2096520"/>
            <a:ext cx="836506" cy="835025"/>
          </a:xfrm>
        </p:spPr>
        <p:txBody>
          <a:bodyPr/>
          <a:lstStyle/>
          <a:p>
            <a:r>
              <a:rPr lang="en-US"/>
              <a:t>Click icon to add picture</a:t>
            </a:r>
          </a:p>
        </p:txBody>
      </p:sp>
      <p:sp>
        <p:nvSpPr>
          <p:cNvPr id="13" name="Picture Placeholder 9">
            <a:extLst>
              <a:ext uri="{FF2B5EF4-FFF2-40B4-BE49-F238E27FC236}">
                <a16:creationId xmlns:a16="http://schemas.microsoft.com/office/drawing/2014/main" id="{3D8C6829-204C-BF31-E2C2-47569C03D338}"/>
              </a:ext>
            </a:extLst>
          </p:cNvPr>
          <p:cNvSpPr>
            <a:spLocks noGrp="1"/>
          </p:cNvSpPr>
          <p:nvPr>
            <p:ph type="pic" sz="quarter" idx="18"/>
          </p:nvPr>
        </p:nvSpPr>
        <p:spPr>
          <a:xfrm>
            <a:off x="5687267" y="2056938"/>
            <a:ext cx="836506" cy="835025"/>
          </a:xfrm>
        </p:spPr>
        <p:txBody>
          <a:bodyPr/>
          <a:lstStyle/>
          <a:p>
            <a:r>
              <a:rPr lang="en-US"/>
              <a:t>Click icon to add picture</a:t>
            </a:r>
          </a:p>
        </p:txBody>
      </p:sp>
      <p:sp>
        <p:nvSpPr>
          <p:cNvPr id="17" name="Picture Placeholder 9">
            <a:extLst>
              <a:ext uri="{FF2B5EF4-FFF2-40B4-BE49-F238E27FC236}">
                <a16:creationId xmlns:a16="http://schemas.microsoft.com/office/drawing/2014/main" id="{B2D103C1-C734-BBFB-2809-CAA67B83AEDB}"/>
              </a:ext>
            </a:extLst>
          </p:cNvPr>
          <p:cNvSpPr>
            <a:spLocks noGrp="1"/>
          </p:cNvSpPr>
          <p:nvPr>
            <p:ph type="pic" sz="quarter" idx="19"/>
          </p:nvPr>
        </p:nvSpPr>
        <p:spPr>
          <a:xfrm>
            <a:off x="9296535" y="2096908"/>
            <a:ext cx="836506" cy="835025"/>
          </a:xfrm>
        </p:spPr>
        <p:txBody>
          <a:bodyPr/>
          <a:lstStyle/>
          <a:p>
            <a:r>
              <a:rPr lang="en-US"/>
              <a:t>Click icon to add picture</a:t>
            </a:r>
          </a:p>
        </p:txBody>
      </p:sp>
      <p:grpSp>
        <p:nvGrpSpPr>
          <p:cNvPr id="9" name="Group 8">
            <a:extLst>
              <a:ext uri="{FF2B5EF4-FFF2-40B4-BE49-F238E27FC236}">
                <a16:creationId xmlns:a16="http://schemas.microsoft.com/office/drawing/2014/main" id="{C062BFA5-0DDE-3908-C4C5-33244A25750D}"/>
              </a:ext>
            </a:extLst>
          </p:cNvPr>
          <p:cNvGrpSpPr/>
          <p:nvPr userDrawn="1"/>
        </p:nvGrpSpPr>
        <p:grpSpPr>
          <a:xfrm>
            <a:off x="10863102" y="309052"/>
            <a:ext cx="911847" cy="382707"/>
            <a:chOff x="7459170" y="481236"/>
            <a:chExt cx="2697427" cy="1132124"/>
          </a:xfrm>
        </p:grpSpPr>
        <p:sp>
          <p:nvSpPr>
            <p:cNvPr id="18" name="Freeform 9">
              <a:extLst>
                <a:ext uri="{FF2B5EF4-FFF2-40B4-BE49-F238E27FC236}">
                  <a16:creationId xmlns:a16="http://schemas.microsoft.com/office/drawing/2014/main" id="{7D0DB789-FF70-2471-31AA-206670957E0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9" name="Freeform 11">
              <a:extLst>
                <a:ext uri="{FF2B5EF4-FFF2-40B4-BE49-F238E27FC236}">
                  <a16:creationId xmlns:a16="http://schemas.microsoft.com/office/drawing/2014/main" id="{BB68C294-A72E-DE50-12A6-3C812819BAD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C7F3AE37-DB11-50C1-FB88-C39B528DE3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503E2F15-E534-8E33-0379-FDA81DC0741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9503D376-A7C9-7468-0DD3-E0C5CC2EAAD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39313726-5E4C-FFB3-4522-CDF2DAA7FE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F8130D5B-FA80-ED27-A5DA-940ED23FDC1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72568254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point icon layout 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986694"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5586633"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9187338"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0" name="Picture Placeholder 9">
            <a:extLst>
              <a:ext uri="{FF2B5EF4-FFF2-40B4-BE49-F238E27FC236}">
                <a16:creationId xmlns:a16="http://schemas.microsoft.com/office/drawing/2014/main" id="{0AB5EAD6-11DA-3280-0071-DFFE428A557B}"/>
              </a:ext>
            </a:extLst>
          </p:cNvPr>
          <p:cNvSpPr>
            <a:spLocks noGrp="1"/>
          </p:cNvSpPr>
          <p:nvPr>
            <p:ph type="pic" sz="quarter" idx="17"/>
          </p:nvPr>
        </p:nvSpPr>
        <p:spPr>
          <a:xfrm>
            <a:off x="2135294" y="2096520"/>
            <a:ext cx="836506" cy="835025"/>
          </a:xfrm>
        </p:spPr>
        <p:txBody>
          <a:bodyPr/>
          <a:lstStyle/>
          <a:p>
            <a:r>
              <a:rPr lang="en-US"/>
              <a:t>Click icon to add picture</a:t>
            </a:r>
          </a:p>
        </p:txBody>
      </p:sp>
      <p:sp>
        <p:nvSpPr>
          <p:cNvPr id="13" name="Picture Placeholder 9">
            <a:extLst>
              <a:ext uri="{FF2B5EF4-FFF2-40B4-BE49-F238E27FC236}">
                <a16:creationId xmlns:a16="http://schemas.microsoft.com/office/drawing/2014/main" id="{3D8C6829-204C-BF31-E2C2-47569C03D338}"/>
              </a:ext>
            </a:extLst>
          </p:cNvPr>
          <p:cNvSpPr>
            <a:spLocks noGrp="1"/>
          </p:cNvSpPr>
          <p:nvPr>
            <p:ph type="pic" sz="quarter" idx="18"/>
          </p:nvPr>
        </p:nvSpPr>
        <p:spPr>
          <a:xfrm>
            <a:off x="5687267" y="2056938"/>
            <a:ext cx="836506" cy="835025"/>
          </a:xfrm>
        </p:spPr>
        <p:txBody>
          <a:bodyPr/>
          <a:lstStyle/>
          <a:p>
            <a:r>
              <a:rPr lang="en-US"/>
              <a:t>Click icon to add picture</a:t>
            </a:r>
          </a:p>
        </p:txBody>
      </p:sp>
      <p:sp>
        <p:nvSpPr>
          <p:cNvPr id="17" name="Picture Placeholder 9">
            <a:extLst>
              <a:ext uri="{FF2B5EF4-FFF2-40B4-BE49-F238E27FC236}">
                <a16:creationId xmlns:a16="http://schemas.microsoft.com/office/drawing/2014/main" id="{B2D103C1-C734-BBFB-2809-CAA67B83AEDB}"/>
              </a:ext>
            </a:extLst>
          </p:cNvPr>
          <p:cNvSpPr>
            <a:spLocks noGrp="1"/>
          </p:cNvSpPr>
          <p:nvPr>
            <p:ph type="pic" sz="quarter" idx="19"/>
          </p:nvPr>
        </p:nvSpPr>
        <p:spPr>
          <a:xfrm>
            <a:off x="9296535" y="2096908"/>
            <a:ext cx="836506" cy="835025"/>
          </a:xfrm>
        </p:spPr>
        <p:txBody>
          <a:bodyPr/>
          <a:lstStyle/>
          <a:p>
            <a:r>
              <a:rPr lang="en-US"/>
              <a:t>Click icon to add picture</a:t>
            </a:r>
          </a:p>
        </p:txBody>
      </p:sp>
      <p:grpSp>
        <p:nvGrpSpPr>
          <p:cNvPr id="9" name="Group 8">
            <a:extLst>
              <a:ext uri="{FF2B5EF4-FFF2-40B4-BE49-F238E27FC236}">
                <a16:creationId xmlns:a16="http://schemas.microsoft.com/office/drawing/2014/main" id="{BC798401-38DF-1476-4A5E-CF8311768CA8}"/>
              </a:ext>
            </a:extLst>
          </p:cNvPr>
          <p:cNvGrpSpPr/>
          <p:nvPr userDrawn="1"/>
        </p:nvGrpSpPr>
        <p:grpSpPr>
          <a:xfrm>
            <a:off x="10863102" y="309052"/>
            <a:ext cx="911847" cy="382707"/>
            <a:chOff x="7459170" y="481236"/>
            <a:chExt cx="2697427" cy="1132124"/>
          </a:xfrm>
        </p:grpSpPr>
        <p:sp>
          <p:nvSpPr>
            <p:cNvPr id="18" name="Freeform 9">
              <a:extLst>
                <a:ext uri="{FF2B5EF4-FFF2-40B4-BE49-F238E27FC236}">
                  <a16:creationId xmlns:a16="http://schemas.microsoft.com/office/drawing/2014/main" id="{561E51DE-7AC5-E560-58C5-4D8080BD3A4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9" name="Freeform 11">
              <a:extLst>
                <a:ext uri="{FF2B5EF4-FFF2-40B4-BE49-F238E27FC236}">
                  <a16:creationId xmlns:a16="http://schemas.microsoft.com/office/drawing/2014/main" id="{56632700-E8A5-7CEB-8721-747C654B69E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68B3F764-54FC-C66E-A34B-44908CBCDFA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2C4AE99E-492A-9473-DBA9-F7710777D7A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0600117F-530C-7C09-DE99-C8DF10AA17A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C40C7517-BE5D-356E-0006-352CEC16B9F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F0D40DB4-539F-2DEB-78D2-A65A960ADD1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36575349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our point icon layou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4904191-EEB5-9F85-6970-0CA5975AAF81}"/>
              </a:ext>
            </a:extLst>
          </p:cNvPr>
          <p:cNvGrpSpPr/>
          <p:nvPr userDrawn="1"/>
        </p:nvGrpSpPr>
        <p:grpSpPr>
          <a:xfrm>
            <a:off x="812746" y="1818300"/>
            <a:ext cx="2519363" cy="3879226"/>
            <a:chOff x="812746" y="1818300"/>
            <a:chExt cx="2519363" cy="3879226"/>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2F6075DC-AC8B-A902-F0DF-581ADB159B21}"/>
                </a:ext>
              </a:extLst>
            </p:cNvPr>
            <p:cNvSpPr/>
            <p:nvPr/>
          </p:nvSpPr>
          <p:spPr>
            <a:xfrm>
              <a:off x="1556941" y="1818300"/>
              <a:ext cx="983979" cy="98397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7" name="Group 16">
            <a:extLst>
              <a:ext uri="{FF2B5EF4-FFF2-40B4-BE49-F238E27FC236}">
                <a16:creationId xmlns:a16="http://schemas.microsoft.com/office/drawing/2014/main" id="{1AFB3616-1CDC-02C3-AB33-E6E089D1287B}"/>
              </a:ext>
            </a:extLst>
          </p:cNvPr>
          <p:cNvGrpSpPr/>
          <p:nvPr userDrawn="1"/>
        </p:nvGrpSpPr>
        <p:grpSpPr>
          <a:xfrm>
            <a:off x="3514895" y="1818301"/>
            <a:ext cx="2519364" cy="3879225"/>
            <a:chOff x="3514895" y="1818301"/>
            <a:chExt cx="2519364" cy="3879225"/>
          </a:xfrm>
        </p:grpSpPr>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2FD286CE-CC53-E808-0E79-A3CCA3682696}"/>
                </a:ext>
              </a:extLst>
            </p:cNvPr>
            <p:cNvSpPr/>
            <p:nvPr/>
          </p:nvSpPr>
          <p:spPr>
            <a:xfrm>
              <a:off x="4264669" y="1818301"/>
              <a:ext cx="983978" cy="98397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23" name="Group 22">
            <a:extLst>
              <a:ext uri="{FF2B5EF4-FFF2-40B4-BE49-F238E27FC236}">
                <a16:creationId xmlns:a16="http://schemas.microsoft.com/office/drawing/2014/main" id="{29A1CD70-9347-46EA-16C2-D34CFEC99667}"/>
              </a:ext>
            </a:extLst>
          </p:cNvPr>
          <p:cNvGrpSpPr/>
          <p:nvPr userDrawn="1"/>
        </p:nvGrpSpPr>
        <p:grpSpPr>
          <a:xfrm>
            <a:off x="6213646" y="1818301"/>
            <a:ext cx="2519363" cy="3879227"/>
            <a:chOff x="6213646" y="1818301"/>
            <a:chExt cx="2519363" cy="3879227"/>
          </a:xfrm>
        </p:grpSpPr>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21D66ACE-32E7-B65B-9076-7C3122A8AC31}"/>
                </a:ext>
              </a:extLst>
            </p:cNvPr>
            <p:cNvSpPr/>
            <p:nvPr/>
          </p:nvSpPr>
          <p:spPr>
            <a:xfrm>
              <a:off x="6978577" y="1818301"/>
              <a:ext cx="983978" cy="98397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26" name="Group 25">
            <a:extLst>
              <a:ext uri="{FF2B5EF4-FFF2-40B4-BE49-F238E27FC236}">
                <a16:creationId xmlns:a16="http://schemas.microsoft.com/office/drawing/2014/main" id="{EAA38804-C885-A3E4-6A2B-69EA8B5424DF}"/>
              </a:ext>
            </a:extLst>
          </p:cNvPr>
          <p:cNvGrpSpPr/>
          <p:nvPr userDrawn="1"/>
        </p:nvGrpSpPr>
        <p:grpSpPr>
          <a:xfrm>
            <a:off x="8915569" y="1818302"/>
            <a:ext cx="2519364" cy="3879226"/>
            <a:chOff x="8915569" y="1818302"/>
            <a:chExt cx="2519364" cy="3879226"/>
          </a:xfrm>
        </p:grpSpPr>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FA3EB875-A7EF-3680-1B2A-75E3978D4E98}"/>
                </a:ext>
              </a:extLst>
            </p:cNvPr>
            <p:cNvSpPr/>
            <p:nvPr/>
          </p:nvSpPr>
          <p:spPr>
            <a:xfrm>
              <a:off x="9725749" y="1818302"/>
              <a:ext cx="983977" cy="98397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708703" y="2965295"/>
            <a:ext cx="2158698"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6086" y="2945267"/>
            <a:ext cx="2158094" cy="2571296"/>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6394975" y="2965294"/>
            <a:ext cx="2215625"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9093725" y="2977097"/>
            <a:ext cx="2215625"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 name="Picture Placeholder 4">
            <a:extLst>
              <a:ext uri="{FF2B5EF4-FFF2-40B4-BE49-F238E27FC236}">
                <a16:creationId xmlns:a16="http://schemas.microsoft.com/office/drawing/2014/main" id="{D06CF335-B8E4-96EC-3388-9B33A5E7C66C}"/>
              </a:ext>
            </a:extLst>
          </p:cNvPr>
          <p:cNvSpPr>
            <a:spLocks noGrp="1"/>
          </p:cNvSpPr>
          <p:nvPr>
            <p:ph type="pic" sz="quarter" idx="18"/>
          </p:nvPr>
        </p:nvSpPr>
        <p:spPr>
          <a:xfrm>
            <a:off x="1641509" y="1880870"/>
            <a:ext cx="858837" cy="858838"/>
          </a:xfrm>
        </p:spPr>
        <p:txBody>
          <a:bodyPr/>
          <a:lstStyle/>
          <a:p>
            <a:r>
              <a:rPr lang="en-US"/>
              <a:t>Click icon to add picture</a:t>
            </a:r>
          </a:p>
        </p:txBody>
      </p:sp>
      <p:sp>
        <p:nvSpPr>
          <p:cNvPr id="6" name="Picture Placeholder 4">
            <a:extLst>
              <a:ext uri="{FF2B5EF4-FFF2-40B4-BE49-F238E27FC236}">
                <a16:creationId xmlns:a16="http://schemas.microsoft.com/office/drawing/2014/main" id="{5A84F4C9-EFB8-67D5-A7AA-4CF8AA19C4FC}"/>
              </a:ext>
            </a:extLst>
          </p:cNvPr>
          <p:cNvSpPr>
            <a:spLocks noGrp="1"/>
          </p:cNvSpPr>
          <p:nvPr>
            <p:ph type="pic" sz="quarter" idx="19"/>
          </p:nvPr>
        </p:nvSpPr>
        <p:spPr>
          <a:xfrm>
            <a:off x="4322995" y="1880870"/>
            <a:ext cx="858837" cy="858838"/>
          </a:xfrm>
        </p:spPr>
        <p:txBody>
          <a:bodyPr/>
          <a:lstStyle/>
          <a:p>
            <a:r>
              <a:rPr lang="en-US"/>
              <a:t>Click icon to add picture</a:t>
            </a:r>
          </a:p>
        </p:txBody>
      </p:sp>
      <p:sp>
        <p:nvSpPr>
          <p:cNvPr id="7" name="Picture Placeholder 4">
            <a:extLst>
              <a:ext uri="{FF2B5EF4-FFF2-40B4-BE49-F238E27FC236}">
                <a16:creationId xmlns:a16="http://schemas.microsoft.com/office/drawing/2014/main" id="{394A667C-0779-D13A-4578-75BDE726C107}"/>
              </a:ext>
            </a:extLst>
          </p:cNvPr>
          <p:cNvSpPr>
            <a:spLocks noGrp="1"/>
          </p:cNvSpPr>
          <p:nvPr>
            <p:ph type="pic" sz="quarter" idx="20"/>
          </p:nvPr>
        </p:nvSpPr>
        <p:spPr>
          <a:xfrm>
            <a:off x="7044873" y="1880870"/>
            <a:ext cx="858837" cy="858838"/>
          </a:xfrm>
        </p:spPr>
        <p:txBody>
          <a:bodyPr/>
          <a:lstStyle/>
          <a:p>
            <a:r>
              <a:rPr lang="en-US"/>
              <a:t>Click icon to add picture</a:t>
            </a:r>
          </a:p>
        </p:txBody>
      </p:sp>
      <p:sp>
        <p:nvSpPr>
          <p:cNvPr id="8" name="Picture Placeholder 4">
            <a:extLst>
              <a:ext uri="{FF2B5EF4-FFF2-40B4-BE49-F238E27FC236}">
                <a16:creationId xmlns:a16="http://schemas.microsoft.com/office/drawing/2014/main" id="{8DC814A8-FC8E-C63D-F839-856EB04FDE1B}"/>
              </a:ext>
            </a:extLst>
          </p:cNvPr>
          <p:cNvSpPr>
            <a:spLocks noGrp="1"/>
          </p:cNvSpPr>
          <p:nvPr>
            <p:ph type="pic" sz="quarter" idx="21"/>
          </p:nvPr>
        </p:nvSpPr>
        <p:spPr>
          <a:xfrm>
            <a:off x="9788318" y="1876082"/>
            <a:ext cx="858837" cy="858838"/>
          </a:xfrm>
        </p:spPr>
        <p:txBody>
          <a:bodyPr/>
          <a:lstStyle/>
          <a:p>
            <a:r>
              <a:rPr lang="en-US"/>
              <a:t>Click icon to add picture</a:t>
            </a:r>
          </a:p>
        </p:txBody>
      </p:sp>
      <p:grpSp>
        <p:nvGrpSpPr>
          <p:cNvPr id="4" name="Group 3">
            <a:extLst>
              <a:ext uri="{FF2B5EF4-FFF2-40B4-BE49-F238E27FC236}">
                <a16:creationId xmlns:a16="http://schemas.microsoft.com/office/drawing/2014/main" id="{A1B216A9-A80D-285D-8DC2-41A92C9E2920}"/>
              </a:ext>
            </a:extLst>
          </p:cNvPr>
          <p:cNvGrpSpPr/>
          <p:nvPr userDrawn="1"/>
        </p:nvGrpSpPr>
        <p:grpSpPr>
          <a:xfrm>
            <a:off x="10863102" y="309052"/>
            <a:ext cx="911847" cy="382707"/>
            <a:chOff x="7459170" y="481236"/>
            <a:chExt cx="2697427" cy="1132124"/>
          </a:xfrm>
        </p:grpSpPr>
        <p:sp>
          <p:nvSpPr>
            <p:cNvPr id="11" name="Freeform 9">
              <a:extLst>
                <a:ext uri="{FF2B5EF4-FFF2-40B4-BE49-F238E27FC236}">
                  <a16:creationId xmlns:a16="http://schemas.microsoft.com/office/drawing/2014/main" id="{1A802BA6-0995-F129-EC85-38A5045EFEF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00CCCB6-53DB-D488-F58C-DC392567713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4">
              <a:extLst>
                <a:ext uri="{FF2B5EF4-FFF2-40B4-BE49-F238E27FC236}">
                  <a16:creationId xmlns:a16="http://schemas.microsoft.com/office/drawing/2014/main" id="{A8077FC1-F78E-79A9-2A46-61D9A0953A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1" name="Freeform 18">
              <a:extLst>
                <a:ext uri="{FF2B5EF4-FFF2-40B4-BE49-F238E27FC236}">
                  <a16:creationId xmlns:a16="http://schemas.microsoft.com/office/drawing/2014/main" id="{E3A955D2-157B-76F8-3FAF-3C75B99C737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0" name="Freeform 19">
              <a:extLst>
                <a:ext uri="{FF2B5EF4-FFF2-40B4-BE49-F238E27FC236}">
                  <a16:creationId xmlns:a16="http://schemas.microsoft.com/office/drawing/2014/main" id="{02500924-F74E-0F7A-D34D-02F9115B31F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1" name="Freeform 20">
              <a:extLst>
                <a:ext uri="{FF2B5EF4-FFF2-40B4-BE49-F238E27FC236}">
                  <a16:creationId xmlns:a16="http://schemas.microsoft.com/office/drawing/2014/main" id="{B006E203-4ABE-2D29-4DC6-8B8BA72F06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2" name="Freeform 23">
              <a:extLst>
                <a:ext uri="{FF2B5EF4-FFF2-40B4-BE49-F238E27FC236}">
                  <a16:creationId xmlns:a16="http://schemas.microsoft.com/office/drawing/2014/main" id="{2DCB079F-4D58-1E05-A938-9D6A0F40A8B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56975592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ive point icon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29EC14-E5A6-9D6A-7FF4-17664D976727}"/>
              </a:ext>
            </a:extLst>
          </p:cNvPr>
          <p:cNvGrpSpPr/>
          <p:nvPr userDrawn="1"/>
        </p:nvGrpSpPr>
        <p:grpSpPr>
          <a:xfrm>
            <a:off x="814558" y="2344613"/>
            <a:ext cx="10621792" cy="3336708"/>
            <a:chOff x="814558" y="2344613"/>
            <a:chExt cx="13317540" cy="2508611"/>
          </a:xfrm>
          <a:solidFill>
            <a:schemeClr val="tx1"/>
          </a:solidFill>
        </p:grpSpPr>
        <p:sp>
          <p:nvSpPr>
            <p:cNvPr id="5" name="Rectangle 4">
              <a:extLst>
                <a:ext uri="{FF2B5EF4-FFF2-40B4-BE49-F238E27FC236}">
                  <a16:creationId xmlns:a16="http://schemas.microsoft.com/office/drawing/2014/main" id="{87CE835E-3AC6-A77D-D58F-1B5820EDFF1D}"/>
                </a:ext>
              </a:extLst>
            </p:cNvPr>
            <p:cNvSpPr/>
            <p:nvPr/>
          </p:nvSpPr>
          <p:spPr>
            <a:xfrm>
              <a:off x="814558" y="2364195"/>
              <a:ext cx="2519363"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A1DF2854-AA0B-BB73-3C6E-7362B18049CD}"/>
                </a:ext>
              </a:extLst>
            </p:cNvPr>
            <p:cNvSpPr/>
            <p:nvPr/>
          </p:nvSpPr>
          <p:spPr>
            <a:xfrm>
              <a:off x="3514894" y="2354209"/>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7" name="Rectangle 6">
              <a:extLst>
                <a:ext uri="{FF2B5EF4-FFF2-40B4-BE49-F238E27FC236}">
                  <a16:creationId xmlns:a16="http://schemas.microsoft.com/office/drawing/2014/main" id="{28DC8BF6-4102-3CA3-926F-390EADD69955}"/>
                </a:ext>
              </a:extLst>
            </p:cNvPr>
            <p:cNvSpPr/>
            <p:nvPr/>
          </p:nvSpPr>
          <p:spPr>
            <a:xfrm>
              <a:off x="6213646" y="2354211"/>
              <a:ext cx="2519363"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p>
            <a:p>
              <a:endParaRPr lang="en-GB" sz="1400">
                <a:solidFill>
                  <a:schemeClr val="bg1"/>
                </a:solidFill>
              </a:endParaRPr>
            </a:p>
          </p:txBody>
        </p:sp>
        <p:sp>
          <p:nvSpPr>
            <p:cNvPr id="8" name="Rectangle 7">
              <a:extLst>
                <a:ext uri="{FF2B5EF4-FFF2-40B4-BE49-F238E27FC236}">
                  <a16:creationId xmlns:a16="http://schemas.microsoft.com/office/drawing/2014/main" id="{4A8C1BF7-DF0A-D533-BCF5-22463ABE13DD}"/>
                </a:ext>
              </a:extLst>
            </p:cNvPr>
            <p:cNvSpPr/>
            <p:nvPr/>
          </p:nvSpPr>
          <p:spPr>
            <a:xfrm>
              <a:off x="8915569" y="2354211"/>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3B63A5ED-6858-828D-7742-72C89BEEDA94}"/>
                </a:ext>
              </a:extLst>
            </p:cNvPr>
            <p:cNvSpPr/>
            <p:nvPr/>
          </p:nvSpPr>
          <p:spPr>
            <a:xfrm>
              <a:off x="11612734" y="2344613"/>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grpSp>
      <p:sp>
        <p:nvSpPr>
          <p:cNvPr id="12" name="Rectangle 11">
            <a:extLst>
              <a:ext uri="{FF2B5EF4-FFF2-40B4-BE49-F238E27FC236}">
                <a16:creationId xmlns:a16="http://schemas.microsoft.com/office/drawing/2014/main" id="{EC0DA285-F6A1-1863-3D78-3C07B12B8EA0}"/>
              </a:ext>
            </a:extLst>
          </p:cNvPr>
          <p:cNvSpPr/>
          <p:nvPr userDrawn="1"/>
        </p:nvSpPr>
        <p:spPr>
          <a:xfrm>
            <a:off x="1397512" y="2012612"/>
            <a:ext cx="878622" cy="87862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14" name="Rectangle 13">
            <a:extLst>
              <a:ext uri="{FF2B5EF4-FFF2-40B4-BE49-F238E27FC236}">
                <a16:creationId xmlns:a16="http://schemas.microsoft.com/office/drawing/2014/main" id="{76198D3D-D4F3-C5AA-2579-39291F1DC68A}"/>
              </a:ext>
            </a:extLst>
          </p:cNvPr>
          <p:cNvSpPr/>
          <p:nvPr userDrawn="1"/>
        </p:nvSpPr>
        <p:spPr>
          <a:xfrm>
            <a:off x="3513226" y="2012612"/>
            <a:ext cx="878622" cy="87862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21" name="Rectangle 20">
            <a:extLst>
              <a:ext uri="{FF2B5EF4-FFF2-40B4-BE49-F238E27FC236}">
                <a16:creationId xmlns:a16="http://schemas.microsoft.com/office/drawing/2014/main" id="{13FD2861-33BB-D001-9E95-0A47ACA54A69}"/>
              </a:ext>
            </a:extLst>
          </p:cNvPr>
          <p:cNvSpPr/>
          <p:nvPr userDrawn="1"/>
        </p:nvSpPr>
        <p:spPr>
          <a:xfrm>
            <a:off x="5653347" y="2012612"/>
            <a:ext cx="885305" cy="88530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30" name="Rectangle 29">
            <a:extLst>
              <a:ext uri="{FF2B5EF4-FFF2-40B4-BE49-F238E27FC236}">
                <a16:creationId xmlns:a16="http://schemas.microsoft.com/office/drawing/2014/main" id="{F10E4388-9B27-B5EE-E908-CA8CA556F9C8}"/>
              </a:ext>
            </a:extLst>
          </p:cNvPr>
          <p:cNvSpPr/>
          <p:nvPr userDrawn="1"/>
        </p:nvSpPr>
        <p:spPr>
          <a:xfrm>
            <a:off x="7835901" y="2005928"/>
            <a:ext cx="885306" cy="88530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31" name="Rectangle 30">
            <a:extLst>
              <a:ext uri="{FF2B5EF4-FFF2-40B4-BE49-F238E27FC236}">
                <a16:creationId xmlns:a16="http://schemas.microsoft.com/office/drawing/2014/main" id="{01364A24-B640-D439-8636-E6ED59C613B3}"/>
              </a:ext>
            </a:extLst>
          </p:cNvPr>
          <p:cNvSpPr/>
          <p:nvPr userDrawn="1"/>
        </p:nvSpPr>
        <p:spPr>
          <a:xfrm>
            <a:off x="10042445" y="2005927"/>
            <a:ext cx="885307" cy="88530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ive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153824" y="2998694"/>
            <a:ext cx="1682658"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5730" y="2978666"/>
            <a:ext cx="1682187" cy="2571296"/>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5261937" y="2998693"/>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452036" y="3010496"/>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9599792" y="3010496"/>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0" name="Picture Placeholder 9">
            <a:extLst>
              <a:ext uri="{FF2B5EF4-FFF2-40B4-BE49-F238E27FC236}">
                <a16:creationId xmlns:a16="http://schemas.microsoft.com/office/drawing/2014/main" id="{AC69A7CA-7CC8-A227-ACCF-E624E0326E2D}"/>
              </a:ext>
            </a:extLst>
          </p:cNvPr>
          <p:cNvSpPr>
            <a:spLocks noGrp="1"/>
          </p:cNvSpPr>
          <p:nvPr>
            <p:ph type="pic" sz="quarter" idx="19"/>
          </p:nvPr>
        </p:nvSpPr>
        <p:spPr>
          <a:xfrm>
            <a:off x="1471698" y="2090139"/>
            <a:ext cx="730250" cy="730250"/>
          </a:xfrm>
        </p:spPr>
        <p:txBody>
          <a:bodyPr/>
          <a:lstStyle/>
          <a:p>
            <a:r>
              <a:rPr lang="en-US"/>
              <a:t>Click icon to add picture</a:t>
            </a:r>
          </a:p>
        </p:txBody>
      </p:sp>
      <p:sp>
        <p:nvSpPr>
          <p:cNvPr id="13" name="Picture Placeholder 9">
            <a:extLst>
              <a:ext uri="{FF2B5EF4-FFF2-40B4-BE49-F238E27FC236}">
                <a16:creationId xmlns:a16="http://schemas.microsoft.com/office/drawing/2014/main" id="{DC3A30E9-A88D-6E1B-9655-49C6958CADC5}"/>
              </a:ext>
            </a:extLst>
          </p:cNvPr>
          <p:cNvSpPr>
            <a:spLocks noGrp="1"/>
          </p:cNvSpPr>
          <p:nvPr>
            <p:ph type="pic" sz="quarter" idx="20"/>
          </p:nvPr>
        </p:nvSpPr>
        <p:spPr>
          <a:xfrm>
            <a:off x="3594741" y="2105970"/>
            <a:ext cx="730250" cy="730250"/>
          </a:xfrm>
        </p:spPr>
        <p:txBody>
          <a:bodyPr/>
          <a:lstStyle/>
          <a:p>
            <a:r>
              <a:rPr lang="en-US"/>
              <a:t>Click icon to add picture</a:t>
            </a:r>
          </a:p>
        </p:txBody>
      </p:sp>
      <p:sp>
        <p:nvSpPr>
          <p:cNvPr id="17" name="Picture Placeholder 9">
            <a:extLst>
              <a:ext uri="{FF2B5EF4-FFF2-40B4-BE49-F238E27FC236}">
                <a16:creationId xmlns:a16="http://schemas.microsoft.com/office/drawing/2014/main" id="{70F12680-A5EB-F103-1C02-AAA1327447EB}"/>
              </a:ext>
            </a:extLst>
          </p:cNvPr>
          <p:cNvSpPr>
            <a:spLocks noGrp="1"/>
          </p:cNvSpPr>
          <p:nvPr>
            <p:ph type="pic" sz="quarter" idx="21"/>
          </p:nvPr>
        </p:nvSpPr>
        <p:spPr>
          <a:xfrm>
            <a:off x="5725247" y="2105970"/>
            <a:ext cx="730250" cy="730250"/>
          </a:xfrm>
        </p:spPr>
        <p:txBody>
          <a:bodyPr/>
          <a:lstStyle/>
          <a:p>
            <a:r>
              <a:rPr lang="en-US"/>
              <a:t>Click icon to add picture</a:t>
            </a:r>
          </a:p>
        </p:txBody>
      </p:sp>
      <p:sp>
        <p:nvSpPr>
          <p:cNvPr id="18" name="Picture Placeholder 9">
            <a:extLst>
              <a:ext uri="{FF2B5EF4-FFF2-40B4-BE49-F238E27FC236}">
                <a16:creationId xmlns:a16="http://schemas.microsoft.com/office/drawing/2014/main" id="{CE85B955-8E1C-ADEC-3D54-6A605EF33A12}"/>
              </a:ext>
            </a:extLst>
          </p:cNvPr>
          <p:cNvSpPr>
            <a:spLocks noGrp="1"/>
          </p:cNvSpPr>
          <p:nvPr>
            <p:ph type="pic" sz="quarter" idx="22"/>
          </p:nvPr>
        </p:nvSpPr>
        <p:spPr>
          <a:xfrm>
            <a:off x="7912870" y="2083455"/>
            <a:ext cx="730250" cy="730250"/>
          </a:xfrm>
        </p:spPr>
        <p:txBody>
          <a:bodyPr/>
          <a:lstStyle/>
          <a:p>
            <a:r>
              <a:rPr lang="en-US"/>
              <a:t>Click icon to add picture</a:t>
            </a:r>
          </a:p>
        </p:txBody>
      </p:sp>
      <p:sp>
        <p:nvSpPr>
          <p:cNvPr id="19" name="Picture Placeholder 9">
            <a:extLst>
              <a:ext uri="{FF2B5EF4-FFF2-40B4-BE49-F238E27FC236}">
                <a16:creationId xmlns:a16="http://schemas.microsoft.com/office/drawing/2014/main" id="{BAC4360C-D64F-D3EE-0286-087799039C6B}"/>
              </a:ext>
            </a:extLst>
          </p:cNvPr>
          <p:cNvSpPr>
            <a:spLocks noGrp="1"/>
          </p:cNvSpPr>
          <p:nvPr>
            <p:ph type="pic" sz="quarter" idx="23"/>
          </p:nvPr>
        </p:nvSpPr>
        <p:spPr>
          <a:xfrm>
            <a:off x="10119973" y="2083455"/>
            <a:ext cx="730250" cy="730250"/>
          </a:xfrm>
        </p:spPr>
        <p:txBody>
          <a:bodyPr/>
          <a:lstStyle/>
          <a:p>
            <a:r>
              <a:rPr lang="en-US"/>
              <a:t>Click icon to add picture</a:t>
            </a:r>
          </a:p>
        </p:txBody>
      </p:sp>
      <p:grpSp>
        <p:nvGrpSpPr>
          <p:cNvPr id="9" name="Group 8">
            <a:extLst>
              <a:ext uri="{FF2B5EF4-FFF2-40B4-BE49-F238E27FC236}">
                <a16:creationId xmlns:a16="http://schemas.microsoft.com/office/drawing/2014/main" id="{8A348552-978E-83CD-0EC3-F77287D23A05}"/>
              </a:ext>
            </a:extLst>
          </p:cNvPr>
          <p:cNvGrpSpPr/>
          <p:nvPr userDrawn="1"/>
        </p:nvGrpSpPr>
        <p:grpSpPr>
          <a:xfrm>
            <a:off x="10863102" y="309052"/>
            <a:ext cx="911847" cy="382707"/>
            <a:chOff x="7459170" y="481236"/>
            <a:chExt cx="2697427" cy="1132124"/>
          </a:xfrm>
        </p:grpSpPr>
        <p:sp>
          <p:nvSpPr>
            <p:cNvPr id="23" name="Freeform 9">
              <a:extLst>
                <a:ext uri="{FF2B5EF4-FFF2-40B4-BE49-F238E27FC236}">
                  <a16:creationId xmlns:a16="http://schemas.microsoft.com/office/drawing/2014/main" id="{6B2C3EDC-E73D-FC92-3284-1C53DD9BBDE4}"/>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4" name="Freeform 11">
              <a:extLst>
                <a:ext uri="{FF2B5EF4-FFF2-40B4-BE49-F238E27FC236}">
                  <a16:creationId xmlns:a16="http://schemas.microsoft.com/office/drawing/2014/main" id="{DE6F3993-0C7C-2664-B0CE-D2C173E1AA0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5" name="Freeform 14">
              <a:extLst>
                <a:ext uri="{FF2B5EF4-FFF2-40B4-BE49-F238E27FC236}">
                  <a16:creationId xmlns:a16="http://schemas.microsoft.com/office/drawing/2014/main" id="{0C2717DC-E53A-51AC-FD5D-595D4C99D1A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6" name="Freeform 18">
              <a:extLst>
                <a:ext uri="{FF2B5EF4-FFF2-40B4-BE49-F238E27FC236}">
                  <a16:creationId xmlns:a16="http://schemas.microsoft.com/office/drawing/2014/main" id="{0725DB8C-E9F6-B0F4-BB0C-468294B980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7" name="Freeform 19">
              <a:extLst>
                <a:ext uri="{FF2B5EF4-FFF2-40B4-BE49-F238E27FC236}">
                  <a16:creationId xmlns:a16="http://schemas.microsoft.com/office/drawing/2014/main" id="{93EDFDF6-D953-3F25-9E1F-82464FF74F2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0">
              <a:extLst>
                <a:ext uri="{FF2B5EF4-FFF2-40B4-BE49-F238E27FC236}">
                  <a16:creationId xmlns:a16="http://schemas.microsoft.com/office/drawing/2014/main" id="{07BAF67B-DF47-EBA0-96ED-73CFB98AC8E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3" name="Freeform 23">
              <a:extLst>
                <a:ext uri="{FF2B5EF4-FFF2-40B4-BE49-F238E27FC236}">
                  <a16:creationId xmlns:a16="http://schemas.microsoft.com/office/drawing/2014/main" id="{E2DCD1DB-A235-8DA3-BCA6-8C74317D24D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90271294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ix point ico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Six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Rectangle 8">
            <a:extLst>
              <a:ext uri="{FF2B5EF4-FFF2-40B4-BE49-F238E27FC236}">
                <a16:creationId xmlns:a16="http://schemas.microsoft.com/office/drawing/2014/main" id="{AA476CAA-FCE8-30B5-2EC0-97B880FF579B}"/>
              </a:ext>
            </a:extLst>
          </p:cNvPr>
          <p:cNvSpPr/>
          <p:nvPr userDrawn="1"/>
        </p:nvSpPr>
        <p:spPr>
          <a:xfrm>
            <a:off x="803062" y="2305563"/>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10" name="Rectangle 9">
            <a:extLst>
              <a:ext uri="{FF2B5EF4-FFF2-40B4-BE49-F238E27FC236}">
                <a16:creationId xmlns:a16="http://schemas.microsoft.com/office/drawing/2014/main" id="{EB38A922-4548-C260-60E7-299A751FDD43}"/>
              </a:ext>
            </a:extLst>
          </p:cNvPr>
          <p:cNvSpPr/>
          <p:nvPr userDrawn="1"/>
        </p:nvSpPr>
        <p:spPr>
          <a:xfrm>
            <a:off x="4404532" y="2294385"/>
            <a:ext cx="3420384" cy="161913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C33FDFC5-09A5-5FDB-AF24-747A5A3BF13B}"/>
              </a:ext>
            </a:extLst>
          </p:cNvPr>
          <p:cNvSpPr/>
          <p:nvPr userDrawn="1"/>
        </p:nvSpPr>
        <p:spPr>
          <a:xfrm>
            <a:off x="8004471" y="2294387"/>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18" name="Rectangle 17">
            <a:extLst>
              <a:ext uri="{FF2B5EF4-FFF2-40B4-BE49-F238E27FC236}">
                <a16:creationId xmlns:a16="http://schemas.microsoft.com/office/drawing/2014/main" id="{744C27F5-4234-0B8E-CE65-937FE2CE1232}"/>
              </a:ext>
            </a:extLst>
          </p:cNvPr>
          <p:cNvSpPr>
            <a:spLocks noChangeAspect="1"/>
          </p:cNvSpPr>
          <p:nvPr/>
        </p:nvSpPr>
        <p:spPr>
          <a:xfrm>
            <a:off x="1999658" y="1789714"/>
            <a:ext cx="1031697" cy="10316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24" name="Rectangle 23">
            <a:extLst>
              <a:ext uri="{FF2B5EF4-FFF2-40B4-BE49-F238E27FC236}">
                <a16:creationId xmlns:a16="http://schemas.microsoft.com/office/drawing/2014/main" id="{390CA8DF-5A95-9D67-0CF2-25C22F024D26}"/>
              </a:ext>
            </a:extLst>
          </p:cNvPr>
          <p:cNvSpPr>
            <a:spLocks noChangeAspect="1"/>
          </p:cNvSpPr>
          <p:nvPr/>
        </p:nvSpPr>
        <p:spPr>
          <a:xfrm>
            <a:off x="5618221" y="1789714"/>
            <a:ext cx="1031697" cy="103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27" name="Rectangle 26">
            <a:extLst>
              <a:ext uri="{FF2B5EF4-FFF2-40B4-BE49-F238E27FC236}">
                <a16:creationId xmlns:a16="http://schemas.microsoft.com/office/drawing/2014/main" id="{C5025B5D-7873-0A5C-62FA-625B725868DD}"/>
              </a:ext>
            </a:extLst>
          </p:cNvPr>
          <p:cNvSpPr>
            <a:spLocks noChangeAspect="1"/>
          </p:cNvSpPr>
          <p:nvPr/>
        </p:nvSpPr>
        <p:spPr>
          <a:xfrm>
            <a:off x="9219692" y="1789714"/>
            <a:ext cx="1031697" cy="103169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33" name="Rectangle 32">
            <a:extLst>
              <a:ext uri="{FF2B5EF4-FFF2-40B4-BE49-F238E27FC236}">
                <a16:creationId xmlns:a16="http://schemas.microsoft.com/office/drawing/2014/main" id="{FD9BCE3B-4762-C661-5C9C-B1DC7338A906}"/>
              </a:ext>
            </a:extLst>
          </p:cNvPr>
          <p:cNvSpPr/>
          <p:nvPr userDrawn="1"/>
        </p:nvSpPr>
        <p:spPr>
          <a:xfrm>
            <a:off x="793750" y="4621186"/>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34" name="Rectangle 33">
            <a:extLst>
              <a:ext uri="{FF2B5EF4-FFF2-40B4-BE49-F238E27FC236}">
                <a16:creationId xmlns:a16="http://schemas.microsoft.com/office/drawing/2014/main" id="{AB27F634-EA99-ADA0-5E61-EAECABCE616B}"/>
              </a:ext>
            </a:extLst>
          </p:cNvPr>
          <p:cNvSpPr/>
          <p:nvPr userDrawn="1"/>
        </p:nvSpPr>
        <p:spPr>
          <a:xfrm>
            <a:off x="4395220" y="4610008"/>
            <a:ext cx="3420384" cy="161913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35" name="Rectangle 34">
            <a:extLst>
              <a:ext uri="{FF2B5EF4-FFF2-40B4-BE49-F238E27FC236}">
                <a16:creationId xmlns:a16="http://schemas.microsoft.com/office/drawing/2014/main" id="{64815B70-89FD-3B70-3021-124D4CD37A57}"/>
              </a:ext>
            </a:extLst>
          </p:cNvPr>
          <p:cNvSpPr/>
          <p:nvPr userDrawn="1"/>
        </p:nvSpPr>
        <p:spPr>
          <a:xfrm>
            <a:off x="7995159" y="4610010"/>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37" name="Rectangle 36">
            <a:extLst>
              <a:ext uri="{FF2B5EF4-FFF2-40B4-BE49-F238E27FC236}">
                <a16:creationId xmlns:a16="http://schemas.microsoft.com/office/drawing/2014/main" id="{FCBDDCAB-4A5E-9167-D31F-DEF480BDAF7D}"/>
              </a:ext>
            </a:extLst>
          </p:cNvPr>
          <p:cNvSpPr>
            <a:spLocks noChangeAspect="1"/>
          </p:cNvSpPr>
          <p:nvPr/>
        </p:nvSpPr>
        <p:spPr>
          <a:xfrm>
            <a:off x="1990346" y="4105337"/>
            <a:ext cx="1031697" cy="10316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40" name="Rectangle 39">
            <a:extLst>
              <a:ext uri="{FF2B5EF4-FFF2-40B4-BE49-F238E27FC236}">
                <a16:creationId xmlns:a16="http://schemas.microsoft.com/office/drawing/2014/main" id="{F3ED79FA-230A-856D-5BAD-ED6731CF180E}"/>
              </a:ext>
            </a:extLst>
          </p:cNvPr>
          <p:cNvSpPr>
            <a:spLocks noChangeAspect="1"/>
          </p:cNvSpPr>
          <p:nvPr/>
        </p:nvSpPr>
        <p:spPr>
          <a:xfrm>
            <a:off x="5608909" y="4105337"/>
            <a:ext cx="1031697" cy="103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43" name="Rectangle 42">
            <a:extLst>
              <a:ext uri="{FF2B5EF4-FFF2-40B4-BE49-F238E27FC236}">
                <a16:creationId xmlns:a16="http://schemas.microsoft.com/office/drawing/2014/main" id="{3852CADA-9D34-1256-4B8A-540A8FB36F32}"/>
              </a:ext>
            </a:extLst>
          </p:cNvPr>
          <p:cNvSpPr>
            <a:spLocks noChangeAspect="1"/>
          </p:cNvSpPr>
          <p:nvPr/>
        </p:nvSpPr>
        <p:spPr>
          <a:xfrm>
            <a:off x="9210380" y="4105337"/>
            <a:ext cx="1031697" cy="103169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45" name="Picture Placeholder 9">
            <a:extLst>
              <a:ext uri="{FF2B5EF4-FFF2-40B4-BE49-F238E27FC236}">
                <a16:creationId xmlns:a16="http://schemas.microsoft.com/office/drawing/2014/main" id="{F24E0100-0BD5-61DD-A15E-B4BD08E01D07}"/>
              </a:ext>
            </a:extLst>
          </p:cNvPr>
          <p:cNvSpPr>
            <a:spLocks noGrp="1"/>
          </p:cNvSpPr>
          <p:nvPr>
            <p:ph type="pic" sz="quarter" idx="19"/>
          </p:nvPr>
        </p:nvSpPr>
        <p:spPr>
          <a:xfrm>
            <a:off x="2138816" y="1929260"/>
            <a:ext cx="730250" cy="730250"/>
          </a:xfrm>
        </p:spPr>
        <p:txBody>
          <a:bodyPr/>
          <a:lstStyle/>
          <a:p>
            <a:r>
              <a:rPr lang="en-US"/>
              <a:t>Click icon to add picture</a:t>
            </a:r>
          </a:p>
        </p:txBody>
      </p:sp>
      <p:sp>
        <p:nvSpPr>
          <p:cNvPr id="46" name="Picture Placeholder 9">
            <a:extLst>
              <a:ext uri="{FF2B5EF4-FFF2-40B4-BE49-F238E27FC236}">
                <a16:creationId xmlns:a16="http://schemas.microsoft.com/office/drawing/2014/main" id="{732441B9-D015-4AC9-7780-934542C3561C}"/>
              </a:ext>
            </a:extLst>
          </p:cNvPr>
          <p:cNvSpPr>
            <a:spLocks noGrp="1"/>
          </p:cNvSpPr>
          <p:nvPr>
            <p:ph type="pic" sz="quarter" idx="20"/>
          </p:nvPr>
        </p:nvSpPr>
        <p:spPr>
          <a:xfrm>
            <a:off x="5759632" y="1929260"/>
            <a:ext cx="730250" cy="730250"/>
          </a:xfrm>
        </p:spPr>
        <p:txBody>
          <a:bodyPr/>
          <a:lstStyle/>
          <a:p>
            <a:r>
              <a:rPr lang="en-US"/>
              <a:t>Click icon to add picture</a:t>
            </a:r>
          </a:p>
        </p:txBody>
      </p:sp>
      <p:sp>
        <p:nvSpPr>
          <p:cNvPr id="47" name="Picture Placeholder 9">
            <a:extLst>
              <a:ext uri="{FF2B5EF4-FFF2-40B4-BE49-F238E27FC236}">
                <a16:creationId xmlns:a16="http://schemas.microsoft.com/office/drawing/2014/main" id="{C9B88318-6409-225C-F6A6-AB4AE0C59E4B}"/>
              </a:ext>
            </a:extLst>
          </p:cNvPr>
          <p:cNvSpPr>
            <a:spLocks noGrp="1"/>
          </p:cNvSpPr>
          <p:nvPr>
            <p:ph type="pic" sz="quarter" idx="21"/>
          </p:nvPr>
        </p:nvSpPr>
        <p:spPr>
          <a:xfrm>
            <a:off x="9370415" y="1929260"/>
            <a:ext cx="730250" cy="730250"/>
          </a:xfrm>
        </p:spPr>
        <p:txBody>
          <a:bodyPr/>
          <a:lstStyle/>
          <a:p>
            <a:r>
              <a:rPr lang="en-US"/>
              <a:t>Click icon to add picture</a:t>
            </a:r>
          </a:p>
        </p:txBody>
      </p:sp>
      <p:sp>
        <p:nvSpPr>
          <p:cNvPr id="48" name="Picture Placeholder 9">
            <a:extLst>
              <a:ext uri="{FF2B5EF4-FFF2-40B4-BE49-F238E27FC236}">
                <a16:creationId xmlns:a16="http://schemas.microsoft.com/office/drawing/2014/main" id="{3C4945AE-2584-1E89-3F53-2987030816DB}"/>
              </a:ext>
            </a:extLst>
          </p:cNvPr>
          <p:cNvSpPr>
            <a:spLocks noGrp="1"/>
          </p:cNvSpPr>
          <p:nvPr>
            <p:ph type="pic" sz="quarter" idx="22"/>
          </p:nvPr>
        </p:nvSpPr>
        <p:spPr>
          <a:xfrm>
            <a:off x="2148128" y="4259772"/>
            <a:ext cx="730250" cy="730250"/>
          </a:xfrm>
        </p:spPr>
        <p:txBody>
          <a:bodyPr/>
          <a:lstStyle/>
          <a:p>
            <a:r>
              <a:rPr lang="en-US"/>
              <a:t>Click icon to add picture</a:t>
            </a:r>
          </a:p>
        </p:txBody>
      </p:sp>
      <p:sp>
        <p:nvSpPr>
          <p:cNvPr id="49" name="Picture Placeholder 9">
            <a:extLst>
              <a:ext uri="{FF2B5EF4-FFF2-40B4-BE49-F238E27FC236}">
                <a16:creationId xmlns:a16="http://schemas.microsoft.com/office/drawing/2014/main" id="{4AADFB1E-2042-12A5-5559-2BA10EC607B8}"/>
              </a:ext>
            </a:extLst>
          </p:cNvPr>
          <p:cNvSpPr>
            <a:spLocks noGrp="1"/>
          </p:cNvSpPr>
          <p:nvPr>
            <p:ph type="pic" sz="quarter" idx="23"/>
          </p:nvPr>
        </p:nvSpPr>
        <p:spPr>
          <a:xfrm>
            <a:off x="5740287" y="4244883"/>
            <a:ext cx="730250" cy="730250"/>
          </a:xfrm>
        </p:spPr>
        <p:txBody>
          <a:bodyPr/>
          <a:lstStyle/>
          <a:p>
            <a:r>
              <a:rPr lang="en-US"/>
              <a:t>Click icon to add picture</a:t>
            </a:r>
          </a:p>
        </p:txBody>
      </p:sp>
      <p:sp>
        <p:nvSpPr>
          <p:cNvPr id="50" name="Picture Placeholder 9">
            <a:extLst>
              <a:ext uri="{FF2B5EF4-FFF2-40B4-BE49-F238E27FC236}">
                <a16:creationId xmlns:a16="http://schemas.microsoft.com/office/drawing/2014/main" id="{B3C48F00-D8C7-62AA-276A-374683149BA7}"/>
              </a:ext>
            </a:extLst>
          </p:cNvPr>
          <p:cNvSpPr>
            <a:spLocks noGrp="1"/>
          </p:cNvSpPr>
          <p:nvPr>
            <p:ph type="pic" sz="quarter" idx="24"/>
          </p:nvPr>
        </p:nvSpPr>
        <p:spPr>
          <a:xfrm>
            <a:off x="9370415" y="4244883"/>
            <a:ext cx="730250" cy="730250"/>
          </a:xfrm>
        </p:spPr>
        <p:txBody>
          <a:bodyPr/>
          <a:lstStyle/>
          <a:p>
            <a:r>
              <a:rPr lang="en-US"/>
              <a:t>Click icon to add picture</a:t>
            </a:r>
          </a:p>
        </p:txBody>
      </p:sp>
      <p:sp>
        <p:nvSpPr>
          <p:cNvPr id="51" name="Text Placeholder 13">
            <a:extLst>
              <a:ext uri="{FF2B5EF4-FFF2-40B4-BE49-F238E27FC236}">
                <a16:creationId xmlns:a16="http://schemas.microsoft.com/office/drawing/2014/main" id="{F307664A-D9B1-7A11-8864-684019295394}"/>
              </a:ext>
            </a:extLst>
          </p:cNvPr>
          <p:cNvSpPr>
            <a:spLocks noGrp="1"/>
          </p:cNvSpPr>
          <p:nvPr>
            <p:ph type="body" sz="quarter" idx="12" hasCustomPrompt="1"/>
          </p:nvPr>
        </p:nvSpPr>
        <p:spPr>
          <a:xfrm>
            <a:off x="4588024" y="2939349"/>
            <a:ext cx="3108175" cy="870652"/>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2" name="Text Placeholder 13">
            <a:extLst>
              <a:ext uri="{FF2B5EF4-FFF2-40B4-BE49-F238E27FC236}">
                <a16:creationId xmlns:a16="http://schemas.microsoft.com/office/drawing/2014/main" id="{640B0055-3E6D-5371-D359-EF15A1BB8CB0}"/>
              </a:ext>
            </a:extLst>
          </p:cNvPr>
          <p:cNvSpPr>
            <a:spLocks noGrp="1"/>
          </p:cNvSpPr>
          <p:nvPr>
            <p:ph type="body" sz="quarter" idx="15" hasCustomPrompt="1"/>
          </p:nvPr>
        </p:nvSpPr>
        <p:spPr>
          <a:xfrm>
            <a:off x="995730" y="2939348"/>
            <a:ext cx="3119070" cy="870652"/>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53" name="Text Placeholder 13">
            <a:extLst>
              <a:ext uri="{FF2B5EF4-FFF2-40B4-BE49-F238E27FC236}">
                <a16:creationId xmlns:a16="http://schemas.microsoft.com/office/drawing/2014/main" id="{EF7FBD39-9F65-238A-D1D6-F47CC96BCFAB}"/>
              </a:ext>
            </a:extLst>
          </p:cNvPr>
          <p:cNvSpPr>
            <a:spLocks noGrp="1"/>
          </p:cNvSpPr>
          <p:nvPr>
            <p:ph type="body" sz="quarter" idx="16" hasCustomPrompt="1"/>
          </p:nvPr>
        </p:nvSpPr>
        <p:spPr>
          <a:xfrm>
            <a:off x="8167309" y="2960957"/>
            <a:ext cx="3221629" cy="84904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4" name="Text Placeholder 13">
            <a:extLst>
              <a:ext uri="{FF2B5EF4-FFF2-40B4-BE49-F238E27FC236}">
                <a16:creationId xmlns:a16="http://schemas.microsoft.com/office/drawing/2014/main" id="{D5769A1C-7B40-E7FB-87DD-A77A398B393B}"/>
              </a:ext>
            </a:extLst>
          </p:cNvPr>
          <p:cNvSpPr>
            <a:spLocks noGrp="1"/>
          </p:cNvSpPr>
          <p:nvPr>
            <p:ph type="body" sz="quarter" idx="25" hasCustomPrompt="1"/>
          </p:nvPr>
        </p:nvSpPr>
        <p:spPr>
          <a:xfrm>
            <a:off x="4588024" y="5251822"/>
            <a:ext cx="3108175" cy="870652"/>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5" name="Text Placeholder 13">
            <a:extLst>
              <a:ext uri="{FF2B5EF4-FFF2-40B4-BE49-F238E27FC236}">
                <a16:creationId xmlns:a16="http://schemas.microsoft.com/office/drawing/2014/main" id="{0FA4551A-1EF7-E715-98EA-16220C9D8120}"/>
              </a:ext>
            </a:extLst>
          </p:cNvPr>
          <p:cNvSpPr>
            <a:spLocks noGrp="1"/>
          </p:cNvSpPr>
          <p:nvPr>
            <p:ph type="body" sz="quarter" idx="26" hasCustomPrompt="1"/>
          </p:nvPr>
        </p:nvSpPr>
        <p:spPr>
          <a:xfrm>
            <a:off x="995730" y="5251821"/>
            <a:ext cx="3119070" cy="870652"/>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56" name="Text Placeholder 13">
            <a:extLst>
              <a:ext uri="{FF2B5EF4-FFF2-40B4-BE49-F238E27FC236}">
                <a16:creationId xmlns:a16="http://schemas.microsoft.com/office/drawing/2014/main" id="{20339369-D707-24E3-0DBE-05BC89883E53}"/>
              </a:ext>
            </a:extLst>
          </p:cNvPr>
          <p:cNvSpPr>
            <a:spLocks noGrp="1"/>
          </p:cNvSpPr>
          <p:nvPr>
            <p:ph type="body" sz="quarter" idx="27" hasCustomPrompt="1"/>
          </p:nvPr>
        </p:nvSpPr>
        <p:spPr>
          <a:xfrm>
            <a:off x="8167309" y="5273430"/>
            <a:ext cx="3221629" cy="84904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B129E26F-9EAB-58D3-8BE0-92C03DF5A2BE}"/>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F44F31B5-8718-3887-8455-0C4D82DCE0E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06D35238-23F4-33D4-1EDE-A5EC646B385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951156DB-A119-30DD-5690-646CD07B179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44D44C40-4BEE-DF0F-8069-4F8CF8A6208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A470B8EA-00D8-B354-6715-A4E247A5BDA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07203667-8CB8-016A-6E7B-2EA806BCD27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140E4CA0-D346-AA87-2C43-A3ED361B273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87639918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meline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rot="10800000">
            <a:off x="3430030" y="388454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776072" y="280410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8795955" y="282822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rot="10800000">
            <a:off x="6995985" y="388642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5256839" y="2823062"/>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5ED7AF4-CCAC-97F2-69F3-2C80540100B3}"/>
              </a:ext>
            </a:extLst>
          </p:cNvPr>
          <p:cNvCxnSpPr>
            <a:cxnSpLocks/>
          </p:cNvCxnSpPr>
          <p:nvPr/>
        </p:nvCxnSpPr>
        <p:spPr>
          <a:xfrm rot="10800000">
            <a:off x="10561940" y="388454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graphicFrame>
        <p:nvGraphicFramePr>
          <p:cNvPr id="66" name="Table 5">
            <a:extLst>
              <a:ext uri="{FF2B5EF4-FFF2-40B4-BE49-F238E27FC236}">
                <a16:creationId xmlns:a16="http://schemas.microsoft.com/office/drawing/2014/main" id="{ECBC1793-4F31-C1E1-755D-41B5D4784098}"/>
              </a:ext>
            </a:extLst>
          </p:cNvPr>
          <p:cNvGraphicFramePr>
            <a:graphicFrameLocks noGrp="1"/>
          </p:cNvGraphicFramePr>
          <p:nvPr userDrawn="1">
            <p:extLst>
              <p:ext uri="{D42A27DB-BD31-4B8C-83A1-F6EECF244321}">
                <p14:modId xmlns:p14="http://schemas.microsoft.com/office/powerpoint/2010/main" val="3709454205"/>
              </p:ext>
            </p:extLst>
          </p:nvPr>
        </p:nvGraphicFramePr>
        <p:xfrm>
          <a:off x="814557" y="3513700"/>
          <a:ext cx="10621782" cy="370840"/>
        </p:xfrm>
        <a:graphic>
          <a:graphicData uri="http://schemas.openxmlformats.org/drawingml/2006/table">
            <a:tbl>
              <a:tblPr firstRow="1" bandRow="1">
                <a:tableStyleId>{5C22544A-7EE6-4342-B048-85BDC9FD1C3A}</a:tableStyleId>
              </a:tblPr>
              <a:tblGrid>
                <a:gridCol w="1770297">
                  <a:extLst>
                    <a:ext uri="{9D8B030D-6E8A-4147-A177-3AD203B41FA5}">
                      <a16:colId xmlns:a16="http://schemas.microsoft.com/office/drawing/2014/main" val="3406844630"/>
                    </a:ext>
                  </a:extLst>
                </a:gridCol>
                <a:gridCol w="1770297">
                  <a:extLst>
                    <a:ext uri="{9D8B030D-6E8A-4147-A177-3AD203B41FA5}">
                      <a16:colId xmlns:a16="http://schemas.microsoft.com/office/drawing/2014/main" val="1945530150"/>
                    </a:ext>
                  </a:extLst>
                </a:gridCol>
                <a:gridCol w="1770297">
                  <a:extLst>
                    <a:ext uri="{9D8B030D-6E8A-4147-A177-3AD203B41FA5}">
                      <a16:colId xmlns:a16="http://schemas.microsoft.com/office/drawing/2014/main" val="1005128605"/>
                    </a:ext>
                  </a:extLst>
                </a:gridCol>
                <a:gridCol w="1770297">
                  <a:extLst>
                    <a:ext uri="{9D8B030D-6E8A-4147-A177-3AD203B41FA5}">
                      <a16:colId xmlns:a16="http://schemas.microsoft.com/office/drawing/2014/main" val="458871675"/>
                    </a:ext>
                  </a:extLst>
                </a:gridCol>
                <a:gridCol w="1770297">
                  <a:extLst>
                    <a:ext uri="{9D8B030D-6E8A-4147-A177-3AD203B41FA5}">
                      <a16:colId xmlns:a16="http://schemas.microsoft.com/office/drawing/2014/main" val="2469416919"/>
                    </a:ext>
                  </a:extLst>
                </a:gridCol>
                <a:gridCol w="1770297">
                  <a:extLst>
                    <a:ext uri="{9D8B030D-6E8A-4147-A177-3AD203B41FA5}">
                      <a16:colId xmlns:a16="http://schemas.microsoft.com/office/drawing/2014/main" val="4143765711"/>
                    </a:ext>
                  </a:extLst>
                </a:gridCol>
              </a:tblGrid>
              <a:tr h="370840">
                <a:tc>
                  <a:txBody>
                    <a:bodyPr/>
                    <a:lstStyle/>
                    <a:p>
                      <a:pPr algn="ctr"/>
                      <a:endParaRPr lang="en-US"/>
                    </a:p>
                  </a:txBody>
                  <a:tcPr>
                    <a:solidFill>
                      <a:schemeClr val="accent2"/>
                    </a:solidFill>
                  </a:tcPr>
                </a:tc>
                <a:tc>
                  <a:txBody>
                    <a:bodyPr/>
                    <a:lstStyle/>
                    <a:p>
                      <a:pPr algn="ctr"/>
                      <a:endParaRPr lang="en-US"/>
                    </a:p>
                  </a:txBody>
                  <a:tcPr/>
                </a:tc>
                <a:tc>
                  <a:txBody>
                    <a:bodyPr/>
                    <a:lstStyle/>
                    <a:p>
                      <a:pPr algn="ctr"/>
                      <a:endParaRPr lang="en-US"/>
                    </a:p>
                  </a:txBody>
                  <a:tcPr>
                    <a:solidFill>
                      <a:schemeClr val="bg2"/>
                    </a:solidFill>
                  </a:tcPr>
                </a:tc>
                <a:tc>
                  <a:txBody>
                    <a:bodyPr/>
                    <a:lstStyle/>
                    <a:p>
                      <a:pPr algn="ctr"/>
                      <a:endParaRPr lang="en-US"/>
                    </a:p>
                  </a:txBody>
                  <a:tcPr>
                    <a:solidFill>
                      <a:schemeClr val="accent2"/>
                    </a:solidFill>
                  </a:tcPr>
                </a:tc>
                <a:tc>
                  <a:txBody>
                    <a:bodyPr/>
                    <a:lstStyle/>
                    <a:p>
                      <a:pPr algn="ctr"/>
                      <a:endParaRPr lang="en-US"/>
                    </a:p>
                  </a:txBody>
                  <a:tcPr/>
                </a:tc>
                <a:tc>
                  <a:txBody>
                    <a:bodyPr/>
                    <a:lstStyle/>
                    <a:p>
                      <a:pPr algn="ctr"/>
                      <a:endParaRPr lang="en-US"/>
                    </a:p>
                  </a:txBody>
                  <a:tcPr>
                    <a:solidFill>
                      <a:schemeClr val="bg2"/>
                    </a:solidFill>
                  </a:tcPr>
                </a:tc>
                <a:extLst>
                  <a:ext uri="{0D108BD9-81ED-4DB2-BD59-A6C34878D82A}">
                    <a16:rowId xmlns:a16="http://schemas.microsoft.com/office/drawing/2014/main" val="3671987825"/>
                  </a:ext>
                </a:extLst>
              </a:tr>
            </a:tbl>
          </a:graphicData>
        </a:graphic>
      </p:graphicFrame>
      <p:sp>
        <p:nvSpPr>
          <p:cNvPr id="69" name="Text Placeholder 13">
            <a:extLst>
              <a:ext uri="{FF2B5EF4-FFF2-40B4-BE49-F238E27FC236}">
                <a16:creationId xmlns:a16="http://schemas.microsoft.com/office/drawing/2014/main" id="{54317861-1982-16E4-5CC7-04804C4D7F69}"/>
              </a:ext>
            </a:extLst>
          </p:cNvPr>
          <p:cNvSpPr>
            <a:spLocks noGrp="1"/>
          </p:cNvSpPr>
          <p:nvPr>
            <p:ph type="body" sz="quarter" idx="15" hasCustomPrompt="1"/>
          </p:nvPr>
        </p:nvSpPr>
        <p:spPr>
          <a:xfrm>
            <a:off x="990601" y="1993908"/>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0" name="Text Placeholder 13">
            <a:extLst>
              <a:ext uri="{FF2B5EF4-FFF2-40B4-BE49-F238E27FC236}">
                <a16:creationId xmlns:a16="http://schemas.microsoft.com/office/drawing/2014/main" id="{36B0C943-D78A-A620-2751-FBFD7BFB365E}"/>
              </a:ext>
            </a:extLst>
          </p:cNvPr>
          <p:cNvSpPr>
            <a:spLocks noGrp="1"/>
          </p:cNvSpPr>
          <p:nvPr>
            <p:ph type="body" sz="quarter" idx="16" hasCustomPrompt="1"/>
          </p:nvPr>
        </p:nvSpPr>
        <p:spPr>
          <a:xfrm>
            <a:off x="2668029" y="5012087"/>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1" name="Text Placeholder 13">
            <a:extLst>
              <a:ext uri="{FF2B5EF4-FFF2-40B4-BE49-F238E27FC236}">
                <a16:creationId xmlns:a16="http://schemas.microsoft.com/office/drawing/2014/main" id="{296FADEA-6360-8C50-F54B-CEE2F599107A}"/>
              </a:ext>
            </a:extLst>
          </p:cNvPr>
          <p:cNvSpPr>
            <a:spLocks noGrp="1"/>
          </p:cNvSpPr>
          <p:nvPr>
            <p:ph type="body" sz="quarter" idx="17" hasCustomPrompt="1"/>
          </p:nvPr>
        </p:nvSpPr>
        <p:spPr>
          <a:xfrm>
            <a:off x="4494839" y="1998846"/>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2" name="Text Placeholder 13">
            <a:extLst>
              <a:ext uri="{FF2B5EF4-FFF2-40B4-BE49-F238E27FC236}">
                <a16:creationId xmlns:a16="http://schemas.microsoft.com/office/drawing/2014/main" id="{813D878E-1638-F15A-533F-2DB5A861EDDE}"/>
              </a:ext>
            </a:extLst>
          </p:cNvPr>
          <p:cNvSpPr>
            <a:spLocks noGrp="1"/>
          </p:cNvSpPr>
          <p:nvPr>
            <p:ph type="body" sz="quarter" idx="18" hasCustomPrompt="1"/>
          </p:nvPr>
        </p:nvSpPr>
        <p:spPr>
          <a:xfrm>
            <a:off x="6233984" y="5012087"/>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3" name="Text Placeholder 13">
            <a:extLst>
              <a:ext uri="{FF2B5EF4-FFF2-40B4-BE49-F238E27FC236}">
                <a16:creationId xmlns:a16="http://schemas.microsoft.com/office/drawing/2014/main" id="{F7B2233B-0C35-3E3B-0EAA-BB8CD5BA9BCC}"/>
              </a:ext>
            </a:extLst>
          </p:cNvPr>
          <p:cNvSpPr>
            <a:spLocks noGrp="1"/>
          </p:cNvSpPr>
          <p:nvPr>
            <p:ph type="body" sz="quarter" idx="19" hasCustomPrompt="1"/>
          </p:nvPr>
        </p:nvSpPr>
        <p:spPr>
          <a:xfrm>
            <a:off x="9799940" y="4920481"/>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4" name="Text Placeholder 13">
            <a:extLst>
              <a:ext uri="{FF2B5EF4-FFF2-40B4-BE49-F238E27FC236}">
                <a16:creationId xmlns:a16="http://schemas.microsoft.com/office/drawing/2014/main" id="{68BDF4DC-23CA-F7D2-B2FD-61C4D270402A}"/>
              </a:ext>
            </a:extLst>
          </p:cNvPr>
          <p:cNvSpPr>
            <a:spLocks noGrp="1"/>
          </p:cNvSpPr>
          <p:nvPr>
            <p:ph type="body" sz="quarter" idx="20" hasCustomPrompt="1"/>
          </p:nvPr>
        </p:nvSpPr>
        <p:spPr>
          <a:xfrm>
            <a:off x="8033955" y="1992709"/>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838621" y="3589012"/>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2638126" y="3581673"/>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4402411" y="3585399"/>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6201916" y="3578060"/>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9" name="Text Placeholder 7">
            <a:extLst>
              <a:ext uri="{FF2B5EF4-FFF2-40B4-BE49-F238E27FC236}">
                <a16:creationId xmlns:a16="http://schemas.microsoft.com/office/drawing/2014/main" id="{CB487400-209E-260F-F33C-F0E30DB8ABC3}"/>
              </a:ext>
            </a:extLst>
          </p:cNvPr>
          <p:cNvSpPr>
            <a:spLocks noGrp="1"/>
          </p:cNvSpPr>
          <p:nvPr>
            <p:ph type="body" sz="quarter" idx="25" hasCustomPrompt="1"/>
          </p:nvPr>
        </p:nvSpPr>
        <p:spPr>
          <a:xfrm>
            <a:off x="7924445" y="3585399"/>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9723950" y="3578060"/>
            <a:ext cx="1675980" cy="218674"/>
          </a:xfrm>
        </p:spPr>
        <p:txBody>
          <a:bodyPr/>
          <a:lstStyle>
            <a:lvl1pPr algn="ctr">
              <a:spcBef>
                <a:spcPts val="0"/>
              </a:spcBef>
              <a:defRPr sz="1600" b="1">
                <a:solidFill>
                  <a:schemeClr val="bg1"/>
                </a:solidFill>
                <a:latin typeface="+mn-lt"/>
              </a:defRPr>
            </a:lvl1pPr>
          </a:lstStyle>
          <a:p>
            <a:pPr lvl="0"/>
            <a:r>
              <a:rPr lang="en-US"/>
              <a:t>Month</a:t>
            </a:r>
          </a:p>
        </p:txBody>
      </p:sp>
      <p:grpSp>
        <p:nvGrpSpPr>
          <p:cNvPr id="4" name="Group 3">
            <a:extLst>
              <a:ext uri="{FF2B5EF4-FFF2-40B4-BE49-F238E27FC236}">
                <a16:creationId xmlns:a16="http://schemas.microsoft.com/office/drawing/2014/main" id="{DA62C9A9-F536-80CE-FDA1-C6992AE6C47E}"/>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B51A1D6A-F010-B5BC-EF17-1DEEFFBD730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6882F9EE-6306-FD9E-054E-4BD6697EF45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1C1DEB2A-5571-6E3A-7347-5A29CA67B77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1EE99B39-DB6E-B695-13FD-CEABA61A2D0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080CAB51-0E42-82EC-8696-9E8663337EC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5AD723EC-5B9C-0488-32C2-959E7C92EF6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8203B955-056F-63B8-FA29-67220AEF0E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0490174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meline layout 2">
    <p:spTree>
      <p:nvGrpSpPr>
        <p:cNvPr id="1" name=""/>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817233" y="280410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69" name="Text Placeholder 13">
            <a:extLst>
              <a:ext uri="{FF2B5EF4-FFF2-40B4-BE49-F238E27FC236}">
                <a16:creationId xmlns:a16="http://schemas.microsoft.com/office/drawing/2014/main" id="{54317861-1982-16E4-5CC7-04804C4D7F69}"/>
              </a:ext>
            </a:extLst>
          </p:cNvPr>
          <p:cNvSpPr>
            <a:spLocks noGrp="1"/>
          </p:cNvSpPr>
          <p:nvPr>
            <p:ph type="body" sz="quarter" idx="15" hasCustomPrompt="1"/>
          </p:nvPr>
        </p:nvSpPr>
        <p:spPr>
          <a:xfrm>
            <a:off x="1031762" y="1993908"/>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6096000" y="279887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1" name="Text Placeholder 13">
            <a:extLst>
              <a:ext uri="{FF2B5EF4-FFF2-40B4-BE49-F238E27FC236}">
                <a16:creationId xmlns:a16="http://schemas.microsoft.com/office/drawing/2014/main" id="{296FADEA-6360-8C50-F54B-CEE2F599107A}"/>
              </a:ext>
            </a:extLst>
          </p:cNvPr>
          <p:cNvSpPr>
            <a:spLocks noGrp="1"/>
          </p:cNvSpPr>
          <p:nvPr>
            <p:ph type="body" sz="quarter" idx="17" hasCustomPrompt="1"/>
          </p:nvPr>
        </p:nvSpPr>
        <p:spPr>
          <a:xfrm>
            <a:off x="5334000" y="1974657"/>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10433915" y="2829425"/>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rot="10800000">
            <a:off x="8233532" y="370753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2" name="Text Placeholder 13">
            <a:extLst>
              <a:ext uri="{FF2B5EF4-FFF2-40B4-BE49-F238E27FC236}">
                <a16:creationId xmlns:a16="http://schemas.microsoft.com/office/drawing/2014/main" id="{813D878E-1638-F15A-533F-2DB5A861EDDE}"/>
              </a:ext>
            </a:extLst>
          </p:cNvPr>
          <p:cNvSpPr>
            <a:spLocks noGrp="1"/>
          </p:cNvSpPr>
          <p:nvPr>
            <p:ph type="body" sz="quarter" idx="18" hasCustomPrompt="1"/>
          </p:nvPr>
        </p:nvSpPr>
        <p:spPr>
          <a:xfrm>
            <a:off x="7471531" y="4833200"/>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6" name="Rectangle 5">
            <a:extLst>
              <a:ext uri="{FF2B5EF4-FFF2-40B4-BE49-F238E27FC236}">
                <a16:creationId xmlns:a16="http://schemas.microsoft.com/office/drawing/2014/main" id="{F6AF6021-6E42-EF2D-2A51-2E5A22F1746B}"/>
              </a:ext>
            </a:extLst>
          </p:cNvPr>
          <p:cNvSpPr/>
          <p:nvPr userDrawn="1"/>
        </p:nvSpPr>
        <p:spPr>
          <a:xfrm>
            <a:off x="814558" y="3716322"/>
            <a:ext cx="2124583"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7" name="Rectangle 6">
            <a:extLst>
              <a:ext uri="{FF2B5EF4-FFF2-40B4-BE49-F238E27FC236}">
                <a16:creationId xmlns:a16="http://schemas.microsoft.com/office/drawing/2014/main" id="{01E92454-01BE-85A8-6230-5E1ED9A5D8B5}"/>
              </a:ext>
            </a:extLst>
          </p:cNvPr>
          <p:cNvSpPr/>
          <p:nvPr userDrawn="1"/>
        </p:nvSpPr>
        <p:spPr>
          <a:xfrm>
            <a:off x="2939141" y="3356328"/>
            <a:ext cx="2124583"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8" name="Rectangle 7">
            <a:extLst>
              <a:ext uri="{FF2B5EF4-FFF2-40B4-BE49-F238E27FC236}">
                <a16:creationId xmlns:a16="http://schemas.microsoft.com/office/drawing/2014/main" id="{C47FAF06-6923-423A-4B04-3E2975B0A4A7}"/>
              </a:ext>
            </a:extLst>
          </p:cNvPr>
          <p:cNvSpPr/>
          <p:nvPr userDrawn="1"/>
        </p:nvSpPr>
        <p:spPr>
          <a:xfrm>
            <a:off x="5063724" y="3725164"/>
            <a:ext cx="2124583"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9" name="Rectangle 8">
            <a:extLst>
              <a:ext uri="{FF2B5EF4-FFF2-40B4-BE49-F238E27FC236}">
                <a16:creationId xmlns:a16="http://schemas.microsoft.com/office/drawing/2014/main" id="{3518A56B-86F2-7D58-8DEA-768A25A5C39A}"/>
              </a:ext>
            </a:extLst>
          </p:cNvPr>
          <p:cNvSpPr/>
          <p:nvPr userDrawn="1"/>
        </p:nvSpPr>
        <p:spPr>
          <a:xfrm>
            <a:off x="7187184" y="3360749"/>
            <a:ext cx="2124583"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10" name="Rectangle 9">
            <a:extLst>
              <a:ext uri="{FF2B5EF4-FFF2-40B4-BE49-F238E27FC236}">
                <a16:creationId xmlns:a16="http://schemas.microsoft.com/office/drawing/2014/main" id="{319F290D-C8DF-C88B-EF14-AE1A74E01D73}"/>
              </a:ext>
            </a:extLst>
          </p:cNvPr>
          <p:cNvSpPr/>
          <p:nvPr userDrawn="1"/>
        </p:nvSpPr>
        <p:spPr>
          <a:xfrm>
            <a:off x="9311767" y="3729585"/>
            <a:ext cx="2124583"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rot="10800000">
            <a:off x="3958472"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0" name="Text Placeholder 13">
            <a:extLst>
              <a:ext uri="{FF2B5EF4-FFF2-40B4-BE49-F238E27FC236}">
                <a16:creationId xmlns:a16="http://schemas.microsoft.com/office/drawing/2014/main" id="{36B0C943-D78A-A620-2751-FBFD7BFB365E}"/>
              </a:ext>
            </a:extLst>
          </p:cNvPr>
          <p:cNvSpPr>
            <a:spLocks noGrp="1"/>
          </p:cNvSpPr>
          <p:nvPr>
            <p:ph type="body" sz="quarter" idx="16" hasCustomPrompt="1"/>
          </p:nvPr>
        </p:nvSpPr>
        <p:spPr>
          <a:xfrm>
            <a:off x="3196471" y="4833200"/>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4" name="Text Placeholder 13">
            <a:extLst>
              <a:ext uri="{FF2B5EF4-FFF2-40B4-BE49-F238E27FC236}">
                <a16:creationId xmlns:a16="http://schemas.microsoft.com/office/drawing/2014/main" id="{68BDF4DC-23CA-F7D2-B2FD-61C4D270402A}"/>
              </a:ext>
            </a:extLst>
          </p:cNvPr>
          <p:cNvSpPr>
            <a:spLocks noGrp="1"/>
          </p:cNvSpPr>
          <p:nvPr>
            <p:ph type="body" sz="quarter" idx="20" hasCustomPrompt="1"/>
          </p:nvPr>
        </p:nvSpPr>
        <p:spPr>
          <a:xfrm>
            <a:off x="9671915" y="1993908"/>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995667" y="3779797"/>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3145104" y="3426200"/>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5293165" y="3789033"/>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7381422" y="3438786"/>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9565614" y="3793907"/>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4" name="TextBox 3">
            <a:extLst>
              <a:ext uri="{FF2B5EF4-FFF2-40B4-BE49-F238E27FC236}">
                <a16:creationId xmlns:a16="http://schemas.microsoft.com/office/drawing/2014/main" id="{44F0DA02-8912-0B6B-6F42-A974290D6CD4}"/>
              </a:ext>
            </a:extLst>
          </p:cNvPr>
          <p:cNvSpPr txBox="1"/>
          <p:nvPr userDrawn="1"/>
        </p:nvSpPr>
        <p:spPr>
          <a:xfrm>
            <a:off x="765581" y="4149717"/>
            <a:ext cx="1974039" cy="307777"/>
          </a:xfrm>
          <a:prstGeom prst="rect">
            <a:avLst/>
          </a:prstGeom>
          <a:noFill/>
        </p:spPr>
        <p:txBody>
          <a:bodyPr wrap="square" lIns="0" tIns="0" rIns="0" bIns="0" rtlCol="0">
            <a:spAutoFit/>
          </a:bodyPr>
          <a:lstStyle/>
          <a:p>
            <a:pPr algn="ctr"/>
            <a:r>
              <a:rPr lang="en-US" sz="2000" b="1"/>
              <a:t>20XX</a:t>
            </a:r>
          </a:p>
        </p:txBody>
      </p:sp>
      <p:sp>
        <p:nvSpPr>
          <p:cNvPr id="5" name="TextBox 4">
            <a:extLst>
              <a:ext uri="{FF2B5EF4-FFF2-40B4-BE49-F238E27FC236}">
                <a16:creationId xmlns:a16="http://schemas.microsoft.com/office/drawing/2014/main" id="{A49878B0-CF0A-802D-531E-1FCD7080CC56}"/>
              </a:ext>
            </a:extLst>
          </p:cNvPr>
          <p:cNvSpPr txBox="1"/>
          <p:nvPr userDrawn="1"/>
        </p:nvSpPr>
        <p:spPr>
          <a:xfrm>
            <a:off x="7246509" y="2972163"/>
            <a:ext cx="1974039" cy="307777"/>
          </a:xfrm>
          <a:prstGeom prst="rect">
            <a:avLst/>
          </a:prstGeom>
          <a:noFill/>
        </p:spPr>
        <p:txBody>
          <a:bodyPr wrap="square" lIns="0" tIns="0" rIns="0" bIns="0" rtlCol="0">
            <a:spAutoFit/>
          </a:bodyPr>
          <a:lstStyle/>
          <a:p>
            <a:pPr algn="ctr"/>
            <a:r>
              <a:rPr lang="en-US" sz="2000" b="1"/>
              <a:t>20XX</a:t>
            </a:r>
          </a:p>
        </p:txBody>
      </p:sp>
      <p:grpSp>
        <p:nvGrpSpPr>
          <p:cNvPr id="11" name="Group 10">
            <a:extLst>
              <a:ext uri="{FF2B5EF4-FFF2-40B4-BE49-F238E27FC236}">
                <a16:creationId xmlns:a16="http://schemas.microsoft.com/office/drawing/2014/main" id="{C1F5C286-6F3B-FEB0-2C38-EE803213F032}"/>
              </a:ext>
            </a:extLst>
          </p:cNvPr>
          <p:cNvGrpSpPr/>
          <p:nvPr userDrawn="1"/>
        </p:nvGrpSpPr>
        <p:grpSpPr>
          <a:xfrm>
            <a:off x="10863102" y="309052"/>
            <a:ext cx="911847" cy="382707"/>
            <a:chOff x="7459170" y="481236"/>
            <a:chExt cx="2697427" cy="1132124"/>
          </a:xfrm>
        </p:grpSpPr>
        <p:sp>
          <p:nvSpPr>
            <p:cNvPr id="12" name="Freeform 9">
              <a:extLst>
                <a:ext uri="{FF2B5EF4-FFF2-40B4-BE49-F238E27FC236}">
                  <a16:creationId xmlns:a16="http://schemas.microsoft.com/office/drawing/2014/main" id="{8C463DB0-6267-2164-346A-C7C72F2AD5D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4ECF88DB-48D1-9CF3-7208-D40E951E28C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4">
              <a:extLst>
                <a:ext uri="{FF2B5EF4-FFF2-40B4-BE49-F238E27FC236}">
                  <a16:creationId xmlns:a16="http://schemas.microsoft.com/office/drawing/2014/main" id="{6E99E7A9-A934-DE40-7612-53CC0466195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5" name="Freeform 18">
              <a:extLst>
                <a:ext uri="{FF2B5EF4-FFF2-40B4-BE49-F238E27FC236}">
                  <a16:creationId xmlns:a16="http://schemas.microsoft.com/office/drawing/2014/main" id="{600441B5-66ED-F915-DDEE-EC560D48D7A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9">
              <a:extLst>
                <a:ext uri="{FF2B5EF4-FFF2-40B4-BE49-F238E27FC236}">
                  <a16:creationId xmlns:a16="http://schemas.microsoft.com/office/drawing/2014/main" id="{EA349F80-F837-20F9-D936-49BC81A14FF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20">
              <a:extLst>
                <a:ext uri="{FF2B5EF4-FFF2-40B4-BE49-F238E27FC236}">
                  <a16:creationId xmlns:a16="http://schemas.microsoft.com/office/drawing/2014/main" id="{6AC00D88-F194-44A7-53D5-09D8147A938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9" name="Freeform 23">
              <a:extLst>
                <a:ext uri="{FF2B5EF4-FFF2-40B4-BE49-F238E27FC236}">
                  <a16:creationId xmlns:a16="http://schemas.microsoft.com/office/drawing/2014/main" id="{F9F7FE31-3D80-F148-E003-045AC032859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11927188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meline layout 3">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0F4AE370-1FD2-9858-20AC-50E92CDD4FA6}"/>
              </a:ext>
            </a:extLst>
          </p:cNvPr>
          <p:cNvCxnSpPr>
            <a:cxnSpLocks/>
          </p:cNvCxnSpPr>
          <p:nvPr userDrawn="1"/>
        </p:nvCxnSpPr>
        <p:spPr>
          <a:xfrm flipV="1">
            <a:off x="10253411"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817233" y="280410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69" name="Text Placeholder 13">
            <a:extLst>
              <a:ext uri="{FF2B5EF4-FFF2-40B4-BE49-F238E27FC236}">
                <a16:creationId xmlns:a16="http://schemas.microsoft.com/office/drawing/2014/main" id="{54317861-1982-16E4-5CC7-04804C4D7F69}"/>
              </a:ext>
            </a:extLst>
          </p:cNvPr>
          <p:cNvSpPr>
            <a:spLocks noGrp="1"/>
          </p:cNvSpPr>
          <p:nvPr>
            <p:ph type="body" sz="quarter" idx="15" hasCustomPrompt="1"/>
          </p:nvPr>
        </p:nvSpPr>
        <p:spPr>
          <a:xfrm>
            <a:off x="1031762" y="1993908"/>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5132244" y="279887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1" name="Text Placeholder 13">
            <a:extLst>
              <a:ext uri="{FF2B5EF4-FFF2-40B4-BE49-F238E27FC236}">
                <a16:creationId xmlns:a16="http://schemas.microsoft.com/office/drawing/2014/main" id="{296FADEA-6360-8C50-F54B-CEE2F599107A}"/>
              </a:ext>
            </a:extLst>
          </p:cNvPr>
          <p:cNvSpPr>
            <a:spLocks noGrp="1"/>
          </p:cNvSpPr>
          <p:nvPr>
            <p:ph type="body" sz="quarter" idx="17" hasCustomPrompt="1"/>
          </p:nvPr>
        </p:nvSpPr>
        <p:spPr>
          <a:xfrm>
            <a:off x="4456478" y="1974657"/>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8519215" y="2829425"/>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flipV="1">
            <a:off x="6831105" y="370753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2" name="Text Placeholder 13">
            <a:extLst>
              <a:ext uri="{FF2B5EF4-FFF2-40B4-BE49-F238E27FC236}">
                <a16:creationId xmlns:a16="http://schemas.microsoft.com/office/drawing/2014/main" id="{813D878E-1638-F15A-533F-2DB5A861EDDE}"/>
              </a:ext>
            </a:extLst>
          </p:cNvPr>
          <p:cNvSpPr>
            <a:spLocks noGrp="1"/>
          </p:cNvSpPr>
          <p:nvPr>
            <p:ph type="body" sz="quarter" idx="18" hasCustomPrompt="1"/>
          </p:nvPr>
        </p:nvSpPr>
        <p:spPr>
          <a:xfrm>
            <a:off x="6069104" y="4833200"/>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6" name="Rectangle 5">
            <a:extLst>
              <a:ext uri="{FF2B5EF4-FFF2-40B4-BE49-F238E27FC236}">
                <a16:creationId xmlns:a16="http://schemas.microsoft.com/office/drawing/2014/main" id="{F6AF6021-6E42-EF2D-2A51-2E5A22F1746B}"/>
              </a:ext>
            </a:extLst>
          </p:cNvPr>
          <p:cNvSpPr/>
          <p:nvPr userDrawn="1"/>
        </p:nvSpPr>
        <p:spPr>
          <a:xfrm>
            <a:off x="814559" y="3716322"/>
            <a:ext cx="1715749"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7" name="Rectangle 6">
            <a:extLst>
              <a:ext uri="{FF2B5EF4-FFF2-40B4-BE49-F238E27FC236}">
                <a16:creationId xmlns:a16="http://schemas.microsoft.com/office/drawing/2014/main" id="{01E92454-01BE-85A8-6230-5E1ED9A5D8B5}"/>
              </a:ext>
            </a:extLst>
          </p:cNvPr>
          <p:cNvSpPr/>
          <p:nvPr userDrawn="1"/>
        </p:nvSpPr>
        <p:spPr>
          <a:xfrm>
            <a:off x="2529351" y="3356328"/>
            <a:ext cx="1715749"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8" name="Rectangle 7">
            <a:extLst>
              <a:ext uri="{FF2B5EF4-FFF2-40B4-BE49-F238E27FC236}">
                <a16:creationId xmlns:a16="http://schemas.microsoft.com/office/drawing/2014/main" id="{C47FAF06-6923-423A-4B04-3E2975B0A4A7}"/>
              </a:ext>
            </a:extLst>
          </p:cNvPr>
          <p:cNvSpPr/>
          <p:nvPr userDrawn="1"/>
        </p:nvSpPr>
        <p:spPr>
          <a:xfrm>
            <a:off x="4234750" y="3725164"/>
            <a:ext cx="1715749"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9" name="Rectangle 8">
            <a:extLst>
              <a:ext uri="{FF2B5EF4-FFF2-40B4-BE49-F238E27FC236}">
                <a16:creationId xmlns:a16="http://schemas.microsoft.com/office/drawing/2014/main" id="{3518A56B-86F2-7D58-8DEA-768A25A5C39A}"/>
              </a:ext>
            </a:extLst>
          </p:cNvPr>
          <p:cNvSpPr/>
          <p:nvPr userDrawn="1"/>
        </p:nvSpPr>
        <p:spPr>
          <a:xfrm>
            <a:off x="5945989" y="3360749"/>
            <a:ext cx="1715749"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10" name="Rectangle 9">
            <a:extLst>
              <a:ext uri="{FF2B5EF4-FFF2-40B4-BE49-F238E27FC236}">
                <a16:creationId xmlns:a16="http://schemas.microsoft.com/office/drawing/2014/main" id="{319F290D-C8DF-C88B-EF14-AE1A74E01D73}"/>
              </a:ext>
            </a:extLst>
          </p:cNvPr>
          <p:cNvSpPr/>
          <p:nvPr userDrawn="1"/>
        </p:nvSpPr>
        <p:spPr>
          <a:xfrm>
            <a:off x="7661342" y="3729585"/>
            <a:ext cx="1715749"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flipV="1">
            <a:off x="3368717"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0" name="Text Placeholder 13">
            <a:extLst>
              <a:ext uri="{FF2B5EF4-FFF2-40B4-BE49-F238E27FC236}">
                <a16:creationId xmlns:a16="http://schemas.microsoft.com/office/drawing/2014/main" id="{36B0C943-D78A-A620-2751-FBFD7BFB365E}"/>
              </a:ext>
            </a:extLst>
          </p:cNvPr>
          <p:cNvSpPr>
            <a:spLocks noGrp="1"/>
          </p:cNvSpPr>
          <p:nvPr>
            <p:ph type="body" sz="quarter" idx="16" hasCustomPrompt="1"/>
          </p:nvPr>
        </p:nvSpPr>
        <p:spPr>
          <a:xfrm>
            <a:off x="2638800" y="4833200"/>
            <a:ext cx="148631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4" name="Text Placeholder 13">
            <a:extLst>
              <a:ext uri="{FF2B5EF4-FFF2-40B4-BE49-F238E27FC236}">
                <a16:creationId xmlns:a16="http://schemas.microsoft.com/office/drawing/2014/main" id="{68BDF4DC-23CA-F7D2-B2FD-61C4D270402A}"/>
              </a:ext>
            </a:extLst>
          </p:cNvPr>
          <p:cNvSpPr>
            <a:spLocks noGrp="1"/>
          </p:cNvSpPr>
          <p:nvPr>
            <p:ph type="body" sz="quarter" idx="20" hasCustomPrompt="1"/>
          </p:nvPr>
        </p:nvSpPr>
        <p:spPr>
          <a:xfrm>
            <a:off x="7843449" y="1993908"/>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995667" y="3779797"/>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2638800" y="3426200"/>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4370244" y="3789033"/>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6069104" y="3438786"/>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7776059" y="3793907"/>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4" name="TextBox 3">
            <a:extLst>
              <a:ext uri="{FF2B5EF4-FFF2-40B4-BE49-F238E27FC236}">
                <a16:creationId xmlns:a16="http://schemas.microsoft.com/office/drawing/2014/main" id="{44F0DA02-8912-0B6B-6F42-A974290D6CD4}"/>
              </a:ext>
            </a:extLst>
          </p:cNvPr>
          <p:cNvSpPr txBox="1"/>
          <p:nvPr userDrawn="1"/>
        </p:nvSpPr>
        <p:spPr>
          <a:xfrm>
            <a:off x="765581" y="4149717"/>
            <a:ext cx="1750641" cy="307777"/>
          </a:xfrm>
          <a:prstGeom prst="rect">
            <a:avLst/>
          </a:prstGeom>
          <a:noFill/>
        </p:spPr>
        <p:txBody>
          <a:bodyPr wrap="square" lIns="0" tIns="0" rIns="0" bIns="0" rtlCol="0">
            <a:spAutoFit/>
          </a:bodyPr>
          <a:lstStyle/>
          <a:p>
            <a:pPr algn="ctr"/>
            <a:r>
              <a:rPr lang="en-US" sz="2000" b="1"/>
              <a:t>20XX</a:t>
            </a:r>
          </a:p>
        </p:txBody>
      </p:sp>
      <p:sp>
        <p:nvSpPr>
          <p:cNvPr id="5" name="TextBox 4">
            <a:extLst>
              <a:ext uri="{FF2B5EF4-FFF2-40B4-BE49-F238E27FC236}">
                <a16:creationId xmlns:a16="http://schemas.microsoft.com/office/drawing/2014/main" id="{A49878B0-CF0A-802D-531E-1FCD7080CC56}"/>
              </a:ext>
            </a:extLst>
          </p:cNvPr>
          <p:cNvSpPr txBox="1"/>
          <p:nvPr userDrawn="1"/>
        </p:nvSpPr>
        <p:spPr>
          <a:xfrm>
            <a:off x="5936940" y="2972163"/>
            <a:ext cx="1724798" cy="307777"/>
          </a:xfrm>
          <a:prstGeom prst="rect">
            <a:avLst/>
          </a:prstGeom>
          <a:noFill/>
        </p:spPr>
        <p:txBody>
          <a:bodyPr wrap="square" lIns="0" tIns="0" rIns="0" bIns="0" rtlCol="0">
            <a:spAutoFit/>
          </a:bodyPr>
          <a:lstStyle/>
          <a:p>
            <a:pPr algn="ctr"/>
            <a:r>
              <a:rPr lang="en-US" sz="2000" b="1"/>
              <a:t>20XX</a:t>
            </a:r>
          </a:p>
        </p:txBody>
      </p:sp>
      <p:sp>
        <p:nvSpPr>
          <p:cNvPr id="19" name="Rectangle 18">
            <a:extLst>
              <a:ext uri="{FF2B5EF4-FFF2-40B4-BE49-F238E27FC236}">
                <a16:creationId xmlns:a16="http://schemas.microsoft.com/office/drawing/2014/main" id="{622F5348-07E7-C888-D291-A0D3B05C7F4F}"/>
              </a:ext>
            </a:extLst>
          </p:cNvPr>
          <p:cNvSpPr/>
          <p:nvPr userDrawn="1"/>
        </p:nvSpPr>
        <p:spPr>
          <a:xfrm>
            <a:off x="9376693" y="3367976"/>
            <a:ext cx="1715749"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0" name="Text Placeholder 7">
            <a:extLst>
              <a:ext uri="{FF2B5EF4-FFF2-40B4-BE49-F238E27FC236}">
                <a16:creationId xmlns:a16="http://schemas.microsoft.com/office/drawing/2014/main" id="{B0FE0DF9-6560-0B59-C4AC-CD6746790299}"/>
              </a:ext>
            </a:extLst>
          </p:cNvPr>
          <p:cNvSpPr>
            <a:spLocks noGrp="1"/>
          </p:cNvSpPr>
          <p:nvPr>
            <p:ph type="body" sz="quarter" idx="28" hasCustomPrompt="1"/>
          </p:nvPr>
        </p:nvSpPr>
        <p:spPr>
          <a:xfrm>
            <a:off x="9491410" y="3431845"/>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23" name="Text Placeholder 13">
            <a:extLst>
              <a:ext uri="{FF2B5EF4-FFF2-40B4-BE49-F238E27FC236}">
                <a16:creationId xmlns:a16="http://schemas.microsoft.com/office/drawing/2014/main" id="{90BBA5B1-2813-7ED1-260D-1FF9CA368C66}"/>
              </a:ext>
            </a:extLst>
          </p:cNvPr>
          <p:cNvSpPr>
            <a:spLocks noGrp="1"/>
          </p:cNvSpPr>
          <p:nvPr>
            <p:ph type="body" sz="quarter" idx="29" hasCustomPrompt="1"/>
          </p:nvPr>
        </p:nvSpPr>
        <p:spPr>
          <a:xfrm>
            <a:off x="9491410" y="4831317"/>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grpSp>
        <p:nvGrpSpPr>
          <p:cNvPr id="11" name="Group 10">
            <a:extLst>
              <a:ext uri="{FF2B5EF4-FFF2-40B4-BE49-F238E27FC236}">
                <a16:creationId xmlns:a16="http://schemas.microsoft.com/office/drawing/2014/main" id="{F194D94E-5449-DF2C-2F5D-D841479A4552}"/>
              </a:ext>
            </a:extLst>
          </p:cNvPr>
          <p:cNvGrpSpPr/>
          <p:nvPr userDrawn="1"/>
        </p:nvGrpSpPr>
        <p:grpSpPr>
          <a:xfrm>
            <a:off x="10863102" y="309052"/>
            <a:ext cx="911847" cy="382707"/>
            <a:chOff x="7459170" y="481236"/>
            <a:chExt cx="2697427" cy="1132124"/>
          </a:xfrm>
        </p:grpSpPr>
        <p:sp>
          <p:nvSpPr>
            <p:cNvPr id="12" name="Freeform 9">
              <a:extLst>
                <a:ext uri="{FF2B5EF4-FFF2-40B4-BE49-F238E27FC236}">
                  <a16:creationId xmlns:a16="http://schemas.microsoft.com/office/drawing/2014/main" id="{5063938E-0B76-EDB3-C856-B1D26E30B71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510523C-B26C-12B4-E2AF-3B2FADB3024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4">
              <a:extLst>
                <a:ext uri="{FF2B5EF4-FFF2-40B4-BE49-F238E27FC236}">
                  <a16:creationId xmlns:a16="http://schemas.microsoft.com/office/drawing/2014/main" id="{B611347A-35B6-6868-992F-74F2459D348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5" name="Freeform 18">
              <a:extLst>
                <a:ext uri="{FF2B5EF4-FFF2-40B4-BE49-F238E27FC236}">
                  <a16:creationId xmlns:a16="http://schemas.microsoft.com/office/drawing/2014/main" id="{1584A8E7-3350-8130-8892-4A6115F42B9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9">
              <a:extLst>
                <a:ext uri="{FF2B5EF4-FFF2-40B4-BE49-F238E27FC236}">
                  <a16:creationId xmlns:a16="http://schemas.microsoft.com/office/drawing/2014/main" id="{9FC97A09-E07F-2634-3993-456DE63ACE5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20">
              <a:extLst>
                <a:ext uri="{FF2B5EF4-FFF2-40B4-BE49-F238E27FC236}">
                  <a16:creationId xmlns:a16="http://schemas.microsoft.com/office/drawing/2014/main" id="{498EFFCC-05BE-6AB2-1D43-DEE4782261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FB7016B7-B1CC-C901-1DA5-7C83264A6C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24672847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meline layou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2" name="Text Placeholder 13">
            <a:extLst>
              <a:ext uri="{FF2B5EF4-FFF2-40B4-BE49-F238E27FC236}">
                <a16:creationId xmlns:a16="http://schemas.microsoft.com/office/drawing/2014/main" id="{9403280E-2FCD-DFB3-9FD2-AE04E9A540D7}"/>
              </a:ext>
            </a:extLst>
          </p:cNvPr>
          <p:cNvSpPr>
            <a:spLocks noGrp="1"/>
          </p:cNvSpPr>
          <p:nvPr>
            <p:ph type="body" sz="quarter" idx="15" hasCustomPrompt="1"/>
          </p:nvPr>
        </p:nvSpPr>
        <p:spPr>
          <a:xfrm>
            <a:off x="982735" y="4167972"/>
            <a:ext cx="2370062" cy="1166027"/>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4" name="Text Placeholder 13">
            <a:extLst>
              <a:ext uri="{FF2B5EF4-FFF2-40B4-BE49-F238E27FC236}">
                <a16:creationId xmlns:a16="http://schemas.microsoft.com/office/drawing/2014/main" id="{32572BE1-E5A3-FB50-10EC-64FCCE4D4966}"/>
              </a:ext>
            </a:extLst>
          </p:cNvPr>
          <p:cNvSpPr>
            <a:spLocks noGrp="1"/>
          </p:cNvSpPr>
          <p:nvPr>
            <p:ph type="body" sz="quarter" idx="17" hasCustomPrompt="1"/>
          </p:nvPr>
        </p:nvSpPr>
        <p:spPr>
          <a:xfrm>
            <a:off x="6327052" y="4167973"/>
            <a:ext cx="2283543" cy="116602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7" name="Text Placeholder 13">
            <a:extLst>
              <a:ext uri="{FF2B5EF4-FFF2-40B4-BE49-F238E27FC236}">
                <a16:creationId xmlns:a16="http://schemas.microsoft.com/office/drawing/2014/main" id="{EE7D7890-5E54-CD5A-DFED-1692582D89CF}"/>
              </a:ext>
            </a:extLst>
          </p:cNvPr>
          <p:cNvSpPr>
            <a:spLocks noGrp="1"/>
          </p:cNvSpPr>
          <p:nvPr>
            <p:ph type="body" sz="quarter" idx="18" hasCustomPrompt="1"/>
          </p:nvPr>
        </p:nvSpPr>
        <p:spPr>
          <a:xfrm>
            <a:off x="8959322" y="1974657"/>
            <a:ext cx="2061952" cy="1321765"/>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8" name="Rectangle 17">
            <a:extLst>
              <a:ext uri="{FF2B5EF4-FFF2-40B4-BE49-F238E27FC236}">
                <a16:creationId xmlns:a16="http://schemas.microsoft.com/office/drawing/2014/main" id="{9C162B7E-6DD2-0BDC-A754-B14190695F9D}"/>
              </a:ext>
            </a:extLst>
          </p:cNvPr>
          <p:cNvSpPr/>
          <p:nvPr userDrawn="1"/>
        </p:nvSpPr>
        <p:spPr>
          <a:xfrm>
            <a:off x="814558" y="3716322"/>
            <a:ext cx="2642616"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1" name="Rectangle 20">
            <a:extLst>
              <a:ext uri="{FF2B5EF4-FFF2-40B4-BE49-F238E27FC236}">
                <a16:creationId xmlns:a16="http://schemas.microsoft.com/office/drawing/2014/main" id="{501CD494-4588-D746-4872-F8ECD0F5AA38}"/>
              </a:ext>
            </a:extLst>
          </p:cNvPr>
          <p:cNvSpPr/>
          <p:nvPr userDrawn="1"/>
        </p:nvSpPr>
        <p:spPr>
          <a:xfrm>
            <a:off x="3457174" y="3356328"/>
            <a:ext cx="2642616"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4" name="Rectangle 23">
            <a:extLst>
              <a:ext uri="{FF2B5EF4-FFF2-40B4-BE49-F238E27FC236}">
                <a16:creationId xmlns:a16="http://schemas.microsoft.com/office/drawing/2014/main" id="{54D080DA-7928-FAB5-1EC5-E057D616B939}"/>
              </a:ext>
            </a:extLst>
          </p:cNvPr>
          <p:cNvSpPr/>
          <p:nvPr userDrawn="1"/>
        </p:nvSpPr>
        <p:spPr>
          <a:xfrm>
            <a:off x="6099790" y="3725164"/>
            <a:ext cx="2642616"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5" name="Rectangle 24">
            <a:extLst>
              <a:ext uri="{FF2B5EF4-FFF2-40B4-BE49-F238E27FC236}">
                <a16:creationId xmlns:a16="http://schemas.microsoft.com/office/drawing/2014/main" id="{000A0001-BCDB-B25A-6F7C-E3402F3D8D7E}"/>
              </a:ext>
            </a:extLst>
          </p:cNvPr>
          <p:cNvSpPr/>
          <p:nvPr userDrawn="1"/>
        </p:nvSpPr>
        <p:spPr>
          <a:xfrm>
            <a:off x="8742406" y="3360749"/>
            <a:ext cx="2642616"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7" name="Text Placeholder 13">
            <a:extLst>
              <a:ext uri="{FF2B5EF4-FFF2-40B4-BE49-F238E27FC236}">
                <a16:creationId xmlns:a16="http://schemas.microsoft.com/office/drawing/2014/main" id="{0304CF1B-DBF3-520C-6CC7-475CFF06D302}"/>
              </a:ext>
            </a:extLst>
          </p:cNvPr>
          <p:cNvSpPr>
            <a:spLocks noGrp="1"/>
          </p:cNvSpPr>
          <p:nvPr>
            <p:ph type="body" sz="quarter" idx="16" hasCustomPrompt="1"/>
          </p:nvPr>
        </p:nvSpPr>
        <p:spPr>
          <a:xfrm>
            <a:off x="3639186" y="1974657"/>
            <a:ext cx="2304413" cy="1317344"/>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995666" y="3779797"/>
            <a:ext cx="2355477" cy="218674"/>
          </a:xfrm>
        </p:spPr>
        <p:txBody>
          <a:bodyPr/>
          <a:lstStyle>
            <a:lvl1pPr algn="ctr">
              <a:spcBef>
                <a:spcPts val="0"/>
              </a:spcBef>
              <a:defRPr sz="1600" b="1">
                <a:solidFill>
                  <a:schemeClr val="bg1"/>
                </a:solidFill>
                <a:latin typeface="+mn-lt"/>
              </a:defRPr>
            </a:lvl1pPr>
          </a:lstStyle>
          <a:p>
            <a:pPr lvl="0"/>
            <a:r>
              <a:rPr lang="en-US"/>
              <a:t>Month</a:t>
            </a:r>
          </a:p>
        </p:txBody>
      </p:sp>
      <p:sp>
        <p:nvSpPr>
          <p:cNvPr id="29" name="Text Placeholder 7">
            <a:extLst>
              <a:ext uri="{FF2B5EF4-FFF2-40B4-BE49-F238E27FC236}">
                <a16:creationId xmlns:a16="http://schemas.microsoft.com/office/drawing/2014/main" id="{D5C43AC4-0D23-A3AB-8F06-9853C4F07A6D}"/>
              </a:ext>
            </a:extLst>
          </p:cNvPr>
          <p:cNvSpPr>
            <a:spLocks noGrp="1"/>
          </p:cNvSpPr>
          <p:nvPr>
            <p:ph type="body" sz="quarter" idx="22" hasCustomPrompt="1"/>
          </p:nvPr>
        </p:nvSpPr>
        <p:spPr>
          <a:xfrm>
            <a:off x="3663136" y="3426200"/>
            <a:ext cx="2280464" cy="231260"/>
          </a:xfrm>
        </p:spPr>
        <p:txBody>
          <a:bodyPr/>
          <a:lstStyle>
            <a:lvl1pPr algn="ctr">
              <a:spcBef>
                <a:spcPts val="0"/>
              </a:spcBef>
              <a:defRPr sz="1600" b="1">
                <a:solidFill>
                  <a:schemeClr val="bg1"/>
                </a:solidFill>
                <a:latin typeface="+mn-lt"/>
              </a:defRPr>
            </a:lvl1pPr>
          </a:lstStyle>
          <a:p>
            <a:pPr lvl="0"/>
            <a:r>
              <a:rPr lang="en-US"/>
              <a:t>Month</a:t>
            </a:r>
          </a:p>
        </p:txBody>
      </p:sp>
      <p:sp>
        <p:nvSpPr>
          <p:cNvPr id="30" name="Text Placeholder 7">
            <a:extLst>
              <a:ext uri="{FF2B5EF4-FFF2-40B4-BE49-F238E27FC236}">
                <a16:creationId xmlns:a16="http://schemas.microsoft.com/office/drawing/2014/main" id="{415DE312-7E3F-6B39-16EF-08573561B3C2}"/>
              </a:ext>
            </a:extLst>
          </p:cNvPr>
          <p:cNvSpPr>
            <a:spLocks noGrp="1"/>
          </p:cNvSpPr>
          <p:nvPr>
            <p:ph type="body" sz="quarter" idx="23" hasCustomPrompt="1"/>
          </p:nvPr>
        </p:nvSpPr>
        <p:spPr>
          <a:xfrm>
            <a:off x="6329230" y="3789033"/>
            <a:ext cx="2084631" cy="218674"/>
          </a:xfrm>
        </p:spPr>
        <p:txBody>
          <a:bodyPr/>
          <a:lstStyle>
            <a:lvl1pPr algn="ctr">
              <a:spcBef>
                <a:spcPts val="0"/>
              </a:spcBef>
              <a:defRPr sz="1600" b="1">
                <a:solidFill>
                  <a:schemeClr val="bg1"/>
                </a:solidFill>
                <a:latin typeface="+mn-lt"/>
              </a:defRPr>
            </a:lvl1pPr>
          </a:lstStyle>
          <a:p>
            <a:pPr lvl="0"/>
            <a:r>
              <a:rPr lang="en-US"/>
              <a:t>Month</a:t>
            </a:r>
          </a:p>
        </p:txBody>
      </p:sp>
      <p:sp>
        <p:nvSpPr>
          <p:cNvPr id="31" name="Text Placeholder 7">
            <a:extLst>
              <a:ext uri="{FF2B5EF4-FFF2-40B4-BE49-F238E27FC236}">
                <a16:creationId xmlns:a16="http://schemas.microsoft.com/office/drawing/2014/main" id="{03FDE538-4706-D515-DFE3-D98AF60BA661}"/>
              </a:ext>
            </a:extLst>
          </p:cNvPr>
          <p:cNvSpPr>
            <a:spLocks noGrp="1"/>
          </p:cNvSpPr>
          <p:nvPr>
            <p:ph type="body" sz="quarter" idx="24" hasCustomPrompt="1"/>
          </p:nvPr>
        </p:nvSpPr>
        <p:spPr>
          <a:xfrm>
            <a:off x="8936643" y="3438786"/>
            <a:ext cx="2084631" cy="218674"/>
          </a:xfrm>
        </p:spPr>
        <p:txBody>
          <a:bodyPr/>
          <a:lstStyle>
            <a:lvl1pPr algn="ctr">
              <a:spcBef>
                <a:spcPts val="0"/>
              </a:spcBef>
              <a:defRPr sz="1600" b="1">
                <a:solidFill>
                  <a:schemeClr val="bg1"/>
                </a:solidFill>
                <a:latin typeface="+mn-lt"/>
              </a:defRPr>
            </a:lvl1pPr>
          </a:lstStyle>
          <a:p>
            <a:pPr lvl="0"/>
            <a:r>
              <a:rPr lang="en-US"/>
              <a:t>Month</a:t>
            </a:r>
          </a:p>
        </p:txBody>
      </p:sp>
      <p:cxnSp>
        <p:nvCxnSpPr>
          <p:cNvPr id="36" name="Straight Connector 35">
            <a:extLst>
              <a:ext uri="{FF2B5EF4-FFF2-40B4-BE49-F238E27FC236}">
                <a16:creationId xmlns:a16="http://schemas.microsoft.com/office/drawing/2014/main" id="{DB491020-BFE9-342E-62B1-E51B61F5123A}"/>
              </a:ext>
            </a:extLst>
          </p:cNvPr>
          <p:cNvCxnSpPr/>
          <p:nvPr userDrawn="1"/>
        </p:nvCxnSpPr>
        <p:spPr>
          <a:xfrm>
            <a:off x="814558" y="3716322"/>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10144E3-7EC6-11AC-C3EA-A997D8F496DA}"/>
              </a:ext>
            </a:extLst>
          </p:cNvPr>
          <p:cNvCxnSpPr/>
          <p:nvPr userDrawn="1"/>
        </p:nvCxnSpPr>
        <p:spPr>
          <a:xfrm>
            <a:off x="3457174" y="1808522"/>
            <a:ext cx="0" cy="161767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1D93720-BD62-9546-7818-EE23AD0461B5}"/>
              </a:ext>
            </a:extLst>
          </p:cNvPr>
          <p:cNvCxnSpPr/>
          <p:nvPr userDrawn="1"/>
        </p:nvCxnSpPr>
        <p:spPr>
          <a:xfrm>
            <a:off x="6096000" y="3725164"/>
            <a:ext cx="0" cy="1617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A1150A4-CA3A-4DB0-87F1-07A970361641}"/>
              </a:ext>
            </a:extLst>
          </p:cNvPr>
          <p:cNvCxnSpPr/>
          <p:nvPr userDrawn="1"/>
        </p:nvCxnSpPr>
        <p:spPr>
          <a:xfrm>
            <a:off x="8755647" y="1974657"/>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026655DE-0164-0DED-C40B-FFF77F1BA55C}"/>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A1D00D42-B029-31EA-77EE-132DA59FD987}"/>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5E606B4B-B7EF-3DE8-FF5E-A458B5079D1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B327A4D6-7FD4-DB4F-0421-0ADA39E3350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757FF84E-14EC-EEC2-F3C3-30269E224430}"/>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ADC73BCD-A2E5-F03F-C837-59728964EB0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25E1581B-5F1B-DD87-25F9-76DAEF82AEE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A16E0349-A2F4-E3C0-A57E-1E42F5F0B6B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84036007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meline layou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2" name="Text Placeholder 13">
            <a:extLst>
              <a:ext uri="{FF2B5EF4-FFF2-40B4-BE49-F238E27FC236}">
                <a16:creationId xmlns:a16="http://schemas.microsoft.com/office/drawing/2014/main" id="{9403280E-2FCD-DFB3-9FD2-AE04E9A540D7}"/>
              </a:ext>
            </a:extLst>
          </p:cNvPr>
          <p:cNvSpPr>
            <a:spLocks noGrp="1"/>
          </p:cNvSpPr>
          <p:nvPr>
            <p:ph type="body" sz="quarter" idx="15" hasCustomPrompt="1"/>
          </p:nvPr>
        </p:nvSpPr>
        <p:spPr>
          <a:xfrm>
            <a:off x="914400" y="4167972"/>
            <a:ext cx="2000356" cy="1166027"/>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4" name="Text Placeholder 13">
            <a:extLst>
              <a:ext uri="{FF2B5EF4-FFF2-40B4-BE49-F238E27FC236}">
                <a16:creationId xmlns:a16="http://schemas.microsoft.com/office/drawing/2014/main" id="{32572BE1-E5A3-FB50-10EC-64FCCE4D4966}"/>
              </a:ext>
            </a:extLst>
          </p:cNvPr>
          <p:cNvSpPr>
            <a:spLocks noGrp="1"/>
          </p:cNvSpPr>
          <p:nvPr>
            <p:ph type="body" sz="quarter" idx="17" hasCustomPrompt="1"/>
          </p:nvPr>
        </p:nvSpPr>
        <p:spPr>
          <a:xfrm>
            <a:off x="5237790" y="4167973"/>
            <a:ext cx="1927333" cy="116602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7" name="Text Placeholder 13">
            <a:extLst>
              <a:ext uri="{FF2B5EF4-FFF2-40B4-BE49-F238E27FC236}">
                <a16:creationId xmlns:a16="http://schemas.microsoft.com/office/drawing/2014/main" id="{EE7D7890-5E54-CD5A-DFED-1692582D89CF}"/>
              </a:ext>
            </a:extLst>
          </p:cNvPr>
          <p:cNvSpPr>
            <a:spLocks noGrp="1"/>
          </p:cNvSpPr>
          <p:nvPr>
            <p:ph type="body" sz="quarter" idx="18" hasCustomPrompt="1"/>
          </p:nvPr>
        </p:nvSpPr>
        <p:spPr>
          <a:xfrm>
            <a:off x="7478415" y="1970236"/>
            <a:ext cx="1874223" cy="1321765"/>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8" name="Rectangle 17">
            <a:extLst>
              <a:ext uri="{FF2B5EF4-FFF2-40B4-BE49-F238E27FC236}">
                <a16:creationId xmlns:a16="http://schemas.microsoft.com/office/drawing/2014/main" id="{9C162B7E-6DD2-0BDC-A754-B14190695F9D}"/>
              </a:ext>
            </a:extLst>
          </p:cNvPr>
          <p:cNvSpPr/>
          <p:nvPr userDrawn="1"/>
        </p:nvSpPr>
        <p:spPr>
          <a:xfrm>
            <a:off x="817606" y="3716322"/>
            <a:ext cx="2173887"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1" name="Rectangle 20">
            <a:extLst>
              <a:ext uri="{FF2B5EF4-FFF2-40B4-BE49-F238E27FC236}">
                <a16:creationId xmlns:a16="http://schemas.microsoft.com/office/drawing/2014/main" id="{501CD494-4588-D746-4872-F8ECD0F5AA38}"/>
              </a:ext>
            </a:extLst>
          </p:cNvPr>
          <p:cNvSpPr/>
          <p:nvPr userDrawn="1"/>
        </p:nvSpPr>
        <p:spPr>
          <a:xfrm>
            <a:off x="2991493" y="3356328"/>
            <a:ext cx="2173887"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4" name="Rectangle 23">
            <a:extLst>
              <a:ext uri="{FF2B5EF4-FFF2-40B4-BE49-F238E27FC236}">
                <a16:creationId xmlns:a16="http://schemas.microsoft.com/office/drawing/2014/main" id="{54D080DA-7928-FAB5-1EC5-E057D616B939}"/>
              </a:ext>
            </a:extLst>
          </p:cNvPr>
          <p:cNvSpPr/>
          <p:nvPr userDrawn="1"/>
        </p:nvSpPr>
        <p:spPr>
          <a:xfrm>
            <a:off x="5165380" y="3725164"/>
            <a:ext cx="2173887"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5" name="Rectangle 24">
            <a:extLst>
              <a:ext uri="{FF2B5EF4-FFF2-40B4-BE49-F238E27FC236}">
                <a16:creationId xmlns:a16="http://schemas.microsoft.com/office/drawing/2014/main" id="{000A0001-BCDB-B25A-6F7C-E3402F3D8D7E}"/>
              </a:ext>
            </a:extLst>
          </p:cNvPr>
          <p:cNvSpPr/>
          <p:nvPr userDrawn="1"/>
        </p:nvSpPr>
        <p:spPr>
          <a:xfrm>
            <a:off x="7358943" y="3356328"/>
            <a:ext cx="2173887"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7" name="Text Placeholder 13">
            <a:extLst>
              <a:ext uri="{FF2B5EF4-FFF2-40B4-BE49-F238E27FC236}">
                <a16:creationId xmlns:a16="http://schemas.microsoft.com/office/drawing/2014/main" id="{0304CF1B-DBF3-520C-6CC7-475CFF06D302}"/>
              </a:ext>
            </a:extLst>
          </p:cNvPr>
          <p:cNvSpPr>
            <a:spLocks noGrp="1"/>
          </p:cNvSpPr>
          <p:nvPr>
            <p:ph type="body" sz="quarter" idx="16" hasCustomPrompt="1"/>
          </p:nvPr>
        </p:nvSpPr>
        <p:spPr>
          <a:xfrm>
            <a:off x="3072034" y="1974657"/>
            <a:ext cx="1944947" cy="1317344"/>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927332" y="3779797"/>
            <a:ext cx="1937679" cy="218674"/>
          </a:xfrm>
        </p:spPr>
        <p:txBody>
          <a:bodyPr/>
          <a:lstStyle>
            <a:lvl1pPr algn="ctr">
              <a:spcBef>
                <a:spcPts val="0"/>
              </a:spcBef>
              <a:defRPr sz="1600" b="1">
                <a:solidFill>
                  <a:schemeClr val="bg1"/>
                </a:solidFill>
                <a:latin typeface="+mn-lt"/>
              </a:defRPr>
            </a:lvl1pPr>
          </a:lstStyle>
          <a:p>
            <a:pPr lvl="0"/>
            <a:r>
              <a:rPr lang="en-US"/>
              <a:t>Month</a:t>
            </a:r>
          </a:p>
        </p:txBody>
      </p:sp>
      <p:sp>
        <p:nvSpPr>
          <p:cNvPr id="29" name="Text Placeholder 7">
            <a:extLst>
              <a:ext uri="{FF2B5EF4-FFF2-40B4-BE49-F238E27FC236}">
                <a16:creationId xmlns:a16="http://schemas.microsoft.com/office/drawing/2014/main" id="{D5C43AC4-0D23-A3AB-8F06-9853C4F07A6D}"/>
              </a:ext>
            </a:extLst>
          </p:cNvPr>
          <p:cNvSpPr>
            <a:spLocks noGrp="1"/>
          </p:cNvSpPr>
          <p:nvPr>
            <p:ph type="body" sz="quarter" idx="22" hasCustomPrompt="1"/>
          </p:nvPr>
        </p:nvSpPr>
        <p:spPr>
          <a:xfrm>
            <a:off x="3095985" y="3426200"/>
            <a:ext cx="1875971" cy="231260"/>
          </a:xfrm>
        </p:spPr>
        <p:txBody>
          <a:bodyPr/>
          <a:lstStyle>
            <a:lvl1pPr algn="ctr">
              <a:spcBef>
                <a:spcPts val="0"/>
              </a:spcBef>
              <a:defRPr sz="1600" b="1">
                <a:solidFill>
                  <a:schemeClr val="bg1"/>
                </a:solidFill>
                <a:latin typeface="+mn-lt"/>
              </a:defRPr>
            </a:lvl1pPr>
          </a:lstStyle>
          <a:p>
            <a:pPr lvl="0"/>
            <a:r>
              <a:rPr lang="en-US"/>
              <a:t>Month</a:t>
            </a:r>
          </a:p>
        </p:txBody>
      </p:sp>
      <p:sp>
        <p:nvSpPr>
          <p:cNvPr id="30" name="Text Placeholder 7">
            <a:extLst>
              <a:ext uri="{FF2B5EF4-FFF2-40B4-BE49-F238E27FC236}">
                <a16:creationId xmlns:a16="http://schemas.microsoft.com/office/drawing/2014/main" id="{415DE312-7E3F-6B39-16EF-08573561B3C2}"/>
              </a:ext>
            </a:extLst>
          </p:cNvPr>
          <p:cNvSpPr>
            <a:spLocks noGrp="1"/>
          </p:cNvSpPr>
          <p:nvPr>
            <p:ph type="body" sz="quarter" idx="23" hasCustomPrompt="1"/>
          </p:nvPr>
        </p:nvSpPr>
        <p:spPr>
          <a:xfrm>
            <a:off x="5239969" y="3789033"/>
            <a:ext cx="1925154" cy="207661"/>
          </a:xfrm>
        </p:spPr>
        <p:txBody>
          <a:bodyPr/>
          <a:lstStyle>
            <a:lvl1pPr algn="ctr">
              <a:spcBef>
                <a:spcPts val="0"/>
              </a:spcBef>
              <a:defRPr sz="1600" b="1">
                <a:solidFill>
                  <a:schemeClr val="bg1"/>
                </a:solidFill>
                <a:latin typeface="+mn-lt"/>
              </a:defRPr>
            </a:lvl1pPr>
          </a:lstStyle>
          <a:p>
            <a:pPr lvl="0"/>
            <a:r>
              <a:rPr lang="en-US"/>
              <a:t>Month</a:t>
            </a:r>
          </a:p>
        </p:txBody>
      </p:sp>
      <p:sp>
        <p:nvSpPr>
          <p:cNvPr id="31" name="Text Placeholder 7">
            <a:extLst>
              <a:ext uri="{FF2B5EF4-FFF2-40B4-BE49-F238E27FC236}">
                <a16:creationId xmlns:a16="http://schemas.microsoft.com/office/drawing/2014/main" id="{03FDE538-4706-D515-DFE3-D98AF60BA661}"/>
              </a:ext>
            </a:extLst>
          </p:cNvPr>
          <p:cNvSpPr>
            <a:spLocks noGrp="1"/>
          </p:cNvSpPr>
          <p:nvPr>
            <p:ph type="body" sz="quarter" idx="24" hasCustomPrompt="1"/>
          </p:nvPr>
        </p:nvSpPr>
        <p:spPr>
          <a:xfrm>
            <a:off x="7455737" y="3426200"/>
            <a:ext cx="1896908" cy="226839"/>
          </a:xfrm>
        </p:spPr>
        <p:txBody>
          <a:bodyPr/>
          <a:lstStyle>
            <a:lvl1pPr algn="ctr">
              <a:spcBef>
                <a:spcPts val="0"/>
              </a:spcBef>
              <a:defRPr sz="1600" b="1">
                <a:solidFill>
                  <a:schemeClr val="bg1"/>
                </a:solidFill>
                <a:latin typeface="+mn-lt"/>
              </a:defRPr>
            </a:lvl1pPr>
          </a:lstStyle>
          <a:p>
            <a:pPr lvl="0"/>
            <a:r>
              <a:rPr lang="en-US"/>
              <a:t>Month</a:t>
            </a:r>
          </a:p>
        </p:txBody>
      </p:sp>
      <p:cxnSp>
        <p:nvCxnSpPr>
          <p:cNvPr id="36" name="Straight Connector 35">
            <a:extLst>
              <a:ext uri="{FF2B5EF4-FFF2-40B4-BE49-F238E27FC236}">
                <a16:creationId xmlns:a16="http://schemas.microsoft.com/office/drawing/2014/main" id="{DB491020-BFE9-342E-62B1-E51B61F5123A}"/>
              </a:ext>
            </a:extLst>
          </p:cNvPr>
          <p:cNvCxnSpPr>
            <a:cxnSpLocks/>
          </p:cNvCxnSpPr>
          <p:nvPr userDrawn="1"/>
        </p:nvCxnSpPr>
        <p:spPr>
          <a:xfrm>
            <a:off x="814558" y="3716322"/>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10144E3-7EC6-11AC-C3EA-A997D8F496DA}"/>
              </a:ext>
            </a:extLst>
          </p:cNvPr>
          <p:cNvCxnSpPr>
            <a:cxnSpLocks/>
          </p:cNvCxnSpPr>
          <p:nvPr userDrawn="1"/>
        </p:nvCxnSpPr>
        <p:spPr>
          <a:xfrm>
            <a:off x="2991493" y="1808522"/>
            <a:ext cx="0" cy="161767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1D93720-BD62-9546-7818-EE23AD0461B5}"/>
              </a:ext>
            </a:extLst>
          </p:cNvPr>
          <p:cNvCxnSpPr>
            <a:cxnSpLocks/>
          </p:cNvCxnSpPr>
          <p:nvPr userDrawn="1"/>
        </p:nvCxnSpPr>
        <p:spPr>
          <a:xfrm>
            <a:off x="5161590" y="3725164"/>
            <a:ext cx="0" cy="1617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A1150A4-CA3A-4DB0-87F1-07A970361641}"/>
              </a:ext>
            </a:extLst>
          </p:cNvPr>
          <p:cNvCxnSpPr>
            <a:cxnSpLocks/>
          </p:cNvCxnSpPr>
          <p:nvPr userDrawn="1"/>
        </p:nvCxnSpPr>
        <p:spPr>
          <a:xfrm>
            <a:off x="7372184" y="1970236"/>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7E0D13C8-3592-C280-CE46-204C78CC348E}"/>
              </a:ext>
            </a:extLst>
          </p:cNvPr>
          <p:cNvSpPr>
            <a:spLocks noGrp="1"/>
          </p:cNvSpPr>
          <p:nvPr>
            <p:ph type="body" sz="quarter" idx="25" hasCustomPrompt="1"/>
          </p:nvPr>
        </p:nvSpPr>
        <p:spPr>
          <a:xfrm>
            <a:off x="9613691" y="4156960"/>
            <a:ext cx="1927333" cy="116602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5" name="Rectangle 14">
            <a:extLst>
              <a:ext uri="{FF2B5EF4-FFF2-40B4-BE49-F238E27FC236}">
                <a16:creationId xmlns:a16="http://schemas.microsoft.com/office/drawing/2014/main" id="{1CBEB14D-5BA5-643D-3888-51C635CEC8B1}"/>
              </a:ext>
            </a:extLst>
          </p:cNvPr>
          <p:cNvSpPr/>
          <p:nvPr userDrawn="1"/>
        </p:nvSpPr>
        <p:spPr>
          <a:xfrm>
            <a:off x="9541281" y="3714151"/>
            <a:ext cx="2173887"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19" name="Text Placeholder 7">
            <a:extLst>
              <a:ext uri="{FF2B5EF4-FFF2-40B4-BE49-F238E27FC236}">
                <a16:creationId xmlns:a16="http://schemas.microsoft.com/office/drawing/2014/main" id="{06E2C579-4B66-6E6F-A0FC-DB5166F06A78}"/>
              </a:ext>
            </a:extLst>
          </p:cNvPr>
          <p:cNvSpPr>
            <a:spLocks noGrp="1"/>
          </p:cNvSpPr>
          <p:nvPr>
            <p:ph type="body" sz="quarter" idx="26" hasCustomPrompt="1"/>
          </p:nvPr>
        </p:nvSpPr>
        <p:spPr>
          <a:xfrm>
            <a:off x="9615870" y="3778020"/>
            <a:ext cx="1921364" cy="218674"/>
          </a:xfrm>
        </p:spPr>
        <p:txBody>
          <a:bodyPr/>
          <a:lstStyle>
            <a:lvl1pPr algn="ctr">
              <a:spcBef>
                <a:spcPts val="0"/>
              </a:spcBef>
              <a:defRPr sz="1600" b="1">
                <a:solidFill>
                  <a:schemeClr val="bg1"/>
                </a:solidFill>
                <a:latin typeface="+mn-lt"/>
              </a:defRPr>
            </a:lvl1pPr>
          </a:lstStyle>
          <a:p>
            <a:pPr lvl="0"/>
            <a:r>
              <a:rPr lang="en-US"/>
              <a:t>Month</a:t>
            </a:r>
          </a:p>
        </p:txBody>
      </p:sp>
      <p:cxnSp>
        <p:nvCxnSpPr>
          <p:cNvPr id="20" name="Straight Connector 19">
            <a:extLst>
              <a:ext uri="{FF2B5EF4-FFF2-40B4-BE49-F238E27FC236}">
                <a16:creationId xmlns:a16="http://schemas.microsoft.com/office/drawing/2014/main" id="{A862AABA-58A5-CF8D-D0C4-B554C5749D36}"/>
              </a:ext>
            </a:extLst>
          </p:cNvPr>
          <p:cNvCxnSpPr>
            <a:cxnSpLocks/>
          </p:cNvCxnSpPr>
          <p:nvPr userDrawn="1"/>
        </p:nvCxnSpPr>
        <p:spPr>
          <a:xfrm>
            <a:off x="9537491" y="3714151"/>
            <a:ext cx="0" cy="1617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BB24D12-2B2D-2D76-EE69-66617B5D3003}"/>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CD563FF0-2D11-74C6-7C52-18A30C8FD54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351CFE62-B9E2-58A9-36DB-8BC807FE1D6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C52DFA7F-49E3-C63D-0541-0BD497A67ED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FAF8086D-5841-5275-288F-0DC42AB9470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BB2AD928-C0A8-B4CC-7B0F-3E978952548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7B02FCF4-CF98-E4B5-FD59-FE20C4C13D2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95F2895F-39E5-589F-3F8C-592D0A9C3A8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6280065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ue">
    <p:bg>
      <p:bgPr>
        <a:solidFill>
          <a:srgbClr val="009CDE"/>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1A2844F0-C6AD-56C8-EBE3-ADAAFB49AC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572"/>
          </a:xfrm>
          <a:prstGeom prst="rect">
            <a:avLst/>
          </a:prstGeom>
        </p:spPr>
      </p:pic>
      <p:sp>
        <p:nvSpPr>
          <p:cNvPr id="5" name="PoP">
            <a:extLst>
              <a:ext uri="{FF2B5EF4-FFF2-40B4-BE49-F238E27FC236}">
                <a16:creationId xmlns:a16="http://schemas.microsoft.com/office/drawing/2014/main" id="{38944547-6E47-6086-504B-25DE7F63102C}"/>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3421425144"/>
      </p:ext>
    </p:extLst>
  </p:cSld>
  <p:clrMapOvr>
    <a:overrideClrMapping bg1="dk1" tx1="lt1" bg2="dk2" tx2="lt2" accent1="accent1" accent2="accent2" accent3="accent3" accent4="accent4" accent5="accent5" accent6="accent6" hlink="hlink" folHlink="folHlink"/>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meline layou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2" name="Text Placeholder 13">
            <a:extLst>
              <a:ext uri="{FF2B5EF4-FFF2-40B4-BE49-F238E27FC236}">
                <a16:creationId xmlns:a16="http://schemas.microsoft.com/office/drawing/2014/main" id="{9403280E-2FCD-DFB3-9FD2-AE04E9A540D7}"/>
              </a:ext>
            </a:extLst>
          </p:cNvPr>
          <p:cNvSpPr>
            <a:spLocks noGrp="1"/>
          </p:cNvSpPr>
          <p:nvPr>
            <p:ph type="body" sz="quarter" idx="15" hasCustomPrompt="1"/>
          </p:nvPr>
        </p:nvSpPr>
        <p:spPr>
          <a:xfrm>
            <a:off x="811527" y="4632706"/>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1018195" y="2848248"/>
            <a:ext cx="836830" cy="278566"/>
          </a:xfrm>
        </p:spPr>
        <p:txBody>
          <a:bodyPr/>
          <a:lstStyle>
            <a:lvl1pPr algn="ctr">
              <a:spcBef>
                <a:spcPts val="0"/>
              </a:spcBef>
              <a:defRPr sz="1600" b="1">
                <a:solidFill>
                  <a:schemeClr val="tx1"/>
                </a:solidFill>
                <a:latin typeface="+mn-lt"/>
              </a:defRPr>
            </a:lvl1pPr>
          </a:lstStyle>
          <a:p>
            <a:pPr lvl="0"/>
            <a:r>
              <a:rPr lang="en-US"/>
              <a:t>Month</a:t>
            </a:r>
          </a:p>
        </p:txBody>
      </p:sp>
      <p:cxnSp>
        <p:nvCxnSpPr>
          <p:cNvPr id="5" name="Straight Connector 4">
            <a:extLst>
              <a:ext uri="{FF2B5EF4-FFF2-40B4-BE49-F238E27FC236}">
                <a16:creationId xmlns:a16="http://schemas.microsoft.com/office/drawing/2014/main" id="{AE09EE46-E0D2-8875-289B-BB965DB35AD8}"/>
              </a:ext>
            </a:extLst>
          </p:cNvPr>
          <p:cNvCxnSpPr>
            <a:cxnSpLocks/>
          </p:cNvCxnSpPr>
          <p:nvPr/>
        </p:nvCxnSpPr>
        <p:spPr>
          <a:xfrm flipH="1">
            <a:off x="1414181" y="3548771"/>
            <a:ext cx="17299" cy="976913"/>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45C6E6A-656C-B776-A9EC-266DC79A4F43}"/>
              </a:ext>
            </a:extLst>
          </p:cNvPr>
          <p:cNvCxnSpPr>
            <a:cxnSpLocks/>
          </p:cNvCxnSpPr>
          <p:nvPr/>
        </p:nvCxnSpPr>
        <p:spPr>
          <a:xfrm flipH="1">
            <a:off x="2770377" y="3509438"/>
            <a:ext cx="32252" cy="155848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CCA59D9-74D3-83E3-F6E2-74908388686B}"/>
              </a:ext>
            </a:extLst>
          </p:cNvPr>
          <p:cNvCxnSpPr>
            <a:cxnSpLocks/>
          </p:cNvCxnSpPr>
          <p:nvPr/>
        </p:nvCxnSpPr>
        <p:spPr>
          <a:xfrm flipH="1">
            <a:off x="4074679" y="3548771"/>
            <a:ext cx="17299" cy="976913"/>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9ADFADF-1A28-B738-466E-E2E7857C3070}"/>
              </a:ext>
            </a:extLst>
          </p:cNvPr>
          <p:cNvCxnSpPr>
            <a:cxnSpLocks/>
          </p:cNvCxnSpPr>
          <p:nvPr/>
        </p:nvCxnSpPr>
        <p:spPr>
          <a:xfrm flipH="1">
            <a:off x="5430875" y="3509438"/>
            <a:ext cx="32252" cy="155848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259F193-4748-038C-7CCA-0957D5412C69}"/>
              </a:ext>
            </a:extLst>
          </p:cNvPr>
          <p:cNvCxnSpPr>
            <a:cxnSpLocks/>
          </p:cNvCxnSpPr>
          <p:nvPr/>
        </p:nvCxnSpPr>
        <p:spPr>
          <a:xfrm flipH="1">
            <a:off x="6735177" y="3548771"/>
            <a:ext cx="17299" cy="976913"/>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848F43D-C4FA-5E73-078B-417F436790A6}"/>
              </a:ext>
            </a:extLst>
          </p:cNvPr>
          <p:cNvCxnSpPr>
            <a:cxnSpLocks/>
          </p:cNvCxnSpPr>
          <p:nvPr/>
        </p:nvCxnSpPr>
        <p:spPr>
          <a:xfrm flipH="1">
            <a:off x="9395675" y="3548771"/>
            <a:ext cx="17299" cy="976913"/>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96D8DDA-7D40-8B32-7043-CE31BCFC5F6D}"/>
              </a:ext>
            </a:extLst>
          </p:cNvPr>
          <p:cNvCxnSpPr>
            <a:cxnSpLocks/>
          </p:cNvCxnSpPr>
          <p:nvPr/>
        </p:nvCxnSpPr>
        <p:spPr>
          <a:xfrm flipH="1">
            <a:off x="8091373" y="3509438"/>
            <a:ext cx="32252" cy="155848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C290974-47D8-72F4-D1D0-3EACA05B3ED6}"/>
              </a:ext>
            </a:extLst>
          </p:cNvPr>
          <p:cNvCxnSpPr>
            <a:cxnSpLocks/>
          </p:cNvCxnSpPr>
          <p:nvPr/>
        </p:nvCxnSpPr>
        <p:spPr>
          <a:xfrm flipH="1">
            <a:off x="10751873" y="3509438"/>
            <a:ext cx="32252" cy="155848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380734E2-EE37-64C8-51E7-B7B3F4AB895E}"/>
              </a:ext>
            </a:extLst>
          </p:cNvPr>
          <p:cNvGrpSpPr/>
          <p:nvPr userDrawn="1"/>
        </p:nvGrpSpPr>
        <p:grpSpPr>
          <a:xfrm>
            <a:off x="814557" y="2289019"/>
            <a:ext cx="10621792" cy="1337130"/>
            <a:chOff x="814558" y="2289019"/>
            <a:chExt cx="8485412" cy="1068191"/>
          </a:xfrm>
        </p:grpSpPr>
        <p:sp>
          <p:nvSpPr>
            <p:cNvPr id="50" name="Freeform 49">
              <a:extLst>
                <a:ext uri="{FF2B5EF4-FFF2-40B4-BE49-F238E27FC236}">
                  <a16:creationId xmlns:a16="http://schemas.microsoft.com/office/drawing/2014/main" id="{825967E4-003B-6087-AA86-C2D4BC3742D9}"/>
                </a:ext>
              </a:extLst>
            </p:cNvPr>
            <p:cNvSpPr/>
            <p:nvPr/>
          </p:nvSpPr>
          <p:spPr>
            <a:xfrm rot="5400000">
              <a:off x="612545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51" name="Freeform 50">
              <a:extLst>
                <a:ext uri="{FF2B5EF4-FFF2-40B4-BE49-F238E27FC236}">
                  <a16:creationId xmlns:a16="http://schemas.microsoft.com/office/drawing/2014/main" id="{5DB58AC3-1A20-A44C-8422-27B9335BB8C3}"/>
                </a:ext>
              </a:extLst>
            </p:cNvPr>
            <p:cNvSpPr/>
            <p:nvPr/>
          </p:nvSpPr>
          <p:spPr>
            <a:xfrm rot="5400000">
              <a:off x="7193644"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bg2"/>
            </a:solidFill>
            <a:ln w="18131" cap="flat">
              <a:noFill/>
              <a:prstDash val="solid"/>
              <a:miter/>
            </a:ln>
          </p:spPr>
          <p:txBody>
            <a:bodyPr rtlCol="0" anchor="ctr"/>
            <a:lstStyle/>
            <a:p>
              <a:endParaRPr lang="en-GB"/>
            </a:p>
          </p:txBody>
        </p:sp>
        <p:sp>
          <p:nvSpPr>
            <p:cNvPr id="52" name="Freeform 51">
              <a:extLst>
                <a:ext uri="{FF2B5EF4-FFF2-40B4-BE49-F238E27FC236}">
                  <a16:creationId xmlns:a16="http://schemas.microsoft.com/office/drawing/2014/main" id="{518C3EC2-33A3-B497-E1FD-E97BD7C74241}"/>
                </a:ext>
              </a:extLst>
            </p:cNvPr>
            <p:cNvSpPr/>
            <p:nvPr/>
          </p:nvSpPr>
          <p:spPr>
            <a:xfrm rot="5400000">
              <a:off x="826183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accent1"/>
            </a:solidFill>
            <a:ln w="18131" cap="flat">
              <a:noFill/>
              <a:prstDash val="solid"/>
              <a:miter/>
            </a:ln>
          </p:spPr>
          <p:txBody>
            <a:bodyPr rtlCol="0" anchor="ctr"/>
            <a:lstStyle/>
            <a:p>
              <a:endParaRPr lang="en-GB"/>
            </a:p>
          </p:txBody>
        </p:sp>
        <p:sp>
          <p:nvSpPr>
            <p:cNvPr id="69" name="Freeform 68">
              <a:extLst>
                <a:ext uri="{FF2B5EF4-FFF2-40B4-BE49-F238E27FC236}">
                  <a16:creationId xmlns:a16="http://schemas.microsoft.com/office/drawing/2014/main" id="{5A5BCE02-9832-3CF9-F3AD-B9F218CDFC14}"/>
                </a:ext>
              </a:extLst>
            </p:cNvPr>
            <p:cNvSpPr/>
            <p:nvPr/>
          </p:nvSpPr>
          <p:spPr>
            <a:xfrm rot="5400000">
              <a:off x="78450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sp>
          <p:nvSpPr>
            <p:cNvPr id="67" name="Freeform 66">
              <a:extLst>
                <a:ext uri="{FF2B5EF4-FFF2-40B4-BE49-F238E27FC236}">
                  <a16:creationId xmlns:a16="http://schemas.microsoft.com/office/drawing/2014/main" id="{2AA7D64E-1783-6A8F-5DBE-E252297CB2D1}"/>
                </a:ext>
              </a:extLst>
            </p:cNvPr>
            <p:cNvSpPr/>
            <p:nvPr/>
          </p:nvSpPr>
          <p:spPr>
            <a:xfrm rot="5400000">
              <a:off x="185269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65" name="Freeform 64">
              <a:extLst>
                <a:ext uri="{FF2B5EF4-FFF2-40B4-BE49-F238E27FC236}">
                  <a16:creationId xmlns:a16="http://schemas.microsoft.com/office/drawing/2014/main" id="{A4849390-0335-E438-0C15-13F926F11AB7}"/>
                </a:ext>
              </a:extLst>
            </p:cNvPr>
            <p:cNvSpPr/>
            <p:nvPr/>
          </p:nvSpPr>
          <p:spPr>
            <a:xfrm rot="5400000">
              <a:off x="2920884"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bg2"/>
            </a:solidFill>
            <a:ln w="18131"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67ADB5B2-3954-03ED-E673-C958885E2976}"/>
                </a:ext>
              </a:extLst>
            </p:cNvPr>
            <p:cNvSpPr/>
            <p:nvPr/>
          </p:nvSpPr>
          <p:spPr>
            <a:xfrm rot="5400000">
              <a:off x="398907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accent1"/>
            </a:solidFill>
            <a:ln w="18131" cap="flat">
              <a:noFill/>
              <a:prstDash val="solid"/>
              <a:miter/>
            </a:ln>
          </p:spPr>
          <p:txBody>
            <a:bodyPr rtlCol="0" anchor="ctr"/>
            <a:lstStyle/>
            <a:p>
              <a:endParaRPr lang="en-GB"/>
            </a:p>
          </p:txBody>
        </p:sp>
        <p:sp>
          <p:nvSpPr>
            <p:cNvPr id="61" name="Freeform 60">
              <a:extLst>
                <a:ext uri="{FF2B5EF4-FFF2-40B4-BE49-F238E27FC236}">
                  <a16:creationId xmlns:a16="http://schemas.microsoft.com/office/drawing/2014/main" id="{E46D0D23-79B5-5D12-8E5B-C871F288F9C5}"/>
                </a:ext>
              </a:extLst>
            </p:cNvPr>
            <p:cNvSpPr/>
            <p:nvPr/>
          </p:nvSpPr>
          <p:spPr>
            <a:xfrm rot="5400000">
              <a:off x="505726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grpSp>
      <p:sp>
        <p:nvSpPr>
          <p:cNvPr id="71" name="Text Placeholder 13">
            <a:extLst>
              <a:ext uri="{FF2B5EF4-FFF2-40B4-BE49-F238E27FC236}">
                <a16:creationId xmlns:a16="http://schemas.microsoft.com/office/drawing/2014/main" id="{5D659581-B672-D7D2-2A0E-B5AA7C8FC763}"/>
              </a:ext>
            </a:extLst>
          </p:cNvPr>
          <p:cNvSpPr>
            <a:spLocks noGrp="1"/>
          </p:cNvSpPr>
          <p:nvPr>
            <p:ph type="body" sz="quarter" idx="22" hasCustomPrompt="1"/>
          </p:nvPr>
        </p:nvSpPr>
        <p:spPr>
          <a:xfrm>
            <a:off x="2174029" y="5179835"/>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2" name="Text Placeholder 13">
            <a:extLst>
              <a:ext uri="{FF2B5EF4-FFF2-40B4-BE49-F238E27FC236}">
                <a16:creationId xmlns:a16="http://schemas.microsoft.com/office/drawing/2014/main" id="{EA4693B3-8B99-5BD1-7D9D-25730B49C010}"/>
              </a:ext>
            </a:extLst>
          </p:cNvPr>
          <p:cNvSpPr>
            <a:spLocks noGrp="1"/>
          </p:cNvSpPr>
          <p:nvPr>
            <p:ph type="body" sz="quarter" idx="23" hasCustomPrompt="1"/>
          </p:nvPr>
        </p:nvSpPr>
        <p:spPr>
          <a:xfrm>
            <a:off x="3512341" y="4596821"/>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3" name="Text Placeholder 13">
            <a:extLst>
              <a:ext uri="{FF2B5EF4-FFF2-40B4-BE49-F238E27FC236}">
                <a16:creationId xmlns:a16="http://schemas.microsoft.com/office/drawing/2014/main" id="{704CAD07-CBAD-AEE2-1AB9-A06C046B4B2D}"/>
              </a:ext>
            </a:extLst>
          </p:cNvPr>
          <p:cNvSpPr>
            <a:spLocks noGrp="1"/>
          </p:cNvSpPr>
          <p:nvPr>
            <p:ph type="body" sz="quarter" idx="24" hasCustomPrompt="1"/>
          </p:nvPr>
        </p:nvSpPr>
        <p:spPr>
          <a:xfrm>
            <a:off x="4854016" y="5176551"/>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4" name="Text Placeholder 13">
            <a:extLst>
              <a:ext uri="{FF2B5EF4-FFF2-40B4-BE49-F238E27FC236}">
                <a16:creationId xmlns:a16="http://schemas.microsoft.com/office/drawing/2014/main" id="{4E3AC183-4430-7808-931E-0B83E62D0F4E}"/>
              </a:ext>
            </a:extLst>
          </p:cNvPr>
          <p:cNvSpPr>
            <a:spLocks noGrp="1"/>
          </p:cNvSpPr>
          <p:nvPr>
            <p:ph type="body" sz="quarter" idx="25" hasCustomPrompt="1"/>
          </p:nvPr>
        </p:nvSpPr>
        <p:spPr>
          <a:xfrm>
            <a:off x="6147478" y="4593537"/>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5" name="Text Placeholder 13">
            <a:extLst>
              <a:ext uri="{FF2B5EF4-FFF2-40B4-BE49-F238E27FC236}">
                <a16:creationId xmlns:a16="http://schemas.microsoft.com/office/drawing/2014/main" id="{12CCF4CA-D805-B2F1-01CF-6613FC5D585A}"/>
              </a:ext>
            </a:extLst>
          </p:cNvPr>
          <p:cNvSpPr>
            <a:spLocks noGrp="1"/>
          </p:cNvSpPr>
          <p:nvPr>
            <p:ph type="body" sz="quarter" idx="26" hasCustomPrompt="1"/>
          </p:nvPr>
        </p:nvSpPr>
        <p:spPr>
          <a:xfrm>
            <a:off x="7511151" y="5160305"/>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6" name="Text Placeholder 13">
            <a:extLst>
              <a:ext uri="{FF2B5EF4-FFF2-40B4-BE49-F238E27FC236}">
                <a16:creationId xmlns:a16="http://schemas.microsoft.com/office/drawing/2014/main" id="{E530B56E-51F2-371E-B5F0-0B666660C3D6}"/>
              </a:ext>
            </a:extLst>
          </p:cNvPr>
          <p:cNvSpPr>
            <a:spLocks noGrp="1"/>
          </p:cNvSpPr>
          <p:nvPr>
            <p:ph type="body" sz="quarter" idx="27" hasCustomPrompt="1"/>
          </p:nvPr>
        </p:nvSpPr>
        <p:spPr>
          <a:xfrm>
            <a:off x="8829337" y="4603398"/>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7" name="Text Placeholder 13">
            <a:extLst>
              <a:ext uri="{FF2B5EF4-FFF2-40B4-BE49-F238E27FC236}">
                <a16:creationId xmlns:a16="http://schemas.microsoft.com/office/drawing/2014/main" id="{E298A72D-91CD-7257-47C7-A13A202C6866}"/>
              </a:ext>
            </a:extLst>
          </p:cNvPr>
          <p:cNvSpPr>
            <a:spLocks noGrp="1"/>
          </p:cNvSpPr>
          <p:nvPr>
            <p:ph type="body" sz="quarter" idx="28" hasCustomPrompt="1"/>
          </p:nvPr>
        </p:nvSpPr>
        <p:spPr>
          <a:xfrm>
            <a:off x="10187777" y="5130997"/>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8" name="Text Placeholder 7">
            <a:extLst>
              <a:ext uri="{FF2B5EF4-FFF2-40B4-BE49-F238E27FC236}">
                <a16:creationId xmlns:a16="http://schemas.microsoft.com/office/drawing/2014/main" id="{03F8BA43-D2CE-7A4D-E1A9-189201580EC9}"/>
              </a:ext>
            </a:extLst>
          </p:cNvPr>
          <p:cNvSpPr>
            <a:spLocks noGrp="1"/>
          </p:cNvSpPr>
          <p:nvPr>
            <p:ph type="body" sz="quarter" idx="29" hasCustomPrompt="1"/>
          </p:nvPr>
        </p:nvSpPr>
        <p:spPr>
          <a:xfrm>
            <a:off x="2384214" y="2844439"/>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79" name="Text Placeholder 7">
            <a:extLst>
              <a:ext uri="{FF2B5EF4-FFF2-40B4-BE49-F238E27FC236}">
                <a16:creationId xmlns:a16="http://schemas.microsoft.com/office/drawing/2014/main" id="{C79D0350-D9FA-4360-2C19-B840E5360789}"/>
              </a:ext>
            </a:extLst>
          </p:cNvPr>
          <p:cNvSpPr>
            <a:spLocks noGrp="1"/>
          </p:cNvSpPr>
          <p:nvPr>
            <p:ph type="body" sz="quarter" idx="30" hasCustomPrompt="1"/>
          </p:nvPr>
        </p:nvSpPr>
        <p:spPr>
          <a:xfrm>
            <a:off x="3701345" y="2844439"/>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9BE02B5E-A10C-E87E-EB77-160F87A19195}"/>
              </a:ext>
            </a:extLst>
          </p:cNvPr>
          <p:cNvSpPr>
            <a:spLocks noGrp="1"/>
          </p:cNvSpPr>
          <p:nvPr>
            <p:ph type="body" sz="quarter" idx="31" hasCustomPrompt="1"/>
          </p:nvPr>
        </p:nvSpPr>
        <p:spPr>
          <a:xfrm>
            <a:off x="5038473" y="2854091"/>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1" name="Text Placeholder 7">
            <a:extLst>
              <a:ext uri="{FF2B5EF4-FFF2-40B4-BE49-F238E27FC236}">
                <a16:creationId xmlns:a16="http://schemas.microsoft.com/office/drawing/2014/main" id="{6738D142-0469-7F83-87F7-502494E2B107}"/>
              </a:ext>
            </a:extLst>
          </p:cNvPr>
          <p:cNvSpPr>
            <a:spLocks noGrp="1"/>
          </p:cNvSpPr>
          <p:nvPr>
            <p:ph type="body" sz="quarter" idx="32" hasCustomPrompt="1"/>
          </p:nvPr>
        </p:nvSpPr>
        <p:spPr>
          <a:xfrm>
            <a:off x="6375602" y="2844439"/>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2" name="Text Placeholder 7">
            <a:extLst>
              <a:ext uri="{FF2B5EF4-FFF2-40B4-BE49-F238E27FC236}">
                <a16:creationId xmlns:a16="http://schemas.microsoft.com/office/drawing/2014/main" id="{E8FE5B03-E2A3-C1A1-B879-1069B6A5A86D}"/>
              </a:ext>
            </a:extLst>
          </p:cNvPr>
          <p:cNvSpPr>
            <a:spLocks noGrp="1"/>
          </p:cNvSpPr>
          <p:nvPr>
            <p:ph type="body" sz="quarter" idx="33" hasCustomPrompt="1"/>
          </p:nvPr>
        </p:nvSpPr>
        <p:spPr>
          <a:xfrm>
            <a:off x="7712731" y="2818302"/>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3" name="Text Placeholder 7">
            <a:extLst>
              <a:ext uri="{FF2B5EF4-FFF2-40B4-BE49-F238E27FC236}">
                <a16:creationId xmlns:a16="http://schemas.microsoft.com/office/drawing/2014/main" id="{3868DEA2-F851-BE90-3E16-F75389190DDB}"/>
              </a:ext>
            </a:extLst>
          </p:cNvPr>
          <p:cNvSpPr>
            <a:spLocks noGrp="1"/>
          </p:cNvSpPr>
          <p:nvPr>
            <p:ph type="body" sz="quarter" idx="34" hasCustomPrompt="1"/>
          </p:nvPr>
        </p:nvSpPr>
        <p:spPr>
          <a:xfrm>
            <a:off x="9049862" y="2818302"/>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4" name="Text Placeholder 7">
            <a:extLst>
              <a:ext uri="{FF2B5EF4-FFF2-40B4-BE49-F238E27FC236}">
                <a16:creationId xmlns:a16="http://schemas.microsoft.com/office/drawing/2014/main" id="{5A3888EB-0774-5CDD-DAFD-AA98A2E4E7B8}"/>
              </a:ext>
            </a:extLst>
          </p:cNvPr>
          <p:cNvSpPr>
            <a:spLocks noGrp="1"/>
          </p:cNvSpPr>
          <p:nvPr>
            <p:ph type="body" sz="quarter" idx="35" hasCustomPrompt="1"/>
          </p:nvPr>
        </p:nvSpPr>
        <p:spPr>
          <a:xfrm>
            <a:off x="10395360" y="2786424"/>
            <a:ext cx="836830" cy="278566"/>
          </a:xfrm>
        </p:spPr>
        <p:txBody>
          <a:bodyPr/>
          <a:lstStyle>
            <a:lvl1pPr algn="ctr">
              <a:spcBef>
                <a:spcPts val="0"/>
              </a:spcBef>
              <a:defRPr sz="1600" b="1">
                <a:solidFill>
                  <a:schemeClr val="tx1"/>
                </a:solidFill>
                <a:latin typeface="+mn-lt"/>
              </a:defRPr>
            </a:lvl1pPr>
          </a:lstStyle>
          <a:p>
            <a:pPr lvl="0"/>
            <a:r>
              <a:rPr lang="en-US"/>
              <a:t>Month</a:t>
            </a:r>
          </a:p>
        </p:txBody>
      </p:sp>
      <p:grpSp>
        <p:nvGrpSpPr>
          <p:cNvPr id="4" name="Group 3">
            <a:extLst>
              <a:ext uri="{FF2B5EF4-FFF2-40B4-BE49-F238E27FC236}">
                <a16:creationId xmlns:a16="http://schemas.microsoft.com/office/drawing/2014/main" id="{0A45F78C-E0EC-5257-33E2-572EA89D19A8}"/>
              </a:ext>
            </a:extLst>
          </p:cNvPr>
          <p:cNvGrpSpPr/>
          <p:nvPr userDrawn="1"/>
        </p:nvGrpSpPr>
        <p:grpSpPr>
          <a:xfrm>
            <a:off x="10863102" y="309052"/>
            <a:ext cx="911847" cy="382707"/>
            <a:chOff x="7459170" y="481236"/>
            <a:chExt cx="2697427" cy="1132124"/>
          </a:xfrm>
        </p:grpSpPr>
        <p:sp>
          <p:nvSpPr>
            <p:cNvPr id="6" name="Freeform 9">
              <a:extLst>
                <a:ext uri="{FF2B5EF4-FFF2-40B4-BE49-F238E27FC236}">
                  <a16:creationId xmlns:a16="http://schemas.microsoft.com/office/drawing/2014/main" id="{FF7E9140-F820-D1E5-6822-EC3B3C82B454}"/>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11">
              <a:extLst>
                <a:ext uri="{FF2B5EF4-FFF2-40B4-BE49-F238E27FC236}">
                  <a16:creationId xmlns:a16="http://schemas.microsoft.com/office/drawing/2014/main" id="{51D1522A-3880-080A-EF51-005586D4304E}"/>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9" name="Freeform 14">
              <a:extLst>
                <a:ext uri="{FF2B5EF4-FFF2-40B4-BE49-F238E27FC236}">
                  <a16:creationId xmlns:a16="http://schemas.microsoft.com/office/drawing/2014/main" id="{052FC3D8-BA21-B9E1-AF8B-DCC1C16FB79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18">
              <a:extLst>
                <a:ext uri="{FF2B5EF4-FFF2-40B4-BE49-F238E27FC236}">
                  <a16:creationId xmlns:a16="http://schemas.microsoft.com/office/drawing/2014/main" id="{39231176-BB7D-F78E-746B-1996786C07C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9">
              <a:extLst>
                <a:ext uri="{FF2B5EF4-FFF2-40B4-BE49-F238E27FC236}">
                  <a16:creationId xmlns:a16="http://schemas.microsoft.com/office/drawing/2014/main" id="{E99AFDF9-8AE0-852F-4346-1F117166A08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20">
              <a:extLst>
                <a:ext uri="{FF2B5EF4-FFF2-40B4-BE49-F238E27FC236}">
                  <a16:creationId xmlns:a16="http://schemas.microsoft.com/office/drawing/2014/main" id="{41029F4F-7254-9972-2098-8ED378ABBEC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23">
              <a:extLst>
                <a:ext uri="{FF2B5EF4-FFF2-40B4-BE49-F238E27FC236}">
                  <a16:creationId xmlns:a16="http://schemas.microsoft.com/office/drawing/2014/main" id="{D24F38DE-4B99-507B-9609-8CF605F706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87949068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meline layout 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2" name="Text Placeholder 13">
            <a:extLst>
              <a:ext uri="{FF2B5EF4-FFF2-40B4-BE49-F238E27FC236}">
                <a16:creationId xmlns:a16="http://schemas.microsoft.com/office/drawing/2014/main" id="{9403280E-2FCD-DFB3-9FD2-AE04E9A540D7}"/>
              </a:ext>
            </a:extLst>
          </p:cNvPr>
          <p:cNvSpPr>
            <a:spLocks noGrp="1"/>
          </p:cNvSpPr>
          <p:nvPr>
            <p:ph type="body" sz="quarter" idx="15" hasCustomPrompt="1"/>
          </p:nvPr>
        </p:nvSpPr>
        <p:spPr>
          <a:xfrm>
            <a:off x="811527" y="4483390"/>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975297" y="2705156"/>
            <a:ext cx="703290" cy="359834"/>
          </a:xfrm>
        </p:spPr>
        <p:txBody>
          <a:bodyPr/>
          <a:lstStyle>
            <a:lvl1pPr algn="ctr">
              <a:spcBef>
                <a:spcPts val="0"/>
              </a:spcBef>
              <a:defRPr sz="1600" b="1">
                <a:solidFill>
                  <a:schemeClr val="tx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03F8BA43-D2CE-7A4D-E1A9-189201580EC9}"/>
              </a:ext>
            </a:extLst>
          </p:cNvPr>
          <p:cNvSpPr>
            <a:spLocks noGrp="1"/>
          </p:cNvSpPr>
          <p:nvPr>
            <p:ph type="body" sz="quarter" idx="29" hasCustomPrompt="1"/>
          </p:nvPr>
        </p:nvSpPr>
        <p:spPr>
          <a:xfrm>
            <a:off x="2004223" y="2726946"/>
            <a:ext cx="742555" cy="281841"/>
          </a:xfrm>
        </p:spPr>
        <p:txBody>
          <a:bodyPr/>
          <a:lstStyle>
            <a:lvl1pPr algn="ctr">
              <a:spcBef>
                <a:spcPts val="0"/>
              </a:spcBef>
              <a:defRPr sz="1600" b="1">
                <a:solidFill>
                  <a:schemeClr val="tx1"/>
                </a:solidFill>
                <a:latin typeface="+mn-lt"/>
              </a:defRPr>
            </a:lvl1pPr>
          </a:lstStyle>
          <a:p>
            <a:pPr lvl="0"/>
            <a:r>
              <a:rPr lang="en-US"/>
              <a:t>Month</a:t>
            </a:r>
          </a:p>
        </p:txBody>
      </p:sp>
      <p:sp>
        <p:nvSpPr>
          <p:cNvPr id="79" name="Text Placeholder 7">
            <a:extLst>
              <a:ext uri="{FF2B5EF4-FFF2-40B4-BE49-F238E27FC236}">
                <a16:creationId xmlns:a16="http://schemas.microsoft.com/office/drawing/2014/main" id="{C79D0350-D9FA-4360-2C19-B840E5360789}"/>
              </a:ext>
            </a:extLst>
          </p:cNvPr>
          <p:cNvSpPr>
            <a:spLocks noGrp="1"/>
          </p:cNvSpPr>
          <p:nvPr>
            <p:ph type="body" sz="quarter" idx="30" hasCustomPrompt="1"/>
          </p:nvPr>
        </p:nvSpPr>
        <p:spPr>
          <a:xfrm>
            <a:off x="3100411" y="2725269"/>
            <a:ext cx="714556" cy="283517"/>
          </a:xfrm>
        </p:spPr>
        <p:txBody>
          <a:bodyPr/>
          <a:lstStyle>
            <a:lvl1pPr algn="ctr">
              <a:spcBef>
                <a:spcPts val="0"/>
              </a:spcBef>
              <a:defRPr sz="1600" b="1">
                <a:solidFill>
                  <a:schemeClr val="tx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9BE02B5E-A10C-E87E-EB77-160F87A19195}"/>
              </a:ext>
            </a:extLst>
          </p:cNvPr>
          <p:cNvSpPr>
            <a:spLocks noGrp="1"/>
          </p:cNvSpPr>
          <p:nvPr>
            <p:ph type="body" sz="quarter" idx="31" hasCustomPrompt="1"/>
          </p:nvPr>
        </p:nvSpPr>
        <p:spPr>
          <a:xfrm>
            <a:off x="4137005" y="2711533"/>
            <a:ext cx="746152" cy="278565"/>
          </a:xfrm>
        </p:spPr>
        <p:txBody>
          <a:bodyPr/>
          <a:lstStyle>
            <a:lvl1pPr algn="ctr">
              <a:spcBef>
                <a:spcPts val="0"/>
              </a:spcBef>
              <a:defRPr sz="1600" b="1">
                <a:solidFill>
                  <a:schemeClr val="tx1"/>
                </a:solidFill>
                <a:latin typeface="+mn-lt"/>
              </a:defRPr>
            </a:lvl1pPr>
          </a:lstStyle>
          <a:p>
            <a:pPr lvl="0"/>
            <a:r>
              <a:rPr lang="en-US"/>
              <a:t>Month</a:t>
            </a:r>
          </a:p>
        </p:txBody>
      </p:sp>
      <p:sp>
        <p:nvSpPr>
          <p:cNvPr id="81" name="Text Placeholder 7">
            <a:extLst>
              <a:ext uri="{FF2B5EF4-FFF2-40B4-BE49-F238E27FC236}">
                <a16:creationId xmlns:a16="http://schemas.microsoft.com/office/drawing/2014/main" id="{6738D142-0469-7F83-87F7-502494E2B107}"/>
              </a:ext>
            </a:extLst>
          </p:cNvPr>
          <p:cNvSpPr>
            <a:spLocks noGrp="1"/>
          </p:cNvSpPr>
          <p:nvPr>
            <p:ph type="body" sz="quarter" idx="32" hasCustomPrompt="1"/>
          </p:nvPr>
        </p:nvSpPr>
        <p:spPr>
          <a:xfrm>
            <a:off x="5223190" y="2693233"/>
            <a:ext cx="728157" cy="296865"/>
          </a:xfrm>
        </p:spPr>
        <p:txBody>
          <a:bodyPr/>
          <a:lstStyle>
            <a:lvl1pPr algn="ctr">
              <a:spcBef>
                <a:spcPts val="0"/>
              </a:spcBef>
              <a:defRPr sz="1600" b="1">
                <a:solidFill>
                  <a:schemeClr val="tx1"/>
                </a:solidFill>
                <a:latin typeface="+mn-lt"/>
              </a:defRPr>
            </a:lvl1pPr>
          </a:lstStyle>
          <a:p>
            <a:pPr lvl="0"/>
            <a:r>
              <a:rPr lang="en-US"/>
              <a:t>Month</a:t>
            </a:r>
          </a:p>
        </p:txBody>
      </p:sp>
      <p:sp>
        <p:nvSpPr>
          <p:cNvPr id="82" name="Text Placeholder 7">
            <a:extLst>
              <a:ext uri="{FF2B5EF4-FFF2-40B4-BE49-F238E27FC236}">
                <a16:creationId xmlns:a16="http://schemas.microsoft.com/office/drawing/2014/main" id="{E8FE5B03-E2A3-C1A1-B879-1069B6A5A86D}"/>
              </a:ext>
            </a:extLst>
          </p:cNvPr>
          <p:cNvSpPr>
            <a:spLocks noGrp="1"/>
          </p:cNvSpPr>
          <p:nvPr>
            <p:ph type="body" sz="quarter" idx="33" hasCustomPrompt="1"/>
          </p:nvPr>
        </p:nvSpPr>
        <p:spPr>
          <a:xfrm>
            <a:off x="6290907" y="2701306"/>
            <a:ext cx="728631" cy="288792"/>
          </a:xfrm>
        </p:spPr>
        <p:txBody>
          <a:bodyPr/>
          <a:lstStyle>
            <a:lvl1pPr algn="ctr">
              <a:spcBef>
                <a:spcPts val="0"/>
              </a:spcBef>
              <a:defRPr sz="1600" b="1">
                <a:solidFill>
                  <a:schemeClr val="tx1"/>
                </a:solidFill>
                <a:latin typeface="+mn-lt"/>
              </a:defRPr>
            </a:lvl1pPr>
          </a:lstStyle>
          <a:p>
            <a:pPr lvl="0"/>
            <a:r>
              <a:rPr lang="en-US"/>
              <a:t>Month</a:t>
            </a:r>
          </a:p>
        </p:txBody>
      </p:sp>
      <p:sp>
        <p:nvSpPr>
          <p:cNvPr id="83" name="Text Placeholder 7">
            <a:extLst>
              <a:ext uri="{FF2B5EF4-FFF2-40B4-BE49-F238E27FC236}">
                <a16:creationId xmlns:a16="http://schemas.microsoft.com/office/drawing/2014/main" id="{3868DEA2-F851-BE90-3E16-F75389190DDB}"/>
              </a:ext>
            </a:extLst>
          </p:cNvPr>
          <p:cNvSpPr>
            <a:spLocks noGrp="1"/>
          </p:cNvSpPr>
          <p:nvPr>
            <p:ph type="body" sz="quarter" idx="34" hasCustomPrompt="1"/>
          </p:nvPr>
        </p:nvSpPr>
        <p:spPr>
          <a:xfrm>
            <a:off x="7340174" y="2701306"/>
            <a:ext cx="747553" cy="307480"/>
          </a:xfrm>
        </p:spPr>
        <p:txBody>
          <a:bodyPr/>
          <a:lstStyle>
            <a:lvl1pPr algn="ctr">
              <a:spcBef>
                <a:spcPts val="0"/>
              </a:spcBef>
              <a:defRPr sz="1600" b="1">
                <a:solidFill>
                  <a:schemeClr val="tx1"/>
                </a:solidFill>
                <a:latin typeface="+mn-lt"/>
              </a:defRPr>
            </a:lvl1pPr>
          </a:lstStyle>
          <a:p>
            <a:pPr lvl="0"/>
            <a:r>
              <a:rPr lang="en-US"/>
              <a:t>Month</a:t>
            </a:r>
          </a:p>
        </p:txBody>
      </p:sp>
      <p:sp>
        <p:nvSpPr>
          <p:cNvPr id="84" name="Text Placeholder 7">
            <a:extLst>
              <a:ext uri="{FF2B5EF4-FFF2-40B4-BE49-F238E27FC236}">
                <a16:creationId xmlns:a16="http://schemas.microsoft.com/office/drawing/2014/main" id="{5A3888EB-0774-5CDD-DAFD-AA98A2E4E7B8}"/>
              </a:ext>
            </a:extLst>
          </p:cNvPr>
          <p:cNvSpPr>
            <a:spLocks noGrp="1"/>
          </p:cNvSpPr>
          <p:nvPr>
            <p:ph type="body" sz="quarter" idx="35" hasCustomPrompt="1"/>
          </p:nvPr>
        </p:nvSpPr>
        <p:spPr>
          <a:xfrm>
            <a:off x="8450118" y="2695765"/>
            <a:ext cx="675264" cy="279767"/>
          </a:xfrm>
        </p:spPr>
        <p:txBody>
          <a:bodyPr/>
          <a:lstStyle>
            <a:lvl1pPr algn="ctr">
              <a:spcBef>
                <a:spcPts val="0"/>
              </a:spcBef>
              <a:defRPr sz="1600" b="1">
                <a:solidFill>
                  <a:schemeClr val="tx1"/>
                </a:solidFill>
                <a:latin typeface="+mn-lt"/>
              </a:defRPr>
            </a:lvl1pPr>
          </a:lstStyle>
          <a:p>
            <a:pPr lvl="0"/>
            <a:r>
              <a:rPr lang="en-US"/>
              <a:t>Month</a:t>
            </a:r>
          </a:p>
        </p:txBody>
      </p:sp>
      <p:cxnSp>
        <p:nvCxnSpPr>
          <p:cNvPr id="4" name="Straight Connector 3">
            <a:extLst>
              <a:ext uri="{FF2B5EF4-FFF2-40B4-BE49-F238E27FC236}">
                <a16:creationId xmlns:a16="http://schemas.microsoft.com/office/drawing/2014/main" id="{AE9F1964-41CA-4420-214C-455238CA8BE5}"/>
              </a:ext>
            </a:extLst>
          </p:cNvPr>
          <p:cNvCxnSpPr>
            <a:cxnSpLocks/>
          </p:cNvCxnSpPr>
          <p:nvPr userDrawn="1"/>
        </p:nvCxnSpPr>
        <p:spPr>
          <a:xfrm flipH="1">
            <a:off x="1292650"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69D8EB6-24AB-0C47-A36C-AD4BA9D5B0ED}"/>
              </a:ext>
            </a:extLst>
          </p:cNvPr>
          <p:cNvCxnSpPr>
            <a:cxnSpLocks/>
          </p:cNvCxnSpPr>
          <p:nvPr userDrawn="1"/>
        </p:nvCxnSpPr>
        <p:spPr>
          <a:xfrm flipH="1">
            <a:off x="2345887" y="3268201"/>
            <a:ext cx="32252" cy="165222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F64A5A6-74A9-7300-6FED-5EA0A9B1E5E9}"/>
              </a:ext>
            </a:extLst>
          </p:cNvPr>
          <p:cNvCxnSpPr>
            <a:cxnSpLocks/>
          </p:cNvCxnSpPr>
          <p:nvPr userDrawn="1"/>
        </p:nvCxnSpPr>
        <p:spPr>
          <a:xfrm flipH="1">
            <a:off x="3394148"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A6239E9-715A-C94A-6809-01997C546D4A}"/>
              </a:ext>
            </a:extLst>
          </p:cNvPr>
          <p:cNvCxnSpPr>
            <a:cxnSpLocks/>
            <a:stCxn id="29" idx="11"/>
          </p:cNvCxnSpPr>
          <p:nvPr userDrawn="1"/>
        </p:nvCxnSpPr>
        <p:spPr>
          <a:xfrm flipH="1">
            <a:off x="4523168" y="3357210"/>
            <a:ext cx="1" cy="1563212"/>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E38CA4C-1513-E9B6-6CAD-5CFC9BCD83EF}"/>
              </a:ext>
            </a:extLst>
          </p:cNvPr>
          <p:cNvCxnSpPr>
            <a:cxnSpLocks/>
          </p:cNvCxnSpPr>
          <p:nvPr userDrawn="1"/>
        </p:nvCxnSpPr>
        <p:spPr>
          <a:xfrm flipH="1">
            <a:off x="5584618"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0CF8D4F-3FF0-0019-9E92-6E3598998180}"/>
              </a:ext>
            </a:extLst>
          </p:cNvPr>
          <p:cNvCxnSpPr>
            <a:cxnSpLocks/>
          </p:cNvCxnSpPr>
          <p:nvPr userDrawn="1"/>
        </p:nvCxnSpPr>
        <p:spPr>
          <a:xfrm flipH="1">
            <a:off x="7714076"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DEBFE7-A572-AEBD-84E7-B15D655F97CE}"/>
              </a:ext>
            </a:extLst>
          </p:cNvPr>
          <p:cNvCxnSpPr>
            <a:cxnSpLocks/>
          </p:cNvCxnSpPr>
          <p:nvPr userDrawn="1"/>
        </p:nvCxnSpPr>
        <p:spPr>
          <a:xfrm flipH="1">
            <a:off x="9868225"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95EB653-7589-E527-E6AE-E3EEA77A8770}"/>
              </a:ext>
            </a:extLst>
          </p:cNvPr>
          <p:cNvCxnSpPr>
            <a:cxnSpLocks/>
          </p:cNvCxnSpPr>
          <p:nvPr userDrawn="1"/>
        </p:nvCxnSpPr>
        <p:spPr>
          <a:xfrm flipH="1">
            <a:off x="6629400" y="3268201"/>
            <a:ext cx="11028" cy="165222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A3C217F-1D24-C88D-4254-02A0DE9740D5}"/>
              </a:ext>
            </a:extLst>
          </p:cNvPr>
          <p:cNvCxnSpPr>
            <a:cxnSpLocks/>
          </p:cNvCxnSpPr>
          <p:nvPr userDrawn="1"/>
        </p:nvCxnSpPr>
        <p:spPr>
          <a:xfrm flipH="1">
            <a:off x="8755498" y="3268201"/>
            <a:ext cx="32252" cy="165222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DCD36F2-0F6A-E9B4-26AB-5C85B995DC83}"/>
              </a:ext>
            </a:extLst>
          </p:cNvPr>
          <p:cNvCxnSpPr>
            <a:cxnSpLocks/>
            <a:stCxn id="23" idx="4"/>
          </p:cNvCxnSpPr>
          <p:nvPr userDrawn="1"/>
        </p:nvCxnSpPr>
        <p:spPr>
          <a:xfrm flipH="1">
            <a:off x="10932308" y="3224592"/>
            <a:ext cx="1" cy="169873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sp>
        <p:nvSpPr>
          <p:cNvPr id="19" name="Freeform 18">
            <a:extLst>
              <a:ext uri="{FF2B5EF4-FFF2-40B4-BE49-F238E27FC236}">
                <a16:creationId xmlns:a16="http://schemas.microsoft.com/office/drawing/2014/main" id="{7CC51C76-3BE9-1754-213A-DDD53D63D6DE}"/>
              </a:ext>
            </a:extLst>
          </p:cNvPr>
          <p:cNvSpPr/>
          <p:nvPr userDrawn="1"/>
        </p:nvSpPr>
        <p:spPr>
          <a:xfrm rot="5400000">
            <a:off x="612545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20" name="Freeform 19">
            <a:extLst>
              <a:ext uri="{FF2B5EF4-FFF2-40B4-BE49-F238E27FC236}">
                <a16:creationId xmlns:a16="http://schemas.microsoft.com/office/drawing/2014/main" id="{7E2B89C7-89E9-6D6B-91BE-B9174231C36C}"/>
              </a:ext>
            </a:extLst>
          </p:cNvPr>
          <p:cNvSpPr/>
          <p:nvPr userDrawn="1"/>
        </p:nvSpPr>
        <p:spPr>
          <a:xfrm rot="5400000">
            <a:off x="7193644"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bg2"/>
          </a:solidFill>
          <a:ln w="18131" cap="flat">
            <a:noFill/>
            <a:prstDash val="solid"/>
            <a:miter/>
          </a:ln>
        </p:spPr>
        <p:txBody>
          <a:bodyPr rtlCol="0" anchor="ctr"/>
          <a:lstStyle/>
          <a:p>
            <a:endParaRPr lang="en-GB"/>
          </a:p>
        </p:txBody>
      </p:sp>
      <p:sp>
        <p:nvSpPr>
          <p:cNvPr id="21" name="Freeform 20">
            <a:extLst>
              <a:ext uri="{FF2B5EF4-FFF2-40B4-BE49-F238E27FC236}">
                <a16:creationId xmlns:a16="http://schemas.microsoft.com/office/drawing/2014/main" id="{B9F22FF9-9BBF-8671-D719-9D527CBDC7E5}"/>
              </a:ext>
            </a:extLst>
          </p:cNvPr>
          <p:cNvSpPr/>
          <p:nvPr userDrawn="1"/>
        </p:nvSpPr>
        <p:spPr>
          <a:xfrm rot="5400000">
            <a:off x="826183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accent1"/>
          </a:solidFill>
          <a:ln w="18131" cap="flat">
            <a:noFill/>
            <a:prstDash val="solid"/>
            <a:miter/>
          </a:ln>
        </p:spPr>
        <p:txBody>
          <a:bodyPr rtlCol="0" anchor="ctr"/>
          <a:lstStyle/>
          <a:p>
            <a:endParaRPr lang="en-GB"/>
          </a:p>
        </p:txBody>
      </p:sp>
      <p:sp>
        <p:nvSpPr>
          <p:cNvPr id="22" name="Freeform 21">
            <a:extLst>
              <a:ext uri="{FF2B5EF4-FFF2-40B4-BE49-F238E27FC236}">
                <a16:creationId xmlns:a16="http://schemas.microsoft.com/office/drawing/2014/main" id="{CF6109F0-5F1B-A48D-C628-626900BDF208}"/>
              </a:ext>
            </a:extLst>
          </p:cNvPr>
          <p:cNvSpPr/>
          <p:nvPr userDrawn="1"/>
        </p:nvSpPr>
        <p:spPr>
          <a:xfrm rot="5400000">
            <a:off x="933002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sp>
        <p:nvSpPr>
          <p:cNvPr id="23" name="Freeform 22">
            <a:extLst>
              <a:ext uri="{FF2B5EF4-FFF2-40B4-BE49-F238E27FC236}">
                <a16:creationId xmlns:a16="http://schemas.microsoft.com/office/drawing/2014/main" id="{41990C06-3661-0A11-256F-248AB3E94A07}"/>
              </a:ext>
            </a:extLst>
          </p:cNvPr>
          <p:cNvSpPr/>
          <p:nvPr userDrawn="1"/>
        </p:nvSpPr>
        <p:spPr>
          <a:xfrm rot="5400000">
            <a:off x="1039821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24" name="Freeform 23">
            <a:extLst>
              <a:ext uri="{FF2B5EF4-FFF2-40B4-BE49-F238E27FC236}">
                <a16:creationId xmlns:a16="http://schemas.microsoft.com/office/drawing/2014/main" id="{6B79BA07-E715-5C83-C9A2-72A4F9E01992}"/>
              </a:ext>
            </a:extLst>
          </p:cNvPr>
          <p:cNvSpPr/>
          <p:nvPr userDrawn="1"/>
        </p:nvSpPr>
        <p:spPr>
          <a:xfrm rot="5400000">
            <a:off x="78450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sp>
        <p:nvSpPr>
          <p:cNvPr id="25" name="Freeform 24">
            <a:extLst>
              <a:ext uri="{FF2B5EF4-FFF2-40B4-BE49-F238E27FC236}">
                <a16:creationId xmlns:a16="http://schemas.microsoft.com/office/drawing/2014/main" id="{A7EC230C-E19B-A95B-9723-9801CF1E6D08}"/>
              </a:ext>
            </a:extLst>
          </p:cNvPr>
          <p:cNvSpPr/>
          <p:nvPr userDrawn="1"/>
        </p:nvSpPr>
        <p:spPr>
          <a:xfrm rot="5400000">
            <a:off x="185269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27" name="Freeform 26">
            <a:extLst>
              <a:ext uri="{FF2B5EF4-FFF2-40B4-BE49-F238E27FC236}">
                <a16:creationId xmlns:a16="http://schemas.microsoft.com/office/drawing/2014/main" id="{BD935932-9E6C-B194-28FE-9423B0356A12}"/>
              </a:ext>
            </a:extLst>
          </p:cNvPr>
          <p:cNvSpPr/>
          <p:nvPr userDrawn="1"/>
        </p:nvSpPr>
        <p:spPr>
          <a:xfrm rot="5400000">
            <a:off x="2920884"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bg2"/>
          </a:solidFill>
          <a:ln w="18131" cap="flat">
            <a:noFill/>
            <a:prstDash val="solid"/>
            <a:miter/>
          </a:ln>
        </p:spPr>
        <p:txBody>
          <a:bodyPr rtlCol="0" anchor="ctr"/>
          <a:lstStyle/>
          <a:p>
            <a:endParaRPr lang="en-GB"/>
          </a:p>
        </p:txBody>
      </p:sp>
      <p:sp>
        <p:nvSpPr>
          <p:cNvPr id="29" name="Freeform 28">
            <a:extLst>
              <a:ext uri="{FF2B5EF4-FFF2-40B4-BE49-F238E27FC236}">
                <a16:creationId xmlns:a16="http://schemas.microsoft.com/office/drawing/2014/main" id="{E2943239-69B8-38E0-98F6-991E955934C3}"/>
              </a:ext>
            </a:extLst>
          </p:cNvPr>
          <p:cNvSpPr/>
          <p:nvPr userDrawn="1"/>
        </p:nvSpPr>
        <p:spPr>
          <a:xfrm rot="5400000">
            <a:off x="398907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accent1"/>
          </a:solidFill>
          <a:ln w="18131" cap="flat">
            <a:noFill/>
            <a:prstDash val="solid"/>
            <a:miter/>
          </a:ln>
        </p:spPr>
        <p:txBody>
          <a:bodyPr rtlCol="0" anchor="ctr"/>
          <a:lstStyle/>
          <a:p>
            <a:endParaRPr lang="en-GB"/>
          </a:p>
        </p:txBody>
      </p:sp>
      <p:sp>
        <p:nvSpPr>
          <p:cNvPr id="30" name="Freeform 29">
            <a:extLst>
              <a:ext uri="{FF2B5EF4-FFF2-40B4-BE49-F238E27FC236}">
                <a16:creationId xmlns:a16="http://schemas.microsoft.com/office/drawing/2014/main" id="{A5FCCFE9-7B8E-F288-97D6-49010D2A0F59}"/>
              </a:ext>
            </a:extLst>
          </p:cNvPr>
          <p:cNvSpPr/>
          <p:nvPr userDrawn="1"/>
        </p:nvSpPr>
        <p:spPr>
          <a:xfrm rot="5400000">
            <a:off x="505726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sp>
        <p:nvSpPr>
          <p:cNvPr id="31" name="Text Placeholder 7">
            <a:extLst>
              <a:ext uri="{FF2B5EF4-FFF2-40B4-BE49-F238E27FC236}">
                <a16:creationId xmlns:a16="http://schemas.microsoft.com/office/drawing/2014/main" id="{0590D450-87F7-FB95-0B7E-1C236D3FF27E}"/>
              </a:ext>
            </a:extLst>
          </p:cNvPr>
          <p:cNvSpPr>
            <a:spLocks noGrp="1"/>
          </p:cNvSpPr>
          <p:nvPr>
            <p:ph type="body" sz="quarter" idx="36" hasCustomPrompt="1"/>
          </p:nvPr>
        </p:nvSpPr>
        <p:spPr>
          <a:xfrm>
            <a:off x="9494448" y="2694503"/>
            <a:ext cx="747553" cy="307480"/>
          </a:xfrm>
        </p:spPr>
        <p:txBody>
          <a:bodyPr/>
          <a:lstStyle>
            <a:lvl1pPr algn="ctr">
              <a:spcBef>
                <a:spcPts val="0"/>
              </a:spcBef>
              <a:defRPr sz="1600" b="1">
                <a:solidFill>
                  <a:schemeClr val="tx1"/>
                </a:solidFill>
                <a:latin typeface="+mn-lt"/>
              </a:defRPr>
            </a:lvl1pPr>
          </a:lstStyle>
          <a:p>
            <a:pPr lvl="0"/>
            <a:r>
              <a:rPr lang="en-US"/>
              <a:t>Month</a:t>
            </a:r>
          </a:p>
        </p:txBody>
      </p:sp>
      <p:sp>
        <p:nvSpPr>
          <p:cNvPr id="32" name="Text Placeholder 7">
            <a:extLst>
              <a:ext uri="{FF2B5EF4-FFF2-40B4-BE49-F238E27FC236}">
                <a16:creationId xmlns:a16="http://schemas.microsoft.com/office/drawing/2014/main" id="{9E02B287-4C11-031E-117E-F1E008B2589A}"/>
              </a:ext>
            </a:extLst>
          </p:cNvPr>
          <p:cNvSpPr>
            <a:spLocks noGrp="1"/>
          </p:cNvSpPr>
          <p:nvPr>
            <p:ph type="body" sz="quarter" idx="37" hasCustomPrompt="1"/>
          </p:nvPr>
        </p:nvSpPr>
        <p:spPr>
          <a:xfrm>
            <a:off x="10604392" y="2688962"/>
            <a:ext cx="675264" cy="279767"/>
          </a:xfrm>
        </p:spPr>
        <p:txBody>
          <a:bodyPr/>
          <a:lstStyle>
            <a:lvl1pPr algn="ctr">
              <a:spcBef>
                <a:spcPts val="0"/>
              </a:spcBef>
              <a:defRPr sz="1600" b="1">
                <a:solidFill>
                  <a:schemeClr val="tx1"/>
                </a:solidFill>
                <a:latin typeface="+mn-lt"/>
              </a:defRPr>
            </a:lvl1pPr>
          </a:lstStyle>
          <a:p>
            <a:pPr lvl="0"/>
            <a:r>
              <a:rPr lang="en-US"/>
              <a:t>Month</a:t>
            </a:r>
          </a:p>
        </p:txBody>
      </p:sp>
      <p:sp>
        <p:nvSpPr>
          <p:cNvPr id="33" name="Text Placeholder 13">
            <a:extLst>
              <a:ext uri="{FF2B5EF4-FFF2-40B4-BE49-F238E27FC236}">
                <a16:creationId xmlns:a16="http://schemas.microsoft.com/office/drawing/2014/main" id="{D058A047-4923-04D7-55E5-6ED5AEFEA4CB}"/>
              </a:ext>
            </a:extLst>
          </p:cNvPr>
          <p:cNvSpPr>
            <a:spLocks noGrp="1"/>
          </p:cNvSpPr>
          <p:nvPr>
            <p:ph type="body" sz="quarter" idx="38" hasCustomPrompt="1"/>
          </p:nvPr>
        </p:nvSpPr>
        <p:spPr>
          <a:xfrm>
            <a:off x="1865106" y="5003698"/>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5" name="Text Placeholder 13">
            <a:extLst>
              <a:ext uri="{FF2B5EF4-FFF2-40B4-BE49-F238E27FC236}">
                <a16:creationId xmlns:a16="http://schemas.microsoft.com/office/drawing/2014/main" id="{46DD8558-EF00-1D5F-8837-8CAC1CBC2050}"/>
              </a:ext>
            </a:extLst>
          </p:cNvPr>
          <p:cNvSpPr>
            <a:spLocks noGrp="1"/>
          </p:cNvSpPr>
          <p:nvPr>
            <p:ph type="body" sz="quarter" idx="39" hasCustomPrompt="1"/>
          </p:nvPr>
        </p:nvSpPr>
        <p:spPr>
          <a:xfrm>
            <a:off x="2937384" y="4438105"/>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6" name="Text Placeholder 13">
            <a:extLst>
              <a:ext uri="{FF2B5EF4-FFF2-40B4-BE49-F238E27FC236}">
                <a16:creationId xmlns:a16="http://schemas.microsoft.com/office/drawing/2014/main" id="{A702FD9C-A16E-9E70-15B7-BE6EF927643F}"/>
              </a:ext>
            </a:extLst>
          </p:cNvPr>
          <p:cNvSpPr>
            <a:spLocks noGrp="1"/>
          </p:cNvSpPr>
          <p:nvPr>
            <p:ph type="body" sz="quarter" idx="40" hasCustomPrompt="1"/>
          </p:nvPr>
        </p:nvSpPr>
        <p:spPr>
          <a:xfrm>
            <a:off x="4072588" y="5023166"/>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7" name="Text Placeholder 13">
            <a:extLst>
              <a:ext uri="{FF2B5EF4-FFF2-40B4-BE49-F238E27FC236}">
                <a16:creationId xmlns:a16="http://schemas.microsoft.com/office/drawing/2014/main" id="{AD38D1E5-5CA9-7733-7F60-A19D7D2027C5}"/>
              </a:ext>
            </a:extLst>
          </p:cNvPr>
          <p:cNvSpPr>
            <a:spLocks noGrp="1"/>
          </p:cNvSpPr>
          <p:nvPr>
            <p:ph type="body" sz="quarter" idx="41" hasCustomPrompt="1"/>
          </p:nvPr>
        </p:nvSpPr>
        <p:spPr>
          <a:xfrm>
            <a:off x="5144866" y="4457573"/>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8" name="Text Placeholder 13">
            <a:extLst>
              <a:ext uri="{FF2B5EF4-FFF2-40B4-BE49-F238E27FC236}">
                <a16:creationId xmlns:a16="http://schemas.microsoft.com/office/drawing/2014/main" id="{90B2115A-6911-5957-2E3C-13D5AAEB4B94}"/>
              </a:ext>
            </a:extLst>
          </p:cNvPr>
          <p:cNvSpPr>
            <a:spLocks noGrp="1"/>
          </p:cNvSpPr>
          <p:nvPr>
            <p:ph type="body" sz="quarter" idx="42" hasCustomPrompt="1"/>
          </p:nvPr>
        </p:nvSpPr>
        <p:spPr>
          <a:xfrm>
            <a:off x="6201239" y="5006173"/>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9" name="Text Placeholder 13">
            <a:extLst>
              <a:ext uri="{FF2B5EF4-FFF2-40B4-BE49-F238E27FC236}">
                <a16:creationId xmlns:a16="http://schemas.microsoft.com/office/drawing/2014/main" id="{B2272BC2-1508-B933-5537-462D28CAD725}"/>
              </a:ext>
            </a:extLst>
          </p:cNvPr>
          <p:cNvSpPr>
            <a:spLocks noGrp="1"/>
          </p:cNvSpPr>
          <p:nvPr>
            <p:ph type="body" sz="quarter" idx="43" hasCustomPrompt="1"/>
          </p:nvPr>
        </p:nvSpPr>
        <p:spPr>
          <a:xfrm>
            <a:off x="7256835" y="4472940"/>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43" name="Text Placeholder 13">
            <a:extLst>
              <a:ext uri="{FF2B5EF4-FFF2-40B4-BE49-F238E27FC236}">
                <a16:creationId xmlns:a16="http://schemas.microsoft.com/office/drawing/2014/main" id="{5AF01362-0715-F46A-0152-3092837441F1}"/>
              </a:ext>
            </a:extLst>
          </p:cNvPr>
          <p:cNvSpPr>
            <a:spLocks noGrp="1"/>
          </p:cNvSpPr>
          <p:nvPr>
            <p:ph type="body" sz="quarter" idx="44" hasCustomPrompt="1"/>
          </p:nvPr>
        </p:nvSpPr>
        <p:spPr>
          <a:xfrm>
            <a:off x="8329890" y="5021118"/>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45" name="Text Placeholder 13">
            <a:extLst>
              <a:ext uri="{FF2B5EF4-FFF2-40B4-BE49-F238E27FC236}">
                <a16:creationId xmlns:a16="http://schemas.microsoft.com/office/drawing/2014/main" id="{83AB836A-6D6B-BABC-A01F-F8884EA0ACEB}"/>
              </a:ext>
            </a:extLst>
          </p:cNvPr>
          <p:cNvSpPr>
            <a:spLocks noGrp="1"/>
          </p:cNvSpPr>
          <p:nvPr>
            <p:ph type="body" sz="quarter" idx="45" hasCustomPrompt="1"/>
          </p:nvPr>
        </p:nvSpPr>
        <p:spPr>
          <a:xfrm>
            <a:off x="9385486" y="4487885"/>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46" name="Text Placeholder 13">
            <a:extLst>
              <a:ext uri="{FF2B5EF4-FFF2-40B4-BE49-F238E27FC236}">
                <a16:creationId xmlns:a16="http://schemas.microsoft.com/office/drawing/2014/main" id="{E1B01A04-FAFA-AFFD-B3F0-B9E6735A5C46}"/>
              </a:ext>
            </a:extLst>
          </p:cNvPr>
          <p:cNvSpPr>
            <a:spLocks noGrp="1"/>
          </p:cNvSpPr>
          <p:nvPr>
            <p:ph type="body" sz="quarter" idx="46" hasCustomPrompt="1"/>
          </p:nvPr>
        </p:nvSpPr>
        <p:spPr>
          <a:xfrm>
            <a:off x="10505857" y="5019148"/>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grpSp>
        <p:nvGrpSpPr>
          <p:cNvPr id="5" name="Group 4">
            <a:extLst>
              <a:ext uri="{FF2B5EF4-FFF2-40B4-BE49-F238E27FC236}">
                <a16:creationId xmlns:a16="http://schemas.microsoft.com/office/drawing/2014/main" id="{4D03EE2A-18C9-631D-FA3A-3884BB6AEAC8}"/>
              </a:ext>
            </a:extLst>
          </p:cNvPr>
          <p:cNvGrpSpPr/>
          <p:nvPr userDrawn="1"/>
        </p:nvGrpSpPr>
        <p:grpSpPr>
          <a:xfrm>
            <a:off x="10863102" y="309052"/>
            <a:ext cx="911847" cy="382707"/>
            <a:chOff x="7459170" y="481236"/>
            <a:chExt cx="2697427" cy="1132124"/>
          </a:xfrm>
        </p:grpSpPr>
        <p:sp>
          <p:nvSpPr>
            <p:cNvPr id="8" name="Freeform 9">
              <a:extLst>
                <a:ext uri="{FF2B5EF4-FFF2-40B4-BE49-F238E27FC236}">
                  <a16:creationId xmlns:a16="http://schemas.microsoft.com/office/drawing/2014/main" id="{5F3BDDA2-C961-DDFB-541C-1CBAA8B957D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1">
              <a:extLst>
                <a:ext uri="{FF2B5EF4-FFF2-40B4-BE49-F238E27FC236}">
                  <a16:creationId xmlns:a16="http://schemas.microsoft.com/office/drawing/2014/main" id="{B972998B-0F48-711F-6AA1-FE7F38D83A4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6" name="Freeform 14">
              <a:extLst>
                <a:ext uri="{FF2B5EF4-FFF2-40B4-BE49-F238E27FC236}">
                  <a16:creationId xmlns:a16="http://schemas.microsoft.com/office/drawing/2014/main" id="{B2CD8A56-6A12-2BDF-60C5-86E982A21FD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34" name="Freeform 18">
              <a:extLst>
                <a:ext uri="{FF2B5EF4-FFF2-40B4-BE49-F238E27FC236}">
                  <a16:creationId xmlns:a16="http://schemas.microsoft.com/office/drawing/2014/main" id="{7B110A86-F54F-A69C-867F-9DE3D51ECA9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40" name="Freeform 19">
              <a:extLst>
                <a:ext uri="{FF2B5EF4-FFF2-40B4-BE49-F238E27FC236}">
                  <a16:creationId xmlns:a16="http://schemas.microsoft.com/office/drawing/2014/main" id="{CABDD6FC-812D-5F0A-679E-BE61AD54522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41" name="Freeform 20">
              <a:extLst>
                <a:ext uri="{FF2B5EF4-FFF2-40B4-BE49-F238E27FC236}">
                  <a16:creationId xmlns:a16="http://schemas.microsoft.com/office/drawing/2014/main" id="{E5FACE0A-C1F7-0FE4-7379-B8A1F87EC6F8}"/>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42" name="Freeform 23">
              <a:extLst>
                <a:ext uri="{FF2B5EF4-FFF2-40B4-BE49-F238E27FC236}">
                  <a16:creationId xmlns:a16="http://schemas.microsoft.com/office/drawing/2014/main" id="{7E2A1364-4FA2-CE32-6CE0-4FD6271AEC0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26310730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meline journe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Journey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08" name="Right Arrow 107">
            <a:extLst>
              <a:ext uri="{FF2B5EF4-FFF2-40B4-BE49-F238E27FC236}">
                <a16:creationId xmlns:a16="http://schemas.microsoft.com/office/drawing/2014/main" id="{BF6BC53D-4BB0-A096-2ED6-FC5C98AF3326}"/>
              </a:ext>
            </a:extLst>
          </p:cNvPr>
          <p:cNvSpPr/>
          <p:nvPr userDrawn="1"/>
        </p:nvSpPr>
        <p:spPr>
          <a:xfrm>
            <a:off x="-38299" y="3465750"/>
            <a:ext cx="11436338" cy="208309"/>
          </a:xfrm>
          <a:prstGeom prst="rightArrow">
            <a:avLst>
              <a:gd name="adj1" fmla="val 100000"/>
              <a:gd name="adj2" fmla="val 52411"/>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nvGrpSpPr>
          <p:cNvPr id="4" name="Group 3">
            <a:extLst>
              <a:ext uri="{FF2B5EF4-FFF2-40B4-BE49-F238E27FC236}">
                <a16:creationId xmlns:a16="http://schemas.microsoft.com/office/drawing/2014/main" id="{224C94B9-D6D1-5E19-36FB-31C4880E39C7}"/>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D42D9404-CE00-17A8-520F-56859AC9A40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0F1B65EB-6F12-F70C-D2C1-8F78C8D98D13}"/>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8B5945D3-A3EE-8EE2-FC68-F88F776F0E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8129CACA-077F-CC19-40B6-19EE94B72E6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7AF3A481-678A-C1CE-57F7-0AC64D5F293F}"/>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4EA1D11D-2258-41B5-A282-FDB33F6CAC6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6B39AFC5-1D94-A152-A29D-5967E885051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10065990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 step process squ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Four steps</a:t>
            </a:r>
          </a:p>
        </p:txBody>
      </p:sp>
      <p:grpSp>
        <p:nvGrpSpPr>
          <p:cNvPr id="4" name="Group 3">
            <a:extLst>
              <a:ext uri="{FF2B5EF4-FFF2-40B4-BE49-F238E27FC236}">
                <a16:creationId xmlns:a16="http://schemas.microsoft.com/office/drawing/2014/main" id="{D5E333A1-AAFC-3FDE-1EF5-DF523AC428FB}"/>
              </a:ext>
            </a:extLst>
          </p:cNvPr>
          <p:cNvGrpSpPr/>
          <p:nvPr userDrawn="1"/>
        </p:nvGrpSpPr>
        <p:grpSpPr>
          <a:xfrm>
            <a:off x="814559" y="2431985"/>
            <a:ext cx="10621792" cy="2511310"/>
            <a:chOff x="2663364" y="2409017"/>
            <a:chExt cx="11422525" cy="2700628"/>
          </a:xfrm>
        </p:grpSpPr>
        <p:sp>
          <p:nvSpPr>
            <p:cNvPr id="5" name="Rectangle 4">
              <a:extLst>
                <a:ext uri="{FF2B5EF4-FFF2-40B4-BE49-F238E27FC236}">
                  <a16:creationId xmlns:a16="http://schemas.microsoft.com/office/drawing/2014/main" id="{7DE04E26-2C0C-9CEB-47A7-A539CEB2DB68}"/>
                </a:ext>
              </a:extLst>
            </p:cNvPr>
            <p:cNvSpPr/>
            <p:nvPr/>
          </p:nvSpPr>
          <p:spPr>
            <a:xfrm>
              <a:off x="8291597" y="4876851"/>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3F8E3375-5DD0-E7E5-C7A4-D0E90FA47C99}"/>
                </a:ext>
              </a:extLst>
            </p:cNvPr>
            <p:cNvSpPr/>
            <p:nvPr/>
          </p:nvSpPr>
          <p:spPr>
            <a:xfrm rot="5400000">
              <a:off x="2048473" y="3642934"/>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7" name="Rectangle 6">
              <a:extLst>
                <a:ext uri="{FF2B5EF4-FFF2-40B4-BE49-F238E27FC236}">
                  <a16:creationId xmlns:a16="http://schemas.microsoft.com/office/drawing/2014/main" id="{7885E730-84D0-3B11-AD7F-0E2CCB6EB77E}"/>
                </a:ext>
              </a:extLst>
            </p:cNvPr>
            <p:cNvSpPr/>
            <p:nvPr/>
          </p:nvSpPr>
          <p:spPr>
            <a:xfrm>
              <a:off x="3289080" y="4888423"/>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8" name="Rectangle 7">
              <a:extLst>
                <a:ext uri="{FF2B5EF4-FFF2-40B4-BE49-F238E27FC236}">
                  <a16:creationId xmlns:a16="http://schemas.microsoft.com/office/drawing/2014/main" id="{B28503CE-AEC3-EC5E-1EEC-3E4759422CF2}"/>
                </a:ext>
              </a:extLst>
            </p:cNvPr>
            <p:cNvSpPr/>
            <p:nvPr/>
          </p:nvSpPr>
          <p:spPr>
            <a:xfrm rot="5400000">
              <a:off x="4529687" y="3642935"/>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9" name="Rectangle 8">
              <a:extLst>
                <a:ext uri="{FF2B5EF4-FFF2-40B4-BE49-F238E27FC236}">
                  <a16:creationId xmlns:a16="http://schemas.microsoft.com/office/drawing/2014/main" id="{245273B7-2F3A-79C2-7EA9-80D41D6768D3}"/>
                </a:ext>
              </a:extLst>
            </p:cNvPr>
            <p:cNvSpPr/>
            <p:nvPr/>
          </p:nvSpPr>
          <p:spPr>
            <a:xfrm>
              <a:off x="5775274" y="2413696"/>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F9DF2D32-04CF-2E2A-B2ED-7AD15DFBDEA8}"/>
                </a:ext>
              </a:extLst>
            </p:cNvPr>
            <p:cNvSpPr/>
            <p:nvPr/>
          </p:nvSpPr>
          <p:spPr>
            <a:xfrm rot="5400000">
              <a:off x="7020861" y="3654507"/>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1" name="Rectangle 10">
              <a:extLst>
                <a:ext uri="{FF2B5EF4-FFF2-40B4-BE49-F238E27FC236}">
                  <a16:creationId xmlns:a16="http://schemas.microsoft.com/office/drawing/2014/main" id="{0FCEDDE0-4AD2-8BF6-2703-62691A88665E}"/>
                </a:ext>
              </a:extLst>
            </p:cNvPr>
            <p:cNvSpPr/>
            <p:nvPr/>
          </p:nvSpPr>
          <p:spPr>
            <a:xfrm rot="5400000">
              <a:off x="9525513" y="3642934"/>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29F11739-471D-116E-00AC-5591E86AEE3C}"/>
                </a:ext>
              </a:extLst>
            </p:cNvPr>
            <p:cNvSpPr/>
            <p:nvPr/>
          </p:nvSpPr>
          <p:spPr>
            <a:xfrm>
              <a:off x="2663364" y="2409017"/>
              <a:ext cx="834927"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3" name="Rectangle 12">
              <a:extLst>
                <a:ext uri="{FF2B5EF4-FFF2-40B4-BE49-F238E27FC236}">
                  <a16:creationId xmlns:a16="http://schemas.microsoft.com/office/drawing/2014/main" id="{397BCA3E-5C26-C619-CA7D-2D6CC9274E36}"/>
                </a:ext>
              </a:extLst>
            </p:cNvPr>
            <p:cNvSpPr/>
            <p:nvPr/>
          </p:nvSpPr>
          <p:spPr>
            <a:xfrm>
              <a:off x="10771743" y="2409017"/>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4" name="Rectangle 13">
              <a:extLst>
                <a:ext uri="{FF2B5EF4-FFF2-40B4-BE49-F238E27FC236}">
                  <a16:creationId xmlns:a16="http://schemas.microsoft.com/office/drawing/2014/main" id="{F1F1F6E1-A18D-ACE8-C12F-450E721635C3}"/>
                </a:ext>
              </a:extLst>
            </p:cNvPr>
            <p:cNvSpPr/>
            <p:nvPr/>
          </p:nvSpPr>
          <p:spPr>
            <a:xfrm rot="5400000">
              <a:off x="12017330" y="3649828"/>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5" name="Rectangle 14">
              <a:extLst>
                <a:ext uri="{FF2B5EF4-FFF2-40B4-BE49-F238E27FC236}">
                  <a16:creationId xmlns:a16="http://schemas.microsoft.com/office/drawing/2014/main" id="{42D98B14-BAB6-E38C-1381-BEADECD828BD}"/>
                </a:ext>
              </a:extLst>
            </p:cNvPr>
            <p:cNvSpPr/>
            <p:nvPr/>
          </p:nvSpPr>
          <p:spPr>
            <a:xfrm>
              <a:off x="13257409" y="4888423"/>
              <a:ext cx="828480"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grpSp>
        <p:nvGrpSpPr>
          <p:cNvPr id="17" name="Group 16">
            <a:extLst>
              <a:ext uri="{FF2B5EF4-FFF2-40B4-BE49-F238E27FC236}">
                <a16:creationId xmlns:a16="http://schemas.microsoft.com/office/drawing/2014/main" id="{B4E0FB9B-7292-1EFC-DD02-AF41C152BF85}"/>
              </a:ext>
            </a:extLst>
          </p:cNvPr>
          <p:cNvGrpSpPr/>
          <p:nvPr userDrawn="1"/>
        </p:nvGrpSpPr>
        <p:grpSpPr>
          <a:xfrm>
            <a:off x="1710385" y="2109022"/>
            <a:ext cx="1878506" cy="2513208"/>
            <a:chOff x="1098600" y="2425597"/>
            <a:chExt cx="1639650" cy="2193648"/>
          </a:xfrm>
        </p:grpSpPr>
        <p:sp>
          <p:nvSpPr>
            <p:cNvPr id="18" name="Rectangle 17">
              <a:extLst>
                <a:ext uri="{FF2B5EF4-FFF2-40B4-BE49-F238E27FC236}">
                  <a16:creationId xmlns:a16="http://schemas.microsoft.com/office/drawing/2014/main" id="{B1295126-3106-736F-09EC-604A6E35F4A6}"/>
                </a:ext>
              </a:extLst>
            </p:cNvPr>
            <p:cNvSpPr/>
            <p:nvPr/>
          </p:nvSpPr>
          <p:spPr>
            <a:xfrm>
              <a:off x="1098600"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19" name="Rectangle 18">
              <a:extLst>
                <a:ext uri="{FF2B5EF4-FFF2-40B4-BE49-F238E27FC236}">
                  <a16:creationId xmlns:a16="http://schemas.microsoft.com/office/drawing/2014/main" id="{00ED5EA2-DBD1-B071-D200-7EFF822C50BE}"/>
                </a:ext>
              </a:extLst>
            </p:cNvPr>
            <p:cNvSpPr/>
            <p:nvPr/>
          </p:nvSpPr>
          <p:spPr>
            <a:xfrm>
              <a:off x="1643641"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20" name="Group 19">
            <a:extLst>
              <a:ext uri="{FF2B5EF4-FFF2-40B4-BE49-F238E27FC236}">
                <a16:creationId xmlns:a16="http://schemas.microsoft.com/office/drawing/2014/main" id="{F2C385A3-B14B-B744-DF81-C6F6B1636018}"/>
              </a:ext>
            </a:extLst>
          </p:cNvPr>
          <p:cNvGrpSpPr/>
          <p:nvPr userDrawn="1"/>
        </p:nvGrpSpPr>
        <p:grpSpPr>
          <a:xfrm>
            <a:off x="4019642" y="2743724"/>
            <a:ext cx="1878506" cy="2513208"/>
            <a:chOff x="3192238" y="2979595"/>
            <a:chExt cx="1639650" cy="2193648"/>
          </a:xfrm>
        </p:grpSpPr>
        <p:sp>
          <p:nvSpPr>
            <p:cNvPr id="21" name="Rectangle 20">
              <a:extLst>
                <a:ext uri="{FF2B5EF4-FFF2-40B4-BE49-F238E27FC236}">
                  <a16:creationId xmlns:a16="http://schemas.microsoft.com/office/drawing/2014/main" id="{8F584E40-D33B-4325-C9E0-55F2EC027C8E}"/>
                </a:ext>
              </a:extLst>
            </p:cNvPr>
            <p:cNvSpPr/>
            <p:nvPr/>
          </p:nvSpPr>
          <p:spPr>
            <a:xfrm>
              <a:off x="3192238"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2" name="Rectangle 21">
              <a:extLst>
                <a:ext uri="{FF2B5EF4-FFF2-40B4-BE49-F238E27FC236}">
                  <a16:creationId xmlns:a16="http://schemas.microsoft.com/office/drawing/2014/main" id="{10105F4C-4B12-FA50-B21A-58BFF79693DA}"/>
                </a:ext>
              </a:extLst>
            </p:cNvPr>
            <p:cNvSpPr/>
            <p:nvPr/>
          </p:nvSpPr>
          <p:spPr>
            <a:xfrm>
              <a:off x="373506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23" name="Group 22">
            <a:extLst>
              <a:ext uri="{FF2B5EF4-FFF2-40B4-BE49-F238E27FC236}">
                <a16:creationId xmlns:a16="http://schemas.microsoft.com/office/drawing/2014/main" id="{40DA1E16-FAD2-5DE8-BCBD-1C460D8EEA74}"/>
              </a:ext>
            </a:extLst>
          </p:cNvPr>
          <p:cNvGrpSpPr/>
          <p:nvPr userDrawn="1"/>
        </p:nvGrpSpPr>
        <p:grpSpPr>
          <a:xfrm>
            <a:off x="6342147" y="2109022"/>
            <a:ext cx="1878506" cy="2513208"/>
            <a:chOff x="5281263" y="2425597"/>
            <a:chExt cx="1639650" cy="2193648"/>
          </a:xfrm>
        </p:grpSpPr>
        <p:sp>
          <p:nvSpPr>
            <p:cNvPr id="24" name="Rectangle 23">
              <a:extLst>
                <a:ext uri="{FF2B5EF4-FFF2-40B4-BE49-F238E27FC236}">
                  <a16:creationId xmlns:a16="http://schemas.microsoft.com/office/drawing/2014/main" id="{27BB3D84-111C-B0CA-3AC1-ADCA09D2D1FA}"/>
                </a:ext>
              </a:extLst>
            </p:cNvPr>
            <p:cNvSpPr/>
            <p:nvPr/>
          </p:nvSpPr>
          <p:spPr>
            <a:xfrm>
              <a:off x="5281263"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5" name="Rectangle 24">
              <a:extLst>
                <a:ext uri="{FF2B5EF4-FFF2-40B4-BE49-F238E27FC236}">
                  <a16:creationId xmlns:a16="http://schemas.microsoft.com/office/drawing/2014/main" id="{C23164BC-7085-ADEC-80B1-E525D523F0D3}"/>
                </a:ext>
              </a:extLst>
            </p:cNvPr>
            <p:cNvSpPr/>
            <p:nvPr/>
          </p:nvSpPr>
          <p:spPr>
            <a:xfrm>
              <a:off x="5829997"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26" name="Group 25">
            <a:extLst>
              <a:ext uri="{FF2B5EF4-FFF2-40B4-BE49-F238E27FC236}">
                <a16:creationId xmlns:a16="http://schemas.microsoft.com/office/drawing/2014/main" id="{D1A582BA-9311-C324-0531-A7A628DF7888}"/>
              </a:ext>
            </a:extLst>
          </p:cNvPr>
          <p:cNvGrpSpPr/>
          <p:nvPr userDrawn="1"/>
        </p:nvGrpSpPr>
        <p:grpSpPr>
          <a:xfrm>
            <a:off x="8665253" y="2743724"/>
            <a:ext cx="1878506" cy="2513208"/>
            <a:chOff x="7363945" y="2979595"/>
            <a:chExt cx="1639650" cy="2193648"/>
          </a:xfrm>
        </p:grpSpPr>
        <p:sp>
          <p:nvSpPr>
            <p:cNvPr id="27" name="Rectangle 26">
              <a:extLst>
                <a:ext uri="{FF2B5EF4-FFF2-40B4-BE49-F238E27FC236}">
                  <a16:creationId xmlns:a16="http://schemas.microsoft.com/office/drawing/2014/main" id="{3B046F69-998E-ECD5-0744-468C283546F5}"/>
                </a:ext>
              </a:extLst>
            </p:cNvPr>
            <p:cNvSpPr/>
            <p:nvPr/>
          </p:nvSpPr>
          <p:spPr>
            <a:xfrm>
              <a:off x="7363945"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8" name="Rectangle 27">
              <a:extLst>
                <a:ext uri="{FF2B5EF4-FFF2-40B4-BE49-F238E27FC236}">
                  <a16:creationId xmlns:a16="http://schemas.microsoft.com/office/drawing/2014/main" id="{08130F38-9382-B69E-AE66-784FB1D6C98C}"/>
                </a:ext>
              </a:extLst>
            </p:cNvPr>
            <p:cNvSpPr/>
            <p:nvPr/>
          </p:nvSpPr>
          <p:spPr>
            <a:xfrm>
              <a:off x="791670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sp>
        <p:nvSpPr>
          <p:cNvPr id="29" name="Text Placeholder 13">
            <a:extLst>
              <a:ext uri="{FF2B5EF4-FFF2-40B4-BE49-F238E27FC236}">
                <a16:creationId xmlns:a16="http://schemas.microsoft.com/office/drawing/2014/main" id="{CC251F77-FD40-722D-741D-2F1FE3A75A25}"/>
              </a:ext>
            </a:extLst>
          </p:cNvPr>
          <p:cNvSpPr>
            <a:spLocks noGrp="1"/>
          </p:cNvSpPr>
          <p:nvPr>
            <p:ph type="body" sz="quarter" idx="15" hasCustomPrompt="1"/>
          </p:nvPr>
        </p:nvSpPr>
        <p:spPr>
          <a:xfrm>
            <a:off x="1828800" y="2939348"/>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0" name="Text Placeholder 13">
            <a:extLst>
              <a:ext uri="{FF2B5EF4-FFF2-40B4-BE49-F238E27FC236}">
                <a16:creationId xmlns:a16="http://schemas.microsoft.com/office/drawing/2014/main" id="{60141383-B140-0475-BE31-D88E1C8F8342}"/>
              </a:ext>
            </a:extLst>
          </p:cNvPr>
          <p:cNvSpPr>
            <a:spLocks noGrp="1"/>
          </p:cNvSpPr>
          <p:nvPr>
            <p:ph type="body" sz="quarter" idx="16" hasCustomPrompt="1"/>
          </p:nvPr>
        </p:nvSpPr>
        <p:spPr>
          <a:xfrm>
            <a:off x="4119516" y="2935199"/>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1" name="Text Placeholder 13">
            <a:extLst>
              <a:ext uri="{FF2B5EF4-FFF2-40B4-BE49-F238E27FC236}">
                <a16:creationId xmlns:a16="http://schemas.microsoft.com/office/drawing/2014/main" id="{F9687B94-10C6-34DC-EE8A-08032767A5AB}"/>
              </a:ext>
            </a:extLst>
          </p:cNvPr>
          <p:cNvSpPr>
            <a:spLocks noGrp="1"/>
          </p:cNvSpPr>
          <p:nvPr>
            <p:ph type="body" sz="quarter" idx="17" hasCustomPrompt="1"/>
          </p:nvPr>
        </p:nvSpPr>
        <p:spPr>
          <a:xfrm>
            <a:off x="6448790" y="2913428"/>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2" name="Text Placeholder 13">
            <a:extLst>
              <a:ext uri="{FF2B5EF4-FFF2-40B4-BE49-F238E27FC236}">
                <a16:creationId xmlns:a16="http://schemas.microsoft.com/office/drawing/2014/main" id="{3D02A3F8-2300-A4BC-2F08-B61F3C00E7EF}"/>
              </a:ext>
            </a:extLst>
          </p:cNvPr>
          <p:cNvSpPr>
            <a:spLocks noGrp="1"/>
          </p:cNvSpPr>
          <p:nvPr>
            <p:ph type="body" sz="quarter" idx="18" hasCustomPrompt="1"/>
          </p:nvPr>
        </p:nvSpPr>
        <p:spPr>
          <a:xfrm>
            <a:off x="8776507" y="2926490"/>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grpSp>
        <p:nvGrpSpPr>
          <p:cNvPr id="33" name="Group 32">
            <a:extLst>
              <a:ext uri="{FF2B5EF4-FFF2-40B4-BE49-F238E27FC236}">
                <a16:creationId xmlns:a16="http://schemas.microsoft.com/office/drawing/2014/main" id="{39D05562-41D7-9121-B4FB-4D5871708044}"/>
              </a:ext>
            </a:extLst>
          </p:cNvPr>
          <p:cNvGrpSpPr/>
          <p:nvPr userDrawn="1"/>
        </p:nvGrpSpPr>
        <p:grpSpPr>
          <a:xfrm>
            <a:off x="10863102" y="309052"/>
            <a:ext cx="911847" cy="382707"/>
            <a:chOff x="7459170" y="481236"/>
            <a:chExt cx="2697427" cy="1132124"/>
          </a:xfrm>
        </p:grpSpPr>
        <p:sp>
          <p:nvSpPr>
            <p:cNvPr id="34" name="Freeform 9">
              <a:extLst>
                <a:ext uri="{FF2B5EF4-FFF2-40B4-BE49-F238E27FC236}">
                  <a16:creationId xmlns:a16="http://schemas.microsoft.com/office/drawing/2014/main" id="{430E55DF-6B37-03F2-DF9B-F3795A95C00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5" name="Freeform 11">
              <a:extLst>
                <a:ext uri="{FF2B5EF4-FFF2-40B4-BE49-F238E27FC236}">
                  <a16:creationId xmlns:a16="http://schemas.microsoft.com/office/drawing/2014/main" id="{7F44A9CF-802E-2DEA-8684-5CE8227C4B2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6" name="Freeform 14">
              <a:extLst>
                <a:ext uri="{FF2B5EF4-FFF2-40B4-BE49-F238E27FC236}">
                  <a16:creationId xmlns:a16="http://schemas.microsoft.com/office/drawing/2014/main" id="{DF959FB4-D5A6-5299-A697-7C01C008BDF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37" name="Freeform 18">
              <a:extLst>
                <a:ext uri="{FF2B5EF4-FFF2-40B4-BE49-F238E27FC236}">
                  <a16:creationId xmlns:a16="http://schemas.microsoft.com/office/drawing/2014/main" id="{611883A1-7857-8BC5-629E-BAF492464A1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8" name="Freeform 19">
              <a:extLst>
                <a:ext uri="{FF2B5EF4-FFF2-40B4-BE49-F238E27FC236}">
                  <a16:creationId xmlns:a16="http://schemas.microsoft.com/office/drawing/2014/main" id="{EA169EE2-791B-2F87-66D6-F2EBBB3ECB8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9" name="Freeform 20">
              <a:extLst>
                <a:ext uri="{FF2B5EF4-FFF2-40B4-BE49-F238E27FC236}">
                  <a16:creationId xmlns:a16="http://schemas.microsoft.com/office/drawing/2014/main" id="{85E0FFB2-EB3E-7041-B010-37A44732D98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40" name="Freeform 23">
              <a:extLst>
                <a:ext uri="{FF2B5EF4-FFF2-40B4-BE49-F238E27FC236}">
                  <a16:creationId xmlns:a16="http://schemas.microsoft.com/office/drawing/2014/main" id="{8775AE43-4E2E-8842-62AA-911061F313F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12921617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 step process square">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04EFA6A9-E0EF-2E90-50AA-CFC51833A7F6}"/>
              </a:ext>
            </a:extLst>
          </p:cNvPr>
          <p:cNvGrpSpPr/>
          <p:nvPr userDrawn="1"/>
        </p:nvGrpSpPr>
        <p:grpSpPr>
          <a:xfrm>
            <a:off x="801534" y="2669580"/>
            <a:ext cx="10624021" cy="2270637"/>
            <a:chOff x="815975" y="240467"/>
            <a:chExt cx="9880312" cy="2111687"/>
          </a:xfrm>
        </p:grpSpPr>
        <p:grpSp>
          <p:nvGrpSpPr>
            <p:cNvPr id="34" name="Group 33">
              <a:extLst>
                <a:ext uri="{FF2B5EF4-FFF2-40B4-BE49-F238E27FC236}">
                  <a16:creationId xmlns:a16="http://schemas.microsoft.com/office/drawing/2014/main" id="{FAFBF608-AA80-C512-F933-45C6B42A691A}"/>
                </a:ext>
              </a:extLst>
            </p:cNvPr>
            <p:cNvGrpSpPr/>
            <p:nvPr/>
          </p:nvGrpSpPr>
          <p:grpSpPr>
            <a:xfrm>
              <a:off x="815975" y="240467"/>
              <a:ext cx="7937524" cy="2111687"/>
              <a:chOff x="3865105" y="128943"/>
              <a:chExt cx="7937524" cy="2111687"/>
            </a:xfrm>
          </p:grpSpPr>
          <p:grpSp>
            <p:nvGrpSpPr>
              <p:cNvPr id="36" name="Group 35">
                <a:extLst>
                  <a:ext uri="{FF2B5EF4-FFF2-40B4-BE49-F238E27FC236}">
                    <a16:creationId xmlns:a16="http://schemas.microsoft.com/office/drawing/2014/main" id="{1A934A2F-1312-8330-01DC-3B8BD64A0281}"/>
                  </a:ext>
                </a:extLst>
              </p:cNvPr>
              <p:cNvGrpSpPr/>
              <p:nvPr/>
            </p:nvGrpSpPr>
            <p:grpSpPr>
              <a:xfrm>
                <a:off x="3865105" y="129055"/>
                <a:ext cx="2101721" cy="2104009"/>
                <a:chOff x="1318842" y="1643194"/>
                <a:chExt cx="2101721" cy="2104009"/>
              </a:xfrm>
            </p:grpSpPr>
            <p:sp>
              <p:nvSpPr>
                <p:cNvPr id="46" name="Rectangle 45">
                  <a:extLst>
                    <a:ext uri="{FF2B5EF4-FFF2-40B4-BE49-F238E27FC236}">
                      <a16:creationId xmlns:a16="http://schemas.microsoft.com/office/drawing/2014/main" id="{5487FF64-AE88-F161-49FB-ADBC43CC1842}"/>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7" name="Rectangle 46">
                  <a:extLst>
                    <a:ext uri="{FF2B5EF4-FFF2-40B4-BE49-F238E27FC236}">
                      <a16:creationId xmlns:a16="http://schemas.microsoft.com/office/drawing/2014/main" id="{472842E9-58B9-238E-CEBD-7E745E86BF65}"/>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37" name="Group 36">
                <a:extLst>
                  <a:ext uri="{FF2B5EF4-FFF2-40B4-BE49-F238E27FC236}">
                    <a16:creationId xmlns:a16="http://schemas.microsoft.com/office/drawing/2014/main" id="{3DF5BCCA-FC5C-9981-561B-E8F080830440}"/>
                  </a:ext>
                </a:extLst>
              </p:cNvPr>
              <p:cNvGrpSpPr/>
              <p:nvPr/>
            </p:nvGrpSpPr>
            <p:grpSpPr>
              <a:xfrm rot="5400000">
                <a:off x="5801286" y="127799"/>
                <a:ext cx="2101721" cy="2104009"/>
                <a:chOff x="1318842" y="1643194"/>
                <a:chExt cx="2101721" cy="2104009"/>
              </a:xfrm>
            </p:grpSpPr>
            <p:sp>
              <p:nvSpPr>
                <p:cNvPr id="44" name="Rectangle 43">
                  <a:extLst>
                    <a:ext uri="{FF2B5EF4-FFF2-40B4-BE49-F238E27FC236}">
                      <a16:creationId xmlns:a16="http://schemas.microsoft.com/office/drawing/2014/main" id="{33149659-39F1-F01C-2A98-07FFCEC97A58}"/>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5" name="Rectangle 44">
                  <a:extLst>
                    <a:ext uri="{FF2B5EF4-FFF2-40B4-BE49-F238E27FC236}">
                      <a16:creationId xmlns:a16="http://schemas.microsoft.com/office/drawing/2014/main" id="{07915DBE-7091-E7E7-4EF6-144A3C443114}"/>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38" name="Group 37">
                <a:extLst>
                  <a:ext uri="{FF2B5EF4-FFF2-40B4-BE49-F238E27FC236}">
                    <a16:creationId xmlns:a16="http://schemas.microsoft.com/office/drawing/2014/main" id="{EC675811-B4F6-2B23-6929-F3B21A20635B}"/>
                  </a:ext>
                </a:extLst>
              </p:cNvPr>
              <p:cNvGrpSpPr/>
              <p:nvPr/>
            </p:nvGrpSpPr>
            <p:grpSpPr>
              <a:xfrm>
                <a:off x="7742962" y="128943"/>
                <a:ext cx="2101721" cy="2104009"/>
                <a:chOff x="1318842" y="1643194"/>
                <a:chExt cx="2101721" cy="2104009"/>
              </a:xfrm>
            </p:grpSpPr>
            <p:sp>
              <p:nvSpPr>
                <p:cNvPr id="42" name="Rectangle 41">
                  <a:extLst>
                    <a:ext uri="{FF2B5EF4-FFF2-40B4-BE49-F238E27FC236}">
                      <a16:creationId xmlns:a16="http://schemas.microsoft.com/office/drawing/2014/main" id="{3EE70D31-202A-1BE2-6CDA-D8FE2B46012C}"/>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3" name="Rectangle 42">
                  <a:extLst>
                    <a:ext uri="{FF2B5EF4-FFF2-40B4-BE49-F238E27FC236}">
                      <a16:creationId xmlns:a16="http://schemas.microsoft.com/office/drawing/2014/main" id="{4AD77267-D72D-9997-FF7C-8F580D7EFA78}"/>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39" name="Group 38">
                <a:extLst>
                  <a:ext uri="{FF2B5EF4-FFF2-40B4-BE49-F238E27FC236}">
                    <a16:creationId xmlns:a16="http://schemas.microsoft.com/office/drawing/2014/main" id="{D4E785B4-0657-2B4E-48DC-77D0DCD0315C}"/>
                  </a:ext>
                </a:extLst>
              </p:cNvPr>
              <p:cNvGrpSpPr/>
              <p:nvPr/>
            </p:nvGrpSpPr>
            <p:grpSpPr>
              <a:xfrm rot="5400000">
                <a:off x="9699764" y="137765"/>
                <a:ext cx="2101721" cy="2104009"/>
                <a:chOff x="1318842" y="1643194"/>
                <a:chExt cx="2101721" cy="2104009"/>
              </a:xfrm>
            </p:grpSpPr>
            <p:sp>
              <p:nvSpPr>
                <p:cNvPr id="40" name="Rectangle 39">
                  <a:extLst>
                    <a:ext uri="{FF2B5EF4-FFF2-40B4-BE49-F238E27FC236}">
                      <a16:creationId xmlns:a16="http://schemas.microsoft.com/office/drawing/2014/main" id="{C1457E27-5E3C-9592-5F72-89BA17327C1F}"/>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1" name="Rectangle 40">
                  <a:extLst>
                    <a:ext uri="{FF2B5EF4-FFF2-40B4-BE49-F238E27FC236}">
                      <a16:creationId xmlns:a16="http://schemas.microsoft.com/office/drawing/2014/main" id="{6FAA167C-4D50-FBCA-031D-9AEAA382B202}"/>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sp>
          <p:nvSpPr>
            <p:cNvPr id="35" name="Rectangle 34">
              <a:extLst>
                <a:ext uri="{FF2B5EF4-FFF2-40B4-BE49-F238E27FC236}">
                  <a16:creationId xmlns:a16="http://schemas.microsoft.com/office/drawing/2014/main" id="{90407875-1133-F772-9DD4-F4BBA92417DC}"/>
                </a:ext>
              </a:extLst>
            </p:cNvPr>
            <p:cNvSpPr/>
            <p:nvPr/>
          </p:nvSpPr>
          <p:spPr>
            <a:xfrm>
              <a:off x="8594792" y="242479"/>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48" name="Group 47">
            <a:extLst>
              <a:ext uri="{FF2B5EF4-FFF2-40B4-BE49-F238E27FC236}">
                <a16:creationId xmlns:a16="http://schemas.microsoft.com/office/drawing/2014/main" id="{5F749ED8-1005-1A68-85FF-0BB1D7AF27CD}"/>
              </a:ext>
            </a:extLst>
          </p:cNvPr>
          <p:cNvGrpSpPr/>
          <p:nvPr userDrawn="1"/>
        </p:nvGrpSpPr>
        <p:grpSpPr>
          <a:xfrm>
            <a:off x="1098600" y="2425597"/>
            <a:ext cx="1639650" cy="2193648"/>
            <a:chOff x="1098600" y="2425597"/>
            <a:chExt cx="1639650" cy="2193648"/>
          </a:xfrm>
        </p:grpSpPr>
        <p:sp>
          <p:nvSpPr>
            <p:cNvPr id="49" name="Rectangle 48">
              <a:extLst>
                <a:ext uri="{FF2B5EF4-FFF2-40B4-BE49-F238E27FC236}">
                  <a16:creationId xmlns:a16="http://schemas.microsoft.com/office/drawing/2014/main" id="{3186D291-6388-E7A5-F9AC-2EACE7C186CD}"/>
                </a:ext>
              </a:extLst>
            </p:cNvPr>
            <p:cNvSpPr/>
            <p:nvPr/>
          </p:nvSpPr>
          <p:spPr>
            <a:xfrm>
              <a:off x="1098600"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50" name="Rectangle 49">
              <a:extLst>
                <a:ext uri="{FF2B5EF4-FFF2-40B4-BE49-F238E27FC236}">
                  <a16:creationId xmlns:a16="http://schemas.microsoft.com/office/drawing/2014/main" id="{E07ECE87-31D9-CBFE-793A-E0EDDDF7BF33}"/>
                </a:ext>
              </a:extLst>
            </p:cNvPr>
            <p:cNvSpPr/>
            <p:nvPr/>
          </p:nvSpPr>
          <p:spPr>
            <a:xfrm>
              <a:off x="1643641"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51" name="Group 50">
            <a:extLst>
              <a:ext uri="{FF2B5EF4-FFF2-40B4-BE49-F238E27FC236}">
                <a16:creationId xmlns:a16="http://schemas.microsoft.com/office/drawing/2014/main" id="{788406FD-B7A2-FF35-2EDC-9117E6714FF3}"/>
              </a:ext>
            </a:extLst>
          </p:cNvPr>
          <p:cNvGrpSpPr/>
          <p:nvPr userDrawn="1"/>
        </p:nvGrpSpPr>
        <p:grpSpPr>
          <a:xfrm>
            <a:off x="3192238" y="2979595"/>
            <a:ext cx="1639650" cy="2193648"/>
            <a:chOff x="3192238" y="2979595"/>
            <a:chExt cx="1639650" cy="2193648"/>
          </a:xfrm>
        </p:grpSpPr>
        <p:sp>
          <p:nvSpPr>
            <p:cNvPr id="52" name="Rectangle 51">
              <a:extLst>
                <a:ext uri="{FF2B5EF4-FFF2-40B4-BE49-F238E27FC236}">
                  <a16:creationId xmlns:a16="http://schemas.microsoft.com/office/drawing/2014/main" id="{91A52188-F7E1-31AC-8734-1D5C65E88B6E}"/>
                </a:ext>
              </a:extLst>
            </p:cNvPr>
            <p:cNvSpPr/>
            <p:nvPr/>
          </p:nvSpPr>
          <p:spPr>
            <a:xfrm>
              <a:off x="3192238"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53" name="Rectangle 52">
              <a:extLst>
                <a:ext uri="{FF2B5EF4-FFF2-40B4-BE49-F238E27FC236}">
                  <a16:creationId xmlns:a16="http://schemas.microsoft.com/office/drawing/2014/main" id="{EF87CE87-D630-0372-4DAD-B00263E7EDB9}"/>
                </a:ext>
              </a:extLst>
            </p:cNvPr>
            <p:cNvSpPr/>
            <p:nvPr/>
          </p:nvSpPr>
          <p:spPr>
            <a:xfrm>
              <a:off x="373506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54" name="Group 53">
            <a:extLst>
              <a:ext uri="{FF2B5EF4-FFF2-40B4-BE49-F238E27FC236}">
                <a16:creationId xmlns:a16="http://schemas.microsoft.com/office/drawing/2014/main" id="{C2A4C9AE-39B2-B996-E95C-B203D767E881}"/>
              </a:ext>
            </a:extLst>
          </p:cNvPr>
          <p:cNvGrpSpPr/>
          <p:nvPr userDrawn="1"/>
        </p:nvGrpSpPr>
        <p:grpSpPr>
          <a:xfrm>
            <a:off x="5281263" y="2425597"/>
            <a:ext cx="1639650" cy="2193648"/>
            <a:chOff x="5281263" y="2425597"/>
            <a:chExt cx="1639650" cy="2193648"/>
          </a:xfrm>
        </p:grpSpPr>
        <p:sp>
          <p:nvSpPr>
            <p:cNvPr id="55" name="Rectangle 54">
              <a:extLst>
                <a:ext uri="{FF2B5EF4-FFF2-40B4-BE49-F238E27FC236}">
                  <a16:creationId xmlns:a16="http://schemas.microsoft.com/office/drawing/2014/main" id="{7A3DAFEA-5340-0B20-CD86-782D377048B1}"/>
                </a:ext>
              </a:extLst>
            </p:cNvPr>
            <p:cNvSpPr/>
            <p:nvPr/>
          </p:nvSpPr>
          <p:spPr>
            <a:xfrm>
              <a:off x="5281263"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56" name="Rectangle 55">
              <a:extLst>
                <a:ext uri="{FF2B5EF4-FFF2-40B4-BE49-F238E27FC236}">
                  <a16:creationId xmlns:a16="http://schemas.microsoft.com/office/drawing/2014/main" id="{80202B90-3BEC-EA4C-C824-2F41115E913E}"/>
                </a:ext>
              </a:extLst>
            </p:cNvPr>
            <p:cNvSpPr/>
            <p:nvPr/>
          </p:nvSpPr>
          <p:spPr>
            <a:xfrm>
              <a:off x="5829997"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57" name="Group 56">
            <a:extLst>
              <a:ext uri="{FF2B5EF4-FFF2-40B4-BE49-F238E27FC236}">
                <a16:creationId xmlns:a16="http://schemas.microsoft.com/office/drawing/2014/main" id="{37D47042-1C56-7671-2C9A-D1436407C7CA}"/>
              </a:ext>
            </a:extLst>
          </p:cNvPr>
          <p:cNvGrpSpPr/>
          <p:nvPr userDrawn="1"/>
        </p:nvGrpSpPr>
        <p:grpSpPr>
          <a:xfrm>
            <a:off x="7363945" y="2979595"/>
            <a:ext cx="1639650" cy="2180164"/>
            <a:chOff x="7363945" y="2979595"/>
            <a:chExt cx="1639650" cy="2180164"/>
          </a:xfrm>
        </p:grpSpPr>
        <p:sp>
          <p:nvSpPr>
            <p:cNvPr id="58" name="Rectangle 57">
              <a:extLst>
                <a:ext uri="{FF2B5EF4-FFF2-40B4-BE49-F238E27FC236}">
                  <a16:creationId xmlns:a16="http://schemas.microsoft.com/office/drawing/2014/main" id="{7FA645B3-4923-1B88-6732-093E8AA4702D}"/>
                </a:ext>
              </a:extLst>
            </p:cNvPr>
            <p:cNvSpPr/>
            <p:nvPr/>
          </p:nvSpPr>
          <p:spPr>
            <a:xfrm>
              <a:off x="7363945"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59" name="Rectangle 58">
              <a:extLst>
                <a:ext uri="{FF2B5EF4-FFF2-40B4-BE49-F238E27FC236}">
                  <a16:creationId xmlns:a16="http://schemas.microsoft.com/office/drawing/2014/main" id="{25BBDAA1-4F56-41BD-AD67-5AFD964577D8}"/>
                </a:ext>
              </a:extLst>
            </p:cNvPr>
            <p:cNvSpPr/>
            <p:nvPr/>
          </p:nvSpPr>
          <p:spPr>
            <a:xfrm>
              <a:off x="7926988" y="4605761"/>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grpSp>
        <p:nvGrpSpPr>
          <p:cNvPr id="60" name="Group 59">
            <a:extLst>
              <a:ext uri="{FF2B5EF4-FFF2-40B4-BE49-F238E27FC236}">
                <a16:creationId xmlns:a16="http://schemas.microsoft.com/office/drawing/2014/main" id="{791C01F6-01E0-EF5A-D98A-823A20014928}"/>
              </a:ext>
            </a:extLst>
          </p:cNvPr>
          <p:cNvGrpSpPr/>
          <p:nvPr userDrawn="1"/>
        </p:nvGrpSpPr>
        <p:grpSpPr>
          <a:xfrm>
            <a:off x="9441696" y="2425597"/>
            <a:ext cx="1639650" cy="2193648"/>
            <a:chOff x="9441696" y="2425597"/>
            <a:chExt cx="1639650" cy="2193648"/>
          </a:xfrm>
        </p:grpSpPr>
        <p:sp>
          <p:nvSpPr>
            <p:cNvPr id="61" name="Rectangle 60">
              <a:extLst>
                <a:ext uri="{FF2B5EF4-FFF2-40B4-BE49-F238E27FC236}">
                  <a16:creationId xmlns:a16="http://schemas.microsoft.com/office/drawing/2014/main" id="{1646B648-A342-14EF-38F9-A1F4B9A02081}"/>
                </a:ext>
              </a:extLst>
            </p:cNvPr>
            <p:cNvSpPr/>
            <p:nvPr/>
          </p:nvSpPr>
          <p:spPr>
            <a:xfrm>
              <a:off x="9441696"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62" name="Rectangle 61">
              <a:extLst>
                <a:ext uri="{FF2B5EF4-FFF2-40B4-BE49-F238E27FC236}">
                  <a16:creationId xmlns:a16="http://schemas.microsoft.com/office/drawing/2014/main" id="{C4F5709A-889C-7AB8-738A-A94D4F500368}"/>
                </a:ext>
              </a:extLst>
            </p:cNvPr>
            <p:cNvSpPr/>
            <p:nvPr/>
          </p:nvSpPr>
          <p:spPr>
            <a:xfrm>
              <a:off x="9984522"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5</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Five steps</a:t>
            </a:r>
          </a:p>
        </p:txBody>
      </p:sp>
      <p:sp>
        <p:nvSpPr>
          <p:cNvPr id="32" name="Text Placeholder 13">
            <a:extLst>
              <a:ext uri="{FF2B5EF4-FFF2-40B4-BE49-F238E27FC236}">
                <a16:creationId xmlns:a16="http://schemas.microsoft.com/office/drawing/2014/main" id="{3D02A3F8-2300-A4BC-2F08-B61F3C00E7EF}"/>
              </a:ext>
            </a:extLst>
          </p:cNvPr>
          <p:cNvSpPr>
            <a:spLocks noGrp="1"/>
          </p:cNvSpPr>
          <p:nvPr>
            <p:ph type="body" sz="quarter" idx="18" hasCustomPrompt="1"/>
          </p:nvPr>
        </p:nvSpPr>
        <p:spPr>
          <a:xfrm>
            <a:off x="9570014" y="3031910"/>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63" name="Text Placeholder 13">
            <a:extLst>
              <a:ext uri="{FF2B5EF4-FFF2-40B4-BE49-F238E27FC236}">
                <a16:creationId xmlns:a16="http://schemas.microsoft.com/office/drawing/2014/main" id="{3F12520C-20EB-9611-823C-6FE27C8CC0AA}"/>
              </a:ext>
            </a:extLst>
          </p:cNvPr>
          <p:cNvSpPr>
            <a:spLocks noGrp="1"/>
          </p:cNvSpPr>
          <p:nvPr>
            <p:ph type="body" sz="quarter" idx="19" hasCustomPrompt="1"/>
          </p:nvPr>
        </p:nvSpPr>
        <p:spPr>
          <a:xfrm>
            <a:off x="7502594" y="3049309"/>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64" name="Text Placeholder 13">
            <a:extLst>
              <a:ext uri="{FF2B5EF4-FFF2-40B4-BE49-F238E27FC236}">
                <a16:creationId xmlns:a16="http://schemas.microsoft.com/office/drawing/2014/main" id="{7D052B7F-2721-13C1-C404-032445D1B13B}"/>
              </a:ext>
            </a:extLst>
          </p:cNvPr>
          <p:cNvSpPr>
            <a:spLocks noGrp="1"/>
          </p:cNvSpPr>
          <p:nvPr>
            <p:ph type="body" sz="quarter" idx="20" hasCustomPrompt="1"/>
          </p:nvPr>
        </p:nvSpPr>
        <p:spPr>
          <a:xfrm>
            <a:off x="5385019" y="3063831"/>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65" name="Text Placeholder 13">
            <a:extLst>
              <a:ext uri="{FF2B5EF4-FFF2-40B4-BE49-F238E27FC236}">
                <a16:creationId xmlns:a16="http://schemas.microsoft.com/office/drawing/2014/main" id="{F65EDA93-4503-51CA-F678-63C71EC9623E}"/>
              </a:ext>
            </a:extLst>
          </p:cNvPr>
          <p:cNvSpPr>
            <a:spLocks noGrp="1"/>
          </p:cNvSpPr>
          <p:nvPr>
            <p:ph type="body" sz="quarter" idx="21" hasCustomPrompt="1"/>
          </p:nvPr>
        </p:nvSpPr>
        <p:spPr>
          <a:xfrm>
            <a:off x="3310670" y="3063831"/>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66" name="Text Placeholder 13">
            <a:extLst>
              <a:ext uri="{FF2B5EF4-FFF2-40B4-BE49-F238E27FC236}">
                <a16:creationId xmlns:a16="http://schemas.microsoft.com/office/drawing/2014/main" id="{60ED96AB-A9DF-CCB0-6A3C-8C2335B359B6}"/>
              </a:ext>
            </a:extLst>
          </p:cNvPr>
          <p:cNvSpPr>
            <a:spLocks noGrp="1"/>
          </p:cNvSpPr>
          <p:nvPr>
            <p:ph type="body" sz="quarter" idx="22" hasCustomPrompt="1"/>
          </p:nvPr>
        </p:nvSpPr>
        <p:spPr>
          <a:xfrm>
            <a:off x="1218581" y="3064869"/>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grpSp>
        <p:nvGrpSpPr>
          <p:cNvPr id="4" name="Group 3">
            <a:extLst>
              <a:ext uri="{FF2B5EF4-FFF2-40B4-BE49-F238E27FC236}">
                <a16:creationId xmlns:a16="http://schemas.microsoft.com/office/drawing/2014/main" id="{3E43F683-1C6F-A88B-EFFC-61BC47677550}"/>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F0BB7C12-9431-1214-9728-8DE6F37EC96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6C56782E-34FF-E284-2A8D-B06567E6BE1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C8CE0A39-3084-89AE-20EF-54FD22D0050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6DB74D76-6F5B-B6EB-27C5-31216EF0DBF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15CCA372-C970-2C10-12DC-8817DD759D7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52649EA7-7E02-3F79-D519-68C2F5E1DA0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4C30C4DC-334E-7632-2706-329FFE4D4C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25238054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 step process squ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Six steps</a:t>
            </a:r>
          </a:p>
        </p:txBody>
      </p:sp>
      <p:grpSp>
        <p:nvGrpSpPr>
          <p:cNvPr id="4" name="Group 3">
            <a:extLst>
              <a:ext uri="{FF2B5EF4-FFF2-40B4-BE49-F238E27FC236}">
                <a16:creationId xmlns:a16="http://schemas.microsoft.com/office/drawing/2014/main" id="{E2410661-25E7-BC05-F79F-7A1B3B5C2723}"/>
              </a:ext>
            </a:extLst>
          </p:cNvPr>
          <p:cNvGrpSpPr/>
          <p:nvPr userDrawn="1"/>
        </p:nvGrpSpPr>
        <p:grpSpPr>
          <a:xfrm>
            <a:off x="2030682" y="2280627"/>
            <a:ext cx="6609908" cy="1843161"/>
            <a:chOff x="2013336" y="1825825"/>
            <a:chExt cx="6609908" cy="2357252"/>
          </a:xfrm>
        </p:grpSpPr>
        <p:cxnSp>
          <p:nvCxnSpPr>
            <p:cNvPr id="5" name="Straight Connector 4">
              <a:extLst>
                <a:ext uri="{FF2B5EF4-FFF2-40B4-BE49-F238E27FC236}">
                  <a16:creationId xmlns:a16="http://schemas.microsoft.com/office/drawing/2014/main" id="{9FDDAACE-DDD2-7AD0-6D39-7983859DEA4B}"/>
                </a:ext>
              </a:extLst>
            </p:cNvPr>
            <p:cNvCxnSpPr>
              <a:cxnSpLocks/>
            </p:cNvCxnSpPr>
            <p:nvPr/>
          </p:nvCxnSpPr>
          <p:spPr>
            <a:xfrm flipV="1">
              <a:off x="5319034" y="1825825"/>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95451CD-AC90-039A-560D-00D23DF21C19}"/>
                </a:ext>
              </a:extLst>
            </p:cNvPr>
            <p:cNvCxnSpPr>
              <a:cxnSpLocks/>
            </p:cNvCxnSpPr>
            <p:nvPr/>
          </p:nvCxnSpPr>
          <p:spPr>
            <a:xfrm flipV="1">
              <a:off x="8623244" y="1825825"/>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6F6B862-3D97-E7E4-E8D7-D07A5CB23555}"/>
                </a:ext>
              </a:extLst>
            </p:cNvPr>
            <p:cNvCxnSpPr>
              <a:cxnSpLocks/>
            </p:cNvCxnSpPr>
            <p:nvPr/>
          </p:nvCxnSpPr>
          <p:spPr>
            <a:xfrm flipV="1">
              <a:off x="2013336" y="1825825"/>
              <a:ext cx="0" cy="2357252"/>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32E741A1-36F0-35A5-D6AF-BF9437705307}"/>
              </a:ext>
            </a:extLst>
          </p:cNvPr>
          <p:cNvGrpSpPr/>
          <p:nvPr userDrawn="1"/>
        </p:nvGrpSpPr>
        <p:grpSpPr>
          <a:xfrm>
            <a:off x="3636041" y="3400388"/>
            <a:ext cx="6599890" cy="1563386"/>
            <a:chOff x="1973738" y="1825824"/>
            <a:chExt cx="6599890" cy="1824577"/>
          </a:xfrm>
        </p:grpSpPr>
        <p:cxnSp>
          <p:nvCxnSpPr>
            <p:cNvPr id="9" name="Straight Connector 8">
              <a:extLst>
                <a:ext uri="{FF2B5EF4-FFF2-40B4-BE49-F238E27FC236}">
                  <a16:creationId xmlns:a16="http://schemas.microsoft.com/office/drawing/2014/main" id="{1EF9C788-2C3D-7C08-CAB3-D39E6666EC9A}"/>
                </a:ext>
              </a:extLst>
            </p:cNvPr>
            <p:cNvCxnSpPr>
              <a:cxnSpLocks/>
            </p:cNvCxnSpPr>
            <p:nvPr/>
          </p:nvCxnSpPr>
          <p:spPr>
            <a:xfrm flipV="1">
              <a:off x="5303439" y="1825824"/>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FBE302A-AA31-3A92-30E2-00CF2A0E89AE}"/>
                </a:ext>
              </a:extLst>
            </p:cNvPr>
            <p:cNvCxnSpPr>
              <a:cxnSpLocks/>
            </p:cNvCxnSpPr>
            <p:nvPr/>
          </p:nvCxnSpPr>
          <p:spPr>
            <a:xfrm flipV="1">
              <a:off x="8573628" y="1825825"/>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08CBAF4-4C32-3A25-D613-89773A2F0258}"/>
                </a:ext>
              </a:extLst>
            </p:cNvPr>
            <p:cNvCxnSpPr>
              <a:cxnSpLocks/>
            </p:cNvCxnSpPr>
            <p:nvPr/>
          </p:nvCxnSpPr>
          <p:spPr>
            <a:xfrm flipV="1">
              <a:off x="1973738" y="1825825"/>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74D63780-8115-8D3D-24EE-7E948E36E9E1}"/>
              </a:ext>
            </a:extLst>
          </p:cNvPr>
          <p:cNvSpPr/>
          <p:nvPr userDrawn="1"/>
        </p:nvSpPr>
        <p:spPr>
          <a:xfrm>
            <a:off x="6432119" y="3187694"/>
            <a:ext cx="1019463" cy="101946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sp>
        <p:nvSpPr>
          <p:cNvPr id="13" name="Rectangle 12">
            <a:extLst>
              <a:ext uri="{FF2B5EF4-FFF2-40B4-BE49-F238E27FC236}">
                <a16:creationId xmlns:a16="http://schemas.microsoft.com/office/drawing/2014/main" id="{89612DB7-5E79-E814-553D-DF6797AA6016}"/>
              </a:ext>
            </a:extLst>
          </p:cNvPr>
          <p:cNvSpPr/>
          <p:nvPr userDrawn="1"/>
        </p:nvSpPr>
        <p:spPr>
          <a:xfrm>
            <a:off x="4822189" y="3187694"/>
            <a:ext cx="1019463" cy="10194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sp>
        <p:nvSpPr>
          <p:cNvPr id="14" name="Rectangle 13">
            <a:extLst>
              <a:ext uri="{FF2B5EF4-FFF2-40B4-BE49-F238E27FC236}">
                <a16:creationId xmlns:a16="http://schemas.microsoft.com/office/drawing/2014/main" id="{84875804-D392-3F28-6F27-423910218D1E}"/>
              </a:ext>
            </a:extLst>
          </p:cNvPr>
          <p:cNvSpPr/>
          <p:nvPr userDrawn="1"/>
        </p:nvSpPr>
        <p:spPr>
          <a:xfrm>
            <a:off x="8130859" y="3187694"/>
            <a:ext cx="1019463" cy="10194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5</a:t>
            </a:r>
          </a:p>
        </p:txBody>
      </p:sp>
      <p:sp>
        <p:nvSpPr>
          <p:cNvPr id="15" name="Rectangle 14">
            <a:extLst>
              <a:ext uri="{FF2B5EF4-FFF2-40B4-BE49-F238E27FC236}">
                <a16:creationId xmlns:a16="http://schemas.microsoft.com/office/drawing/2014/main" id="{14052B3B-A426-9271-A001-5B911C7112CF}"/>
              </a:ext>
            </a:extLst>
          </p:cNvPr>
          <p:cNvSpPr/>
          <p:nvPr userDrawn="1"/>
        </p:nvSpPr>
        <p:spPr>
          <a:xfrm>
            <a:off x="3138004" y="3187694"/>
            <a:ext cx="1019463" cy="101946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sp>
        <p:nvSpPr>
          <p:cNvPr id="17" name="Rectangle 16">
            <a:extLst>
              <a:ext uri="{FF2B5EF4-FFF2-40B4-BE49-F238E27FC236}">
                <a16:creationId xmlns:a16="http://schemas.microsoft.com/office/drawing/2014/main" id="{1D1F476D-1A4F-975C-22BD-6CBA9ADB5D67}"/>
              </a:ext>
            </a:extLst>
          </p:cNvPr>
          <p:cNvSpPr/>
          <p:nvPr userDrawn="1"/>
        </p:nvSpPr>
        <p:spPr>
          <a:xfrm>
            <a:off x="1501109" y="3187694"/>
            <a:ext cx="1019463" cy="10194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sp>
        <p:nvSpPr>
          <p:cNvPr id="18" name="Freeform 17">
            <a:extLst>
              <a:ext uri="{FF2B5EF4-FFF2-40B4-BE49-F238E27FC236}">
                <a16:creationId xmlns:a16="http://schemas.microsoft.com/office/drawing/2014/main" id="{2F90AA44-A558-D041-048A-DF649593567D}"/>
              </a:ext>
            </a:extLst>
          </p:cNvPr>
          <p:cNvSpPr/>
          <p:nvPr userDrawn="1"/>
        </p:nvSpPr>
        <p:spPr>
          <a:xfrm>
            <a:off x="809471" y="2772455"/>
            <a:ext cx="10626879" cy="1843161"/>
          </a:xfrm>
          <a:custGeom>
            <a:avLst/>
            <a:gdLst>
              <a:gd name="connsiteX0" fmla="*/ 10110574 w 10565864"/>
              <a:gd name="connsiteY0" fmla="*/ 0 h 1832578"/>
              <a:gd name="connsiteX1" fmla="*/ 10286830 w 10565864"/>
              <a:gd name="connsiteY1" fmla="*/ 0 h 1832578"/>
              <a:gd name="connsiteX2" fmla="*/ 10286830 w 10565864"/>
              <a:gd name="connsiteY2" fmla="*/ 452 h 1832578"/>
              <a:gd name="connsiteX3" fmla="*/ 10286831 w 10565864"/>
              <a:gd name="connsiteY3" fmla="*/ 452 h 1832578"/>
              <a:gd name="connsiteX4" fmla="*/ 10286831 w 10565864"/>
              <a:gd name="connsiteY4" fmla="*/ 176709 h 1832578"/>
              <a:gd name="connsiteX5" fmla="*/ 10286830 w 10565864"/>
              <a:gd name="connsiteY5" fmla="*/ 176709 h 1832578"/>
              <a:gd name="connsiteX6" fmla="*/ 10286830 w 10565864"/>
              <a:gd name="connsiteY6" fmla="*/ 1656321 h 1832578"/>
              <a:gd name="connsiteX7" fmla="*/ 10565864 w 10565864"/>
              <a:gd name="connsiteY7" fmla="*/ 1656321 h 1832578"/>
              <a:gd name="connsiteX8" fmla="*/ 10565864 w 10565864"/>
              <a:gd name="connsiteY8" fmla="*/ 1832578 h 1832578"/>
              <a:gd name="connsiteX9" fmla="*/ 10118439 w 10565864"/>
              <a:gd name="connsiteY9" fmla="*/ 1832578 h 1832578"/>
              <a:gd name="connsiteX10" fmla="*/ 10118439 w 10565864"/>
              <a:gd name="connsiteY10" fmla="*/ 1814553 h 1832578"/>
              <a:gd name="connsiteX11" fmla="*/ 10110574 w 10565864"/>
              <a:gd name="connsiteY11" fmla="*/ 1814553 h 1832578"/>
              <a:gd name="connsiteX12" fmla="*/ 10110574 w 10565864"/>
              <a:gd name="connsiteY12" fmla="*/ 176709 h 1832578"/>
              <a:gd name="connsiteX13" fmla="*/ 8658823 w 10565864"/>
              <a:gd name="connsiteY13" fmla="*/ 176709 h 1832578"/>
              <a:gd name="connsiteX14" fmla="*/ 8658823 w 10565864"/>
              <a:gd name="connsiteY14" fmla="*/ 1626887 h 1832578"/>
              <a:gd name="connsiteX15" fmla="*/ 8658823 w 10565864"/>
              <a:gd name="connsiteY15" fmla="*/ 1814552 h 1832578"/>
              <a:gd name="connsiteX16" fmla="*/ 8471157 w 10565864"/>
              <a:gd name="connsiteY16" fmla="*/ 1814552 h 1832578"/>
              <a:gd name="connsiteX17" fmla="*/ 7032390 w 10565864"/>
              <a:gd name="connsiteY17" fmla="*/ 1814552 h 1832578"/>
              <a:gd name="connsiteX18" fmla="*/ 6844727 w 10565864"/>
              <a:gd name="connsiteY18" fmla="*/ 1814552 h 1832578"/>
              <a:gd name="connsiteX19" fmla="*/ 6844727 w 10565864"/>
              <a:gd name="connsiteY19" fmla="*/ 1626887 h 1832578"/>
              <a:gd name="connsiteX20" fmla="*/ 6844727 w 10565864"/>
              <a:gd name="connsiteY20" fmla="*/ 188119 h 1832578"/>
              <a:gd name="connsiteX21" fmla="*/ 5376188 w 10565864"/>
              <a:gd name="connsiteY21" fmla="*/ 188119 h 1832578"/>
              <a:gd name="connsiteX22" fmla="*/ 5376188 w 10565864"/>
              <a:gd name="connsiteY22" fmla="*/ 1626887 h 1832578"/>
              <a:gd name="connsiteX23" fmla="*/ 5376188 w 10565864"/>
              <a:gd name="connsiteY23" fmla="*/ 1814552 h 1832578"/>
              <a:gd name="connsiteX24" fmla="*/ 5188522 w 10565864"/>
              <a:gd name="connsiteY24" fmla="*/ 1814552 h 1832578"/>
              <a:gd name="connsiteX25" fmla="*/ 3749756 w 10565864"/>
              <a:gd name="connsiteY25" fmla="*/ 1814552 h 1832578"/>
              <a:gd name="connsiteX26" fmla="*/ 3562090 w 10565864"/>
              <a:gd name="connsiteY26" fmla="*/ 1814552 h 1832578"/>
              <a:gd name="connsiteX27" fmla="*/ 3562090 w 10565864"/>
              <a:gd name="connsiteY27" fmla="*/ 1626887 h 1832578"/>
              <a:gd name="connsiteX28" fmla="*/ 3562090 w 10565864"/>
              <a:gd name="connsiteY28" fmla="*/ 188119 h 1832578"/>
              <a:gd name="connsiteX29" fmla="*/ 2085683 w 10565864"/>
              <a:gd name="connsiteY29" fmla="*/ 188119 h 1832578"/>
              <a:gd name="connsiteX30" fmla="*/ 2085683 w 10565864"/>
              <a:gd name="connsiteY30" fmla="*/ 1626887 h 1832578"/>
              <a:gd name="connsiteX31" fmla="*/ 2085683 w 10565864"/>
              <a:gd name="connsiteY31" fmla="*/ 1814552 h 1832578"/>
              <a:gd name="connsiteX32" fmla="*/ 1898017 w 10565864"/>
              <a:gd name="connsiteY32" fmla="*/ 1814552 h 1832578"/>
              <a:gd name="connsiteX33" fmla="*/ 459251 w 10565864"/>
              <a:gd name="connsiteY33" fmla="*/ 1814552 h 1832578"/>
              <a:gd name="connsiteX34" fmla="*/ 271585 w 10565864"/>
              <a:gd name="connsiteY34" fmla="*/ 1814552 h 1832578"/>
              <a:gd name="connsiteX35" fmla="*/ 271585 w 10565864"/>
              <a:gd name="connsiteY35" fmla="*/ 1626887 h 1832578"/>
              <a:gd name="connsiteX36" fmla="*/ 271585 w 10565864"/>
              <a:gd name="connsiteY36" fmla="*/ 188119 h 1832578"/>
              <a:gd name="connsiteX37" fmla="*/ 0 w 10565864"/>
              <a:gd name="connsiteY37" fmla="*/ 188119 h 1832578"/>
              <a:gd name="connsiteX38" fmla="*/ 0 w 10565864"/>
              <a:gd name="connsiteY38" fmla="*/ 453 h 1832578"/>
              <a:gd name="connsiteX39" fmla="*/ 459251 w 10565864"/>
              <a:gd name="connsiteY39" fmla="*/ 453 h 1832578"/>
              <a:gd name="connsiteX40" fmla="*/ 459251 w 10565864"/>
              <a:gd name="connsiteY40" fmla="*/ 454 h 1832578"/>
              <a:gd name="connsiteX41" fmla="*/ 459251 w 10565864"/>
              <a:gd name="connsiteY41" fmla="*/ 188119 h 1832578"/>
              <a:gd name="connsiteX42" fmla="*/ 459251 w 10565864"/>
              <a:gd name="connsiteY42" fmla="*/ 1626887 h 1832578"/>
              <a:gd name="connsiteX43" fmla="*/ 1898017 w 10565864"/>
              <a:gd name="connsiteY43" fmla="*/ 1626887 h 1832578"/>
              <a:gd name="connsiteX44" fmla="*/ 1898017 w 10565864"/>
              <a:gd name="connsiteY44" fmla="*/ 454 h 1832578"/>
              <a:gd name="connsiteX45" fmla="*/ 1935658 w 10565864"/>
              <a:gd name="connsiteY45" fmla="*/ 454 h 1832578"/>
              <a:gd name="connsiteX46" fmla="*/ 1935658 w 10565864"/>
              <a:gd name="connsiteY46" fmla="*/ 453 h 1832578"/>
              <a:gd name="connsiteX47" fmla="*/ 3749756 w 10565864"/>
              <a:gd name="connsiteY47" fmla="*/ 453 h 1832578"/>
              <a:gd name="connsiteX48" fmla="*/ 3749756 w 10565864"/>
              <a:gd name="connsiteY48" fmla="*/ 454 h 1832578"/>
              <a:gd name="connsiteX49" fmla="*/ 3749756 w 10565864"/>
              <a:gd name="connsiteY49" fmla="*/ 188119 h 1832578"/>
              <a:gd name="connsiteX50" fmla="*/ 3749756 w 10565864"/>
              <a:gd name="connsiteY50" fmla="*/ 1626887 h 1832578"/>
              <a:gd name="connsiteX51" fmla="*/ 5188522 w 10565864"/>
              <a:gd name="connsiteY51" fmla="*/ 1626887 h 1832578"/>
              <a:gd name="connsiteX52" fmla="*/ 5188522 w 10565864"/>
              <a:gd name="connsiteY52" fmla="*/ 454 h 1832578"/>
              <a:gd name="connsiteX53" fmla="*/ 5218294 w 10565864"/>
              <a:gd name="connsiteY53" fmla="*/ 454 h 1832578"/>
              <a:gd name="connsiteX54" fmla="*/ 5218294 w 10565864"/>
              <a:gd name="connsiteY54" fmla="*/ 453 h 1832578"/>
              <a:gd name="connsiteX55" fmla="*/ 7032390 w 10565864"/>
              <a:gd name="connsiteY55" fmla="*/ 453 h 1832578"/>
              <a:gd name="connsiteX56" fmla="*/ 7032390 w 10565864"/>
              <a:gd name="connsiteY56" fmla="*/ 454 h 1832578"/>
              <a:gd name="connsiteX57" fmla="*/ 7032390 w 10565864"/>
              <a:gd name="connsiteY57" fmla="*/ 188119 h 1832578"/>
              <a:gd name="connsiteX58" fmla="*/ 7032390 w 10565864"/>
              <a:gd name="connsiteY58" fmla="*/ 1626887 h 1832578"/>
              <a:gd name="connsiteX59" fmla="*/ 8471157 w 10565864"/>
              <a:gd name="connsiteY59" fmla="*/ 1626887 h 1832578"/>
              <a:gd name="connsiteX60" fmla="*/ 8471157 w 10565864"/>
              <a:gd name="connsiteY60" fmla="*/ 454 h 1832578"/>
              <a:gd name="connsiteX61" fmla="*/ 8472279 w 10565864"/>
              <a:gd name="connsiteY61" fmla="*/ 454 h 1832578"/>
              <a:gd name="connsiteX62" fmla="*/ 8472279 w 10565864"/>
              <a:gd name="connsiteY62" fmla="*/ 452 h 1832578"/>
              <a:gd name="connsiteX63" fmla="*/ 8508797 w 10565864"/>
              <a:gd name="connsiteY63" fmla="*/ 452 h 1832578"/>
              <a:gd name="connsiteX64" fmla="*/ 8881551 w 10565864"/>
              <a:gd name="connsiteY64" fmla="*/ 452 h 1832578"/>
              <a:gd name="connsiteX65" fmla="*/ 10110574 w 10565864"/>
              <a:gd name="connsiteY65" fmla="*/ 452 h 183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0565864" h="1832578">
                <a:moveTo>
                  <a:pt x="10110574" y="0"/>
                </a:moveTo>
                <a:lnTo>
                  <a:pt x="10286830" y="0"/>
                </a:lnTo>
                <a:lnTo>
                  <a:pt x="10286830" y="452"/>
                </a:lnTo>
                <a:lnTo>
                  <a:pt x="10286831" y="452"/>
                </a:lnTo>
                <a:lnTo>
                  <a:pt x="10286831" y="176709"/>
                </a:lnTo>
                <a:lnTo>
                  <a:pt x="10286830" y="176709"/>
                </a:lnTo>
                <a:lnTo>
                  <a:pt x="10286830" y="1656321"/>
                </a:lnTo>
                <a:lnTo>
                  <a:pt x="10565864" y="1656321"/>
                </a:lnTo>
                <a:lnTo>
                  <a:pt x="10565864" y="1832578"/>
                </a:lnTo>
                <a:lnTo>
                  <a:pt x="10118439" y="1832578"/>
                </a:lnTo>
                <a:lnTo>
                  <a:pt x="10118439" y="1814553"/>
                </a:lnTo>
                <a:lnTo>
                  <a:pt x="10110574" y="1814553"/>
                </a:lnTo>
                <a:lnTo>
                  <a:pt x="10110574" y="176709"/>
                </a:lnTo>
                <a:lnTo>
                  <a:pt x="8658823" y="176709"/>
                </a:lnTo>
                <a:lnTo>
                  <a:pt x="8658823" y="1626887"/>
                </a:lnTo>
                <a:lnTo>
                  <a:pt x="8658823" y="1814552"/>
                </a:lnTo>
                <a:lnTo>
                  <a:pt x="8471157" y="1814552"/>
                </a:lnTo>
                <a:lnTo>
                  <a:pt x="7032390" y="1814552"/>
                </a:lnTo>
                <a:lnTo>
                  <a:pt x="6844727" y="1814552"/>
                </a:lnTo>
                <a:lnTo>
                  <a:pt x="6844727" y="1626887"/>
                </a:lnTo>
                <a:lnTo>
                  <a:pt x="6844727" y="188119"/>
                </a:lnTo>
                <a:lnTo>
                  <a:pt x="5376188" y="188119"/>
                </a:lnTo>
                <a:lnTo>
                  <a:pt x="5376188" y="1626887"/>
                </a:lnTo>
                <a:lnTo>
                  <a:pt x="5376188" y="1814552"/>
                </a:lnTo>
                <a:lnTo>
                  <a:pt x="5188522" y="1814552"/>
                </a:lnTo>
                <a:lnTo>
                  <a:pt x="3749756" y="1814552"/>
                </a:lnTo>
                <a:lnTo>
                  <a:pt x="3562090" y="1814552"/>
                </a:lnTo>
                <a:lnTo>
                  <a:pt x="3562090" y="1626887"/>
                </a:lnTo>
                <a:lnTo>
                  <a:pt x="3562090" y="188119"/>
                </a:lnTo>
                <a:lnTo>
                  <a:pt x="2085683" y="188119"/>
                </a:lnTo>
                <a:lnTo>
                  <a:pt x="2085683" y="1626887"/>
                </a:lnTo>
                <a:lnTo>
                  <a:pt x="2085683" y="1814552"/>
                </a:lnTo>
                <a:lnTo>
                  <a:pt x="1898017" y="1814552"/>
                </a:lnTo>
                <a:lnTo>
                  <a:pt x="459251" y="1814552"/>
                </a:lnTo>
                <a:lnTo>
                  <a:pt x="271585" y="1814552"/>
                </a:lnTo>
                <a:lnTo>
                  <a:pt x="271585" y="1626887"/>
                </a:lnTo>
                <a:lnTo>
                  <a:pt x="271585" y="188119"/>
                </a:lnTo>
                <a:lnTo>
                  <a:pt x="0" y="188119"/>
                </a:lnTo>
                <a:lnTo>
                  <a:pt x="0" y="453"/>
                </a:lnTo>
                <a:lnTo>
                  <a:pt x="459251" y="453"/>
                </a:lnTo>
                <a:lnTo>
                  <a:pt x="459251" y="454"/>
                </a:lnTo>
                <a:lnTo>
                  <a:pt x="459251" y="188119"/>
                </a:lnTo>
                <a:lnTo>
                  <a:pt x="459251" y="1626887"/>
                </a:lnTo>
                <a:lnTo>
                  <a:pt x="1898017" y="1626887"/>
                </a:lnTo>
                <a:lnTo>
                  <a:pt x="1898017" y="454"/>
                </a:lnTo>
                <a:lnTo>
                  <a:pt x="1935658" y="454"/>
                </a:lnTo>
                <a:lnTo>
                  <a:pt x="1935658" y="453"/>
                </a:lnTo>
                <a:lnTo>
                  <a:pt x="3749756" y="453"/>
                </a:lnTo>
                <a:lnTo>
                  <a:pt x="3749756" y="454"/>
                </a:lnTo>
                <a:lnTo>
                  <a:pt x="3749756" y="188119"/>
                </a:lnTo>
                <a:lnTo>
                  <a:pt x="3749756" y="1626887"/>
                </a:lnTo>
                <a:lnTo>
                  <a:pt x="5188522" y="1626887"/>
                </a:lnTo>
                <a:lnTo>
                  <a:pt x="5188522" y="454"/>
                </a:lnTo>
                <a:lnTo>
                  <a:pt x="5218294" y="454"/>
                </a:lnTo>
                <a:lnTo>
                  <a:pt x="5218294" y="453"/>
                </a:lnTo>
                <a:lnTo>
                  <a:pt x="7032390" y="453"/>
                </a:lnTo>
                <a:lnTo>
                  <a:pt x="7032390" y="454"/>
                </a:lnTo>
                <a:lnTo>
                  <a:pt x="7032390" y="188119"/>
                </a:lnTo>
                <a:lnTo>
                  <a:pt x="7032390" y="1626887"/>
                </a:lnTo>
                <a:lnTo>
                  <a:pt x="8471157" y="1626887"/>
                </a:lnTo>
                <a:lnTo>
                  <a:pt x="8471157" y="454"/>
                </a:lnTo>
                <a:lnTo>
                  <a:pt x="8472279" y="454"/>
                </a:lnTo>
                <a:lnTo>
                  <a:pt x="8472279" y="452"/>
                </a:lnTo>
                <a:lnTo>
                  <a:pt x="8508797" y="452"/>
                </a:lnTo>
                <a:lnTo>
                  <a:pt x="8881551" y="452"/>
                </a:lnTo>
                <a:lnTo>
                  <a:pt x="10110574" y="452"/>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endParaRPr lang="en-GB" sz="1400"/>
          </a:p>
        </p:txBody>
      </p:sp>
      <p:sp>
        <p:nvSpPr>
          <p:cNvPr id="19" name="Rectangle 18">
            <a:extLst>
              <a:ext uri="{FF2B5EF4-FFF2-40B4-BE49-F238E27FC236}">
                <a16:creationId xmlns:a16="http://schemas.microsoft.com/office/drawing/2014/main" id="{1A532B10-94D2-2983-7A95-ABD9FBD86D9C}"/>
              </a:ext>
            </a:extLst>
          </p:cNvPr>
          <p:cNvSpPr/>
          <p:nvPr userDrawn="1"/>
        </p:nvSpPr>
        <p:spPr>
          <a:xfrm>
            <a:off x="9745250" y="3187694"/>
            <a:ext cx="1019463" cy="101946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6</a:t>
            </a:r>
          </a:p>
        </p:txBody>
      </p:sp>
      <p:sp>
        <p:nvSpPr>
          <p:cNvPr id="82" name="Text Placeholder 5">
            <a:extLst>
              <a:ext uri="{FF2B5EF4-FFF2-40B4-BE49-F238E27FC236}">
                <a16:creationId xmlns:a16="http://schemas.microsoft.com/office/drawing/2014/main" id="{0BE2A4AC-0FC9-F7E0-E6AD-C847450DCD59}"/>
              </a:ext>
            </a:extLst>
          </p:cNvPr>
          <p:cNvSpPr>
            <a:spLocks noGrp="1"/>
          </p:cNvSpPr>
          <p:nvPr>
            <p:ph type="body" sz="quarter" idx="15" hasCustomPrompt="1"/>
          </p:nvPr>
        </p:nvSpPr>
        <p:spPr>
          <a:xfrm>
            <a:off x="1219200" y="1907838"/>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3" name="Text Placeholder 5">
            <a:extLst>
              <a:ext uri="{FF2B5EF4-FFF2-40B4-BE49-F238E27FC236}">
                <a16:creationId xmlns:a16="http://schemas.microsoft.com/office/drawing/2014/main" id="{22E64AD8-A9AC-DFBB-9C29-4E6C11118751}"/>
              </a:ext>
            </a:extLst>
          </p:cNvPr>
          <p:cNvSpPr>
            <a:spLocks noGrp="1"/>
          </p:cNvSpPr>
          <p:nvPr>
            <p:ph type="body" sz="quarter" idx="16" hasCustomPrompt="1"/>
          </p:nvPr>
        </p:nvSpPr>
        <p:spPr>
          <a:xfrm>
            <a:off x="2885736" y="5030855"/>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4" name="Text Placeholder 5">
            <a:extLst>
              <a:ext uri="{FF2B5EF4-FFF2-40B4-BE49-F238E27FC236}">
                <a16:creationId xmlns:a16="http://schemas.microsoft.com/office/drawing/2014/main" id="{1985CA0B-5A21-4A6A-5C12-F6AAAA77F92E}"/>
              </a:ext>
            </a:extLst>
          </p:cNvPr>
          <p:cNvSpPr>
            <a:spLocks noGrp="1"/>
          </p:cNvSpPr>
          <p:nvPr>
            <p:ph type="body" sz="quarter" idx="17" hasCustomPrompt="1"/>
          </p:nvPr>
        </p:nvSpPr>
        <p:spPr>
          <a:xfrm>
            <a:off x="4633747" y="1921846"/>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5" name="Text Placeholder 5">
            <a:extLst>
              <a:ext uri="{FF2B5EF4-FFF2-40B4-BE49-F238E27FC236}">
                <a16:creationId xmlns:a16="http://schemas.microsoft.com/office/drawing/2014/main" id="{DE98CC25-B513-25CF-6267-D3A04AE66829}"/>
              </a:ext>
            </a:extLst>
          </p:cNvPr>
          <p:cNvSpPr>
            <a:spLocks noGrp="1"/>
          </p:cNvSpPr>
          <p:nvPr>
            <p:ph type="body" sz="quarter" idx="18" hasCustomPrompt="1"/>
          </p:nvPr>
        </p:nvSpPr>
        <p:spPr>
          <a:xfrm>
            <a:off x="6203743" y="4994392"/>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6" name="Text Placeholder 5">
            <a:extLst>
              <a:ext uri="{FF2B5EF4-FFF2-40B4-BE49-F238E27FC236}">
                <a16:creationId xmlns:a16="http://schemas.microsoft.com/office/drawing/2014/main" id="{5C0EE793-C3CB-4831-3411-EE174E0C6FD5}"/>
              </a:ext>
            </a:extLst>
          </p:cNvPr>
          <p:cNvSpPr>
            <a:spLocks noGrp="1"/>
          </p:cNvSpPr>
          <p:nvPr>
            <p:ph type="body" sz="quarter" idx="19" hasCustomPrompt="1"/>
          </p:nvPr>
        </p:nvSpPr>
        <p:spPr>
          <a:xfrm>
            <a:off x="7878591" y="1921465"/>
            <a:ext cx="1523997" cy="330340"/>
          </a:xfrm>
        </p:spPr>
        <p:txBody>
          <a:bodyPr rIns="0"/>
          <a:lstStyle>
            <a:lvl1pPr algn="ctr">
              <a:spcBef>
                <a:spcPts val="0"/>
              </a:spcBef>
              <a:defRPr sz="2000">
                <a:solidFill>
                  <a:schemeClr val="tx1"/>
                </a:solidFill>
              </a:defRPr>
            </a:lvl1pPr>
          </a:lstStyle>
          <a:p>
            <a:pPr lvl="0"/>
            <a:r>
              <a:rPr lang="en-GB"/>
              <a:t>Five steps</a:t>
            </a:r>
          </a:p>
        </p:txBody>
      </p:sp>
      <p:sp>
        <p:nvSpPr>
          <p:cNvPr id="87" name="Text Placeholder 5">
            <a:extLst>
              <a:ext uri="{FF2B5EF4-FFF2-40B4-BE49-F238E27FC236}">
                <a16:creationId xmlns:a16="http://schemas.microsoft.com/office/drawing/2014/main" id="{E72FDE88-9CB9-7CF0-88D5-A55A2BE4A55E}"/>
              </a:ext>
            </a:extLst>
          </p:cNvPr>
          <p:cNvSpPr>
            <a:spLocks noGrp="1"/>
          </p:cNvSpPr>
          <p:nvPr>
            <p:ph type="body" sz="quarter" idx="20" hasCustomPrompt="1"/>
          </p:nvPr>
        </p:nvSpPr>
        <p:spPr>
          <a:xfrm>
            <a:off x="9523780" y="4963773"/>
            <a:ext cx="1523997" cy="330340"/>
          </a:xfrm>
        </p:spPr>
        <p:txBody>
          <a:bodyPr rIns="0"/>
          <a:lstStyle>
            <a:lvl1pPr algn="ctr">
              <a:spcBef>
                <a:spcPts val="0"/>
              </a:spcBef>
              <a:defRPr sz="2000">
                <a:solidFill>
                  <a:schemeClr val="tx1"/>
                </a:solidFill>
              </a:defRPr>
            </a:lvl1pPr>
          </a:lstStyle>
          <a:p>
            <a:pPr lvl="0"/>
            <a:r>
              <a:rPr lang="en-GB"/>
              <a:t>Placeholder</a:t>
            </a:r>
          </a:p>
        </p:txBody>
      </p:sp>
      <p:grpSp>
        <p:nvGrpSpPr>
          <p:cNvPr id="20" name="Group 19">
            <a:extLst>
              <a:ext uri="{FF2B5EF4-FFF2-40B4-BE49-F238E27FC236}">
                <a16:creationId xmlns:a16="http://schemas.microsoft.com/office/drawing/2014/main" id="{32A8C1D3-01D9-B985-251B-39ADAE83B9FA}"/>
              </a:ext>
            </a:extLst>
          </p:cNvPr>
          <p:cNvGrpSpPr/>
          <p:nvPr userDrawn="1"/>
        </p:nvGrpSpPr>
        <p:grpSpPr>
          <a:xfrm>
            <a:off x="10863102" y="309052"/>
            <a:ext cx="911847" cy="382707"/>
            <a:chOff x="7459170" y="481236"/>
            <a:chExt cx="2697427" cy="1132124"/>
          </a:xfrm>
        </p:grpSpPr>
        <p:sp>
          <p:nvSpPr>
            <p:cNvPr id="21" name="Freeform 9">
              <a:extLst>
                <a:ext uri="{FF2B5EF4-FFF2-40B4-BE49-F238E27FC236}">
                  <a16:creationId xmlns:a16="http://schemas.microsoft.com/office/drawing/2014/main" id="{D354E2E7-A838-B3A0-8B4C-4D0E7F026AC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2" name="Freeform 11">
              <a:extLst>
                <a:ext uri="{FF2B5EF4-FFF2-40B4-BE49-F238E27FC236}">
                  <a16:creationId xmlns:a16="http://schemas.microsoft.com/office/drawing/2014/main" id="{AE956161-758C-70C9-7CE4-B74CDAE56B4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286EE0D6-3C60-65FE-B56C-ED6D5787BA6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EAEFB32D-5617-9097-DDAF-07FAEC69A09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0FA4363B-DCC7-FAE5-6AB6-7501B7F6063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362EBB3B-C78C-6DE2-EDE1-2DFD7A15DB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ECC38E84-0F92-330C-CFEF-BCD064E01D9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016081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7 step process square">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B4F697B3-5F52-F563-C703-96202FC2B31E}"/>
              </a:ext>
            </a:extLst>
          </p:cNvPr>
          <p:cNvGrpSpPr/>
          <p:nvPr userDrawn="1"/>
        </p:nvGrpSpPr>
        <p:grpSpPr>
          <a:xfrm>
            <a:off x="815974" y="2285999"/>
            <a:ext cx="10620376" cy="2911014"/>
            <a:chOff x="815974" y="2177107"/>
            <a:chExt cx="10531650" cy="2886693"/>
          </a:xfrm>
        </p:grpSpPr>
        <p:grpSp>
          <p:nvGrpSpPr>
            <p:cNvPr id="25" name="Group 24">
              <a:extLst>
                <a:ext uri="{FF2B5EF4-FFF2-40B4-BE49-F238E27FC236}">
                  <a16:creationId xmlns:a16="http://schemas.microsoft.com/office/drawing/2014/main" id="{796CD2C5-04C2-BA40-BCBA-FD69F9120D2C}"/>
                </a:ext>
              </a:extLst>
            </p:cNvPr>
            <p:cNvGrpSpPr/>
            <p:nvPr/>
          </p:nvGrpSpPr>
          <p:grpSpPr>
            <a:xfrm>
              <a:off x="7118880" y="3246448"/>
              <a:ext cx="919869" cy="1817352"/>
              <a:chOff x="7118880" y="3246448"/>
              <a:chExt cx="919869" cy="1817352"/>
            </a:xfrm>
          </p:grpSpPr>
          <p:cxnSp>
            <p:nvCxnSpPr>
              <p:cNvPr id="45" name="Straight Connector 44">
                <a:extLst>
                  <a:ext uri="{FF2B5EF4-FFF2-40B4-BE49-F238E27FC236}">
                    <a16:creationId xmlns:a16="http://schemas.microsoft.com/office/drawing/2014/main" id="{500BE1BA-A902-07AA-FD88-7171A29F7E19}"/>
                  </a:ext>
                </a:extLst>
              </p:cNvPr>
              <p:cNvCxnSpPr>
                <a:cxnSpLocks/>
              </p:cNvCxnSpPr>
              <p:nvPr/>
            </p:nvCxnSpPr>
            <p:spPr>
              <a:xfrm flipV="1">
                <a:off x="7595974" y="3417472"/>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48748A9-BF15-947A-8C51-594580E9B2A0}"/>
                  </a:ext>
                </a:extLst>
              </p:cNvPr>
              <p:cNvSpPr/>
              <p:nvPr/>
            </p:nvSpPr>
            <p:spPr>
              <a:xfrm>
                <a:off x="7118880"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5</a:t>
                </a:r>
              </a:p>
            </p:txBody>
          </p:sp>
        </p:grpSp>
        <p:grpSp>
          <p:nvGrpSpPr>
            <p:cNvPr id="26" name="Group 25">
              <a:extLst>
                <a:ext uri="{FF2B5EF4-FFF2-40B4-BE49-F238E27FC236}">
                  <a16:creationId xmlns:a16="http://schemas.microsoft.com/office/drawing/2014/main" id="{5D13811C-9CF3-8F26-929A-C09DA2B962C5}"/>
                </a:ext>
              </a:extLst>
            </p:cNvPr>
            <p:cNvGrpSpPr/>
            <p:nvPr/>
          </p:nvGrpSpPr>
          <p:grpSpPr>
            <a:xfrm>
              <a:off x="5666228" y="2177107"/>
              <a:ext cx="919869" cy="1989210"/>
              <a:chOff x="5666228" y="2177107"/>
              <a:chExt cx="919869" cy="1989210"/>
            </a:xfrm>
          </p:grpSpPr>
          <p:cxnSp>
            <p:nvCxnSpPr>
              <p:cNvPr id="43" name="Straight Connector 42">
                <a:extLst>
                  <a:ext uri="{FF2B5EF4-FFF2-40B4-BE49-F238E27FC236}">
                    <a16:creationId xmlns:a16="http://schemas.microsoft.com/office/drawing/2014/main" id="{722A0477-BCDF-F148-2E80-8AE896A9B308}"/>
                  </a:ext>
                </a:extLst>
              </p:cNvPr>
              <p:cNvCxnSpPr>
                <a:cxnSpLocks/>
              </p:cNvCxnSpPr>
              <p:nvPr/>
            </p:nvCxnSpPr>
            <p:spPr>
              <a:xfrm flipV="1">
                <a:off x="6111386" y="2177107"/>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70A55127-9415-1B5E-B1D8-C809857A8A00}"/>
                  </a:ext>
                </a:extLst>
              </p:cNvPr>
              <p:cNvSpPr/>
              <p:nvPr/>
            </p:nvSpPr>
            <p:spPr>
              <a:xfrm>
                <a:off x="5666228"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grpSp>
          <p:nvGrpSpPr>
            <p:cNvPr id="27" name="Group 26">
              <a:extLst>
                <a:ext uri="{FF2B5EF4-FFF2-40B4-BE49-F238E27FC236}">
                  <a16:creationId xmlns:a16="http://schemas.microsoft.com/office/drawing/2014/main" id="{A158A236-6964-37B7-7894-267F1AAAF2BE}"/>
                </a:ext>
              </a:extLst>
            </p:cNvPr>
            <p:cNvGrpSpPr/>
            <p:nvPr/>
          </p:nvGrpSpPr>
          <p:grpSpPr>
            <a:xfrm>
              <a:off x="8651667" y="2177107"/>
              <a:ext cx="919869" cy="1989210"/>
              <a:chOff x="8651667" y="2177107"/>
              <a:chExt cx="919869" cy="1989210"/>
            </a:xfrm>
          </p:grpSpPr>
          <p:cxnSp>
            <p:nvCxnSpPr>
              <p:cNvPr id="41" name="Straight Connector 40">
                <a:extLst>
                  <a:ext uri="{FF2B5EF4-FFF2-40B4-BE49-F238E27FC236}">
                    <a16:creationId xmlns:a16="http://schemas.microsoft.com/office/drawing/2014/main" id="{6C4D2E7A-FF23-D414-380A-559D6F4E7FB2}"/>
                  </a:ext>
                </a:extLst>
              </p:cNvPr>
              <p:cNvCxnSpPr>
                <a:cxnSpLocks/>
              </p:cNvCxnSpPr>
              <p:nvPr/>
            </p:nvCxnSpPr>
            <p:spPr>
              <a:xfrm flipV="1">
                <a:off x="9095950" y="2177107"/>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9EAFF3CE-15D8-8028-55AC-A70ED2DFF4AA}"/>
                  </a:ext>
                </a:extLst>
              </p:cNvPr>
              <p:cNvSpPr/>
              <p:nvPr/>
            </p:nvSpPr>
            <p:spPr>
              <a:xfrm>
                <a:off x="8651667"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6</a:t>
                </a:r>
              </a:p>
            </p:txBody>
          </p:sp>
        </p:grpSp>
        <p:grpSp>
          <p:nvGrpSpPr>
            <p:cNvPr id="28" name="Group 27">
              <a:extLst>
                <a:ext uri="{FF2B5EF4-FFF2-40B4-BE49-F238E27FC236}">
                  <a16:creationId xmlns:a16="http://schemas.microsoft.com/office/drawing/2014/main" id="{343462AB-D726-BCC0-F10C-82A7AAD6BC2F}"/>
                </a:ext>
              </a:extLst>
            </p:cNvPr>
            <p:cNvGrpSpPr/>
            <p:nvPr/>
          </p:nvGrpSpPr>
          <p:grpSpPr>
            <a:xfrm>
              <a:off x="4146576" y="3246448"/>
              <a:ext cx="919869" cy="1817352"/>
              <a:chOff x="4146576" y="3246448"/>
              <a:chExt cx="919869" cy="1817352"/>
            </a:xfrm>
          </p:grpSpPr>
          <p:cxnSp>
            <p:nvCxnSpPr>
              <p:cNvPr id="39" name="Straight Connector 38">
                <a:extLst>
                  <a:ext uri="{FF2B5EF4-FFF2-40B4-BE49-F238E27FC236}">
                    <a16:creationId xmlns:a16="http://schemas.microsoft.com/office/drawing/2014/main" id="{D4CFDED3-7EB3-EC20-8D54-47B014F8ED8D}"/>
                  </a:ext>
                </a:extLst>
              </p:cNvPr>
              <p:cNvCxnSpPr>
                <a:cxnSpLocks/>
              </p:cNvCxnSpPr>
              <p:nvPr/>
            </p:nvCxnSpPr>
            <p:spPr>
              <a:xfrm flipV="1">
                <a:off x="4596025" y="3417472"/>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4B6D923E-3307-A061-6525-2CEB354956A2}"/>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29" name="Group 28">
              <a:extLst>
                <a:ext uri="{FF2B5EF4-FFF2-40B4-BE49-F238E27FC236}">
                  <a16:creationId xmlns:a16="http://schemas.microsoft.com/office/drawing/2014/main" id="{2C3CF6C4-991A-7D81-9DCE-C410393220B8}"/>
                </a:ext>
              </a:extLst>
            </p:cNvPr>
            <p:cNvGrpSpPr/>
            <p:nvPr/>
          </p:nvGrpSpPr>
          <p:grpSpPr>
            <a:xfrm>
              <a:off x="2669593" y="2177107"/>
              <a:ext cx="919869" cy="1989210"/>
              <a:chOff x="2669593" y="2177107"/>
              <a:chExt cx="919869" cy="1989210"/>
            </a:xfrm>
          </p:grpSpPr>
          <p:cxnSp>
            <p:nvCxnSpPr>
              <p:cNvPr id="37" name="Straight Connector 36">
                <a:extLst>
                  <a:ext uri="{FF2B5EF4-FFF2-40B4-BE49-F238E27FC236}">
                    <a16:creationId xmlns:a16="http://schemas.microsoft.com/office/drawing/2014/main" id="{EA7D4535-785D-F8BB-E136-8C8DBD40D761}"/>
                  </a:ext>
                </a:extLst>
              </p:cNvPr>
              <p:cNvCxnSpPr>
                <a:cxnSpLocks/>
              </p:cNvCxnSpPr>
              <p:nvPr/>
            </p:nvCxnSpPr>
            <p:spPr>
              <a:xfrm flipV="1">
                <a:off x="3096050" y="2177107"/>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1DB28CAB-F21F-071E-F6BB-CDD0F3B630C4}"/>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30" name="Group 29">
              <a:extLst>
                <a:ext uri="{FF2B5EF4-FFF2-40B4-BE49-F238E27FC236}">
                  <a16:creationId xmlns:a16="http://schemas.microsoft.com/office/drawing/2014/main" id="{8B09DC4C-9526-2970-FD78-4FE6CFE56EE0}"/>
                </a:ext>
              </a:extLst>
            </p:cNvPr>
            <p:cNvGrpSpPr/>
            <p:nvPr/>
          </p:nvGrpSpPr>
          <p:grpSpPr>
            <a:xfrm>
              <a:off x="1209948" y="3251580"/>
              <a:ext cx="919869" cy="1812220"/>
              <a:chOff x="1209948" y="3251580"/>
              <a:chExt cx="919869" cy="1812220"/>
            </a:xfrm>
          </p:grpSpPr>
          <p:cxnSp>
            <p:nvCxnSpPr>
              <p:cNvPr id="35" name="Straight Connector 34">
                <a:extLst>
                  <a:ext uri="{FF2B5EF4-FFF2-40B4-BE49-F238E27FC236}">
                    <a16:creationId xmlns:a16="http://schemas.microsoft.com/office/drawing/2014/main" id="{F0F56E60-BB30-3A6A-4ABF-273AB65C699B}"/>
                  </a:ext>
                </a:extLst>
              </p:cNvPr>
              <p:cNvCxnSpPr>
                <a:cxnSpLocks/>
              </p:cNvCxnSpPr>
              <p:nvPr/>
            </p:nvCxnSpPr>
            <p:spPr>
              <a:xfrm flipV="1">
                <a:off x="1656073" y="3417472"/>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81430DC5-B598-1944-9387-76EBCDBD536E}"/>
                  </a:ext>
                </a:extLst>
              </p:cNvPr>
              <p:cNvSpPr/>
              <p:nvPr/>
            </p:nvSpPr>
            <p:spPr>
              <a:xfrm>
                <a:off x="1209948" y="3251580"/>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31" name="Group 30">
              <a:extLst>
                <a:ext uri="{FF2B5EF4-FFF2-40B4-BE49-F238E27FC236}">
                  <a16:creationId xmlns:a16="http://schemas.microsoft.com/office/drawing/2014/main" id="{18ED42E0-4F48-A0F0-DB50-880253D5D200}"/>
                </a:ext>
              </a:extLst>
            </p:cNvPr>
            <p:cNvGrpSpPr/>
            <p:nvPr userDrawn="1"/>
          </p:nvGrpSpPr>
          <p:grpSpPr>
            <a:xfrm>
              <a:off x="10058192" y="3246448"/>
              <a:ext cx="927619" cy="1817352"/>
              <a:chOff x="10058192" y="3246448"/>
              <a:chExt cx="927619" cy="1817352"/>
            </a:xfrm>
          </p:grpSpPr>
          <p:cxnSp>
            <p:nvCxnSpPr>
              <p:cNvPr id="33" name="Straight Connector 32">
                <a:extLst>
                  <a:ext uri="{FF2B5EF4-FFF2-40B4-BE49-F238E27FC236}">
                    <a16:creationId xmlns:a16="http://schemas.microsoft.com/office/drawing/2014/main" id="{4298CF7C-794B-5514-14AC-38B1980011F4}"/>
                  </a:ext>
                </a:extLst>
              </p:cNvPr>
              <p:cNvCxnSpPr>
                <a:cxnSpLocks/>
              </p:cNvCxnSpPr>
              <p:nvPr/>
            </p:nvCxnSpPr>
            <p:spPr>
              <a:xfrm flipV="1">
                <a:off x="10535926" y="3417472"/>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981460A6-2480-5B93-1423-15A406132393}"/>
                  </a:ext>
                </a:extLst>
              </p:cNvPr>
              <p:cNvSpPr/>
              <p:nvPr userDrawn="1"/>
            </p:nvSpPr>
            <p:spPr>
              <a:xfrm>
                <a:off x="10058192" y="3246448"/>
                <a:ext cx="92761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7</a:t>
                </a:r>
              </a:p>
            </p:txBody>
          </p:sp>
        </p:grpSp>
        <p:sp>
          <p:nvSpPr>
            <p:cNvPr id="32" name="Freeform 31">
              <a:extLst>
                <a:ext uri="{FF2B5EF4-FFF2-40B4-BE49-F238E27FC236}">
                  <a16:creationId xmlns:a16="http://schemas.microsoft.com/office/drawing/2014/main" id="{2D4E2390-9C46-1ACA-B333-D1E6CF04AFE1}"/>
                </a:ext>
              </a:extLst>
            </p:cNvPr>
            <p:cNvSpPr/>
            <p:nvPr/>
          </p:nvSpPr>
          <p:spPr>
            <a:xfrm flipH="1">
              <a:off x="815974" y="2872185"/>
              <a:ext cx="10531650" cy="1646328"/>
            </a:xfrm>
            <a:custGeom>
              <a:avLst/>
              <a:gdLst>
                <a:gd name="connsiteX0" fmla="*/ 1580213 w 10531650"/>
                <a:gd name="connsiteY0" fmla="*/ 0 h 1646328"/>
                <a:gd name="connsiteX1" fmla="*/ 0 w 10531650"/>
                <a:gd name="connsiteY1" fmla="*/ 0 h 1646328"/>
                <a:gd name="connsiteX2" fmla="*/ 0 w 10531650"/>
                <a:gd name="connsiteY2" fmla="*/ 158733 h 1646328"/>
                <a:gd name="connsiteX3" fmla="*/ 1444062 w 10531650"/>
                <a:gd name="connsiteY3" fmla="*/ 158733 h 1646328"/>
                <a:gd name="connsiteX4" fmla="*/ 1444062 w 10531650"/>
                <a:gd name="connsiteY4" fmla="*/ 1476019 h 1646328"/>
                <a:gd name="connsiteX5" fmla="*/ 1444062 w 10531650"/>
                <a:gd name="connsiteY5" fmla="*/ 1646328 h 1646328"/>
                <a:gd name="connsiteX6" fmla="*/ 1614372 w 10531650"/>
                <a:gd name="connsiteY6" fmla="*/ 1646328 h 1646328"/>
                <a:gd name="connsiteX7" fmla="*/ 2920079 w 10531650"/>
                <a:gd name="connsiteY7" fmla="*/ 1646328 h 1646328"/>
                <a:gd name="connsiteX8" fmla="*/ 3090388 w 10531650"/>
                <a:gd name="connsiteY8" fmla="*/ 1646328 h 1646328"/>
                <a:gd name="connsiteX9" fmla="*/ 3090388 w 10531650"/>
                <a:gd name="connsiteY9" fmla="*/ 1476019 h 1646328"/>
                <a:gd name="connsiteX10" fmla="*/ 3090388 w 10531650"/>
                <a:gd name="connsiteY10" fmla="*/ 170311 h 1646328"/>
                <a:gd name="connsiteX11" fmla="*/ 4423113 w 10531650"/>
                <a:gd name="connsiteY11" fmla="*/ 170311 h 1646328"/>
                <a:gd name="connsiteX12" fmla="*/ 4423113 w 10531650"/>
                <a:gd name="connsiteY12" fmla="*/ 1476019 h 1646328"/>
                <a:gd name="connsiteX13" fmla="*/ 4423113 w 10531650"/>
                <a:gd name="connsiteY13" fmla="*/ 1646328 h 1646328"/>
                <a:gd name="connsiteX14" fmla="*/ 4593423 w 10531650"/>
                <a:gd name="connsiteY14" fmla="*/ 1646328 h 1646328"/>
                <a:gd name="connsiteX15" fmla="*/ 5899130 w 10531650"/>
                <a:gd name="connsiteY15" fmla="*/ 1646328 h 1646328"/>
                <a:gd name="connsiteX16" fmla="*/ 6069440 w 10531650"/>
                <a:gd name="connsiteY16" fmla="*/ 1646328 h 1646328"/>
                <a:gd name="connsiteX17" fmla="*/ 6069440 w 10531650"/>
                <a:gd name="connsiteY17" fmla="*/ 1476019 h 1646328"/>
                <a:gd name="connsiteX18" fmla="*/ 6069440 w 10531650"/>
                <a:gd name="connsiteY18" fmla="*/ 170311 h 1646328"/>
                <a:gd name="connsiteX19" fmla="*/ 7409306 w 10531650"/>
                <a:gd name="connsiteY19" fmla="*/ 170311 h 1646328"/>
                <a:gd name="connsiteX20" fmla="*/ 7409306 w 10531650"/>
                <a:gd name="connsiteY20" fmla="*/ 1476019 h 1646328"/>
                <a:gd name="connsiteX21" fmla="*/ 7409306 w 10531650"/>
                <a:gd name="connsiteY21" fmla="*/ 1646328 h 1646328"/>
                <a:gd name="connsiteX22" fmla="*/ 7579616 w 10531650"/>
                <a:gd name="connsiteY22" fmla="*/ 1646328 h 1646328"/>
                <a:gd name="connsiteX23" fmla="*/ 8885323 w 10531650"/>
                <a:gd name="connsiteY23" fmla="*/ 1646328 h 1646328"/>
                <a:gd name="connsiteX24" fmla="*/ 9055633 w 10531650"/>
                <a:gd name="connsiteY24" fmla="*/ 1646328 h 1646328"/>
                <a:gd name="connsiteX25" fmla="*/ 9055633 w 10531650"/>
                <a:gd name="connsiteY25" fmla="*/ 1476019 h 1646328"/>
                <a:gd name="connsiteX26" fmla="*/ 9055633 w 10531650"/>
                <a:gd name="connsiteY26" fmla="*/ 170311 h 1646328"/>
                <a:gd name="connsiteX27" fmla="*/ 10531650 w 10531650"/>
                <a:gd name="connsiteY27" fmla="*/ 170311 h 1646328"/>
                <a:gd name="connsiteX28" fmla="*/ 10531650 w 10531650"/>
                <a:gd name="connsiteY28" fmla="*/ 1 h 1646328"/>
                <a:gd name="connsiteX29" fmla="*/ 8885323 w 10531650"/>
                <a:gd name="connsiteY29" fmla="*/ 1 h 1646328"/>
                <a:gd name="connsiteX30" fmla="*/ 8885323 w 10531650"/>
                <a:gd name="connsiteY30" fmla="*/ 2 h 1646328"/>
                <a:gd name="connsiteX31" fmla="*/ 8885323 w 10531650"/>
                <a:gd name="connsiteY31" fmla="*/ 170311 h 1646328"/>
                <a:gd name="connsiteX32" fmla="*/ 8885323 w 10531650"/>
                <a:gd name="connsiteY32" fmla="*/ 1476019 h 1646328"/>
                <a:gd name="connsiteX33" fmla="*/ 7579616 w 10531650"/>
                <a:gd name="connsiteY33" fmla="*/ 1476019 h 1646328"/>
                <a:gd name="connsiteX34" fmla="*/ 7579616 w 10531650"/>
                <a:gd name="connsiteY34" fmla="*/ 2 h 1646328"/>
                <a:gd name="connsiteX35" fmla="*/ 7545457 w 10531650"/>
                <a:gd name="connsiteY35" fmla="*/ 2 h 1646328"/>
                <a:gd name="connsiteX36" fmla="*/ 7545457 w 10531650"/>
                <a:gd name="connsiteY36" fmla="*/ 1 h 1646328"/>
                <a:gd name="connsiteX37" fmla="*/ 5899130 w 10531650"/>
                <a:gd name="connsiteY37" fmla="*/ 1 h 1646328"/>
                <a:gd name="connsiteX38" fmla="*/ 5899130 w 10531650"/>
                <a:gd name="connsiteY38" fmla="*/ 2 h 1646328"/>
                <a:gd name="connsiteX39" fmla="*/ 5899130 w 10531650"/>
                <a:gd name="connsiteY39" fmla="*/ 170311 h 1646328"/>
                <a:gd name="connsiteX40" fmla="*/ 5899130 w 10531650"/>
                <a:gd name="connsiteY40" fmla="*/ 1476019 h 1646328"/>
                <a:gd name="connsiteX41" fmla="*/ 4593423 w 10531650"/>
                <a:gd name="connsiteY41" fmla="*/ 1476019 h 1646328"/>
                <a:gd name="connsiteX42" fmla="*/ 4593423 w 10531650"/>
                <a:gd name="connsiteY42" fmla="*/ 2 h 1646328"/>
                <a:gd name="connsiteX43" fmla="*/ 4566405 w 10531650"/>
                <a:gd name="connsiteY43" fmla="*/ 2 h 1646328"/>
                <a:gd name="connsiteX44" fmla="*/ 4566405 w 10531650"/>
                <a:gd name="connsiteY44" fmla="*/ 1 h 1646328"/>
                <a:gd name="connsiteX45" fmla="*/ 2920079 w 10531650"/>
                <a:gd name="connsiteY45" fmla="*/ 1 h 1646328"/>
                <a:gd name="connsiteX46" fmla="*/ 2920079 w 10531650"/>
                <a:gd name="connsiteY46" fmla="*/ 2 h 1646328"/>
                <a:gd name="connsiteX47" fmla="*/ 2920079 w 10531650"/>
                <a:gd name="connsiteY47" fmla="*/ 170311 h 1646328"/>
                <a:gd name="connsiteX48" fmla="*/ 2920079 w 10531650"/>
                <a:gd name="connsiteY48" fmla="*/ 1476019 h 1646328"/>
                <a:gd name="connsiteX49" fmla="*/ 1614372 w 10531650"/>
                <a:gd name="connsiteY49" fmla="*/ 1476019 h 1646328"/>
                <a:gd name="connsiteX50" fmla="*/ 1614372 w 10531650"/>
                <a:gd name="connsiteY50" fmla="*/ 2 h 1646328"/>
                <a:gd name="connsiteX51" fmla="*/ 1580213 w 10531650"/>
                <a:gd name="connsiteY51" fmla="*/ 2 h 1646328"/>
                <a:gd name="connsiteX52" fmla="*/ 1580213 w 10531650"/>
                <a:gd name="connsiteY52" fmla="*/ 0 h 1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531650" h="1646328">
                  <a:moveTo>
                    <a:pt x="1580213" y="0"/>
                  </a:moveTo>
                  <a:lnTo>
                    <a:pt x="0" y="0"/>
                  </a:lnTo>
                  <a:lnTo>
                    <a:pt x="0" y="158733"/>
                  </a:lnTo>
                  <a:lnTo>
                    <a:pt x="1444062" y="158733"/>
                  </a:lnTo>
                  <a:lnTo>
                    <a:pt x="1444062" y="1476019"/>
                  </a:lnTo>
                  <a:lnTo>
                    <a:pt x="1444062" y="1646328"/>
                  </a:lnTo>
                  <a:lnTo>
                    <a:pt x="1614372" y="1646328"/>
                  </a:lnTo>
                  <a:lnTo>
                    <a:pt x="2920079" y="1646328"/>
                  </a:lnTo>
                  <a:lnTo>
                    <a:pt x="3090388" y="1646328"/>
                  </a:lnTo>
                  <a:lnTo>
                    <a:pt x="3090388" y="1476019"/>
                  </a:lnTo>
                  <a:lnTo>
                    <a:pt x="3090388" y="170311"/>
                  </a:lnTo>
                  <a:lnTo>
                    <a:pt x="4423113" y="170311"/>
                  </a:lnTo>
                  <a:lnTo>
                    <a:pt x="4423113" y="1476019"/>
                  </a:lnTo>
                  <a:lnTo>
                    <a:pt x="4423113" y="1646328"/>
                  </a:lnTo>
                  <a:lnTo>
                    <a:pt x="4593423" y="1646328"/>
                  </a:lnTo>
                  <a:lnTo>
                    <a:pt x="5899130" y="1646328"/>
                  </a:lnTo>
                  <a:lnTo>
                    <a:pt x="6069440" y="1646328"/>
                  </a:lnTo>
                  <a:lnTo>
                    <a:pt x="6069440" y="1476019"/>
                  </a:lnTo>
                  <a:lnTo>
                    <a:pt x="6069440" y="170311"/>
                  </a:lnTo>
                  <a:lnTo>
                    <a:pt x="7409306" y="170311"/>
                  </a:lnTo>
                  <a:lnTo>
                    <a:pt x="7409306" y="1476019"/>
                  </a:lnTo>
                  <a:lnTo>
                    <a:pt x="7409306" y="1646328"/>
                  </a:lnTo>
                  <a:lnTo>
                    <a:pt x="7579616" y="1646328"/>
                  </a:lnTo>
                  <a:lnTo>
                    <a:pt x="8885323" y="1646328"/>
                  </a:lnTo>
                  <a:lnTo>
                    <a:pt x="9055633" y="1646328"/>
                  </a:lnTo>
                  <a:lnTo>
                    <a:pt x="9055633" y="1476019"/>
                  </a:lnTo>
                  <a:lnTo>
                    <a:pt x="9055633" y="170311"/>
                  </a:lnTo>
                  <a:lnTo>
                    <a:pt x="10531650" y="170311"/>
                  </a:lnTo>
                  <a:lnTo>
                    <a:pt x="10531650" y="1"/>
                  </a:lnTo>
                  <a:lnTo>
                    <a:pt x="8885323" y="1"/>
                  </a:lnTo>
                  <a:lnTo>
                    <a:pt x="8885323" y="2"/>
                  </a:lnTo>
                  <a:lnTo>
                    <a:pt x="8885323" y="170311"/>
                  </a:lnTo>
                  <a:lnTo>
                    <a:pt x="8885323" y="1476019"/>
                  </a:lnTo>
                  <a:lnTo>
                    <a:pt x="7579616" y="1476019"/>
                  </a:lnTo>
                  <a:lnTo>
                    <a:pt x="7579616" y="2"/>
                  </a:lnTo>
                  <a:lnTo>
                    <a:pt x="7545457" y="2"/>
                  </a:lnTo>
                  <a:lnTo>
                    <a:pt x="7545457" y="1"/>
                  </a:lnTo>
                  <a:lnTo>
                    <a:pt x="5899130" y="1"/>
                  </a:lnTo>
                  <a:lnTo>
                    <a:pt x="5899130" y="2"/>
                  </a:lnTo>
                  <a:lnTo>
                    <a:pt x="5899130" y="170311"/>
                  </a:lnTo>
                  <a:lnTo>
                    <a:pt x="5899130" y="1476019"/>
                  </a:lnTo>
                  <a:lnTo>
                    <a:pt x="4593423" y="1476019"/>
                  </a:lnTo>
                  <a:lnTo>
                    <a:pt x="4593423" y="2"/>
                  </a:lnTo>
                  <a:lnTo>
                    <a:pt x="4566405" y="2"/>
                  </a:lnTo>
                  <a:lnTo>
                    <a:pt x="4566405" y="1"/>
                  </a:lnTo>
                  <a:lnTo>
                    <a:pt x="2920079" y="1"/>
                  </a:lnTo>
                  <a:lnTo>
                    <a:pt x="2920079" y="2"/>
                  </a:lnTo>
                  <a:lnTo>
                    <a:pt x="2920079" y="170311"/>
                  </a:lnTo>
                  <a:lnTo>
                    <a:pt x="2920079" y="1476019"/>
                  </a:lnTo>
                  <a:lnTo>
                    <a:pt x="1614372" y="1476019"/>
                  </a:lnTo>
                  <a:lnTo>
                    <a:pt x="1614372" y="2"/>
                  </a:lnTo>
                  <a:lnTo>
                    <a:pt x="1580213" y="2"/>
                  </a:lnTo>
                  <a:lnTo>
                    <a:pt x="158021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endParaRPr lang="en-US" sz="14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Seven steps</a:t>
            </a:r>
          </a:p>
        </p:txBody>
      </p:sp>
      <p:sp>
        <p:nvSpPr>
          <p:cNvPr id="82" name="Text Placeholder 5">
            <a:extLst>
              <a:ext uri="{FF2B5EF4-FFF2-40B4-BE49-F238E27FC236}">
                <a16:creationId xmlns:a16="http://schemas.microsoft.com/office/drawing/2014/main" id="{0BE2A4AC-0FC9-F7E0-E6AD-C847450DCD59}"/>
              </a:ext>
            </a:extLst>
          </p:cNvPr>
          <p:cNvSpPr>
            <a:spLocks noGrp="1"/>
          </p:cNvSpPr>
          <p:nvPr>
            <p:ph type="body" sz="quarter" idx="15" hasCustomPrompt="1"/>
          </p:nvPr>
        </p:nvSpPr>
        <p:spPr>
          <a:xfrm>
            <a:off x="946341" y="5200454"/>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3" name="Text Placeholder 5">
            <a:extLst>
              <a:ext uri="{FF2B5EF4-FFF2-40B4-BE49-F238E27FC236}">
                <a16:creationId xmlns:a16="http://schemas.microsoft.com/office/drawing/2014/main" id="{22E64AD8-A9AC-DFBB-9C29-4E6C11118751}"/>
              </a:ext>
            </a:extLst>
          </p:cNvPr>
          <p:cNvSpPr>
            <a:spLocks noGrp="1"/>
          </p:cNvSpPr>
          <p:nvPr>
            <p:ph type="body" sz="quarter" idx="16" hasCustomPrompt="1"/>
          </p:nvPr>
        </p:nvSpPr>
        <p:spPr>
          <a:xfrm>
            <a:off x="2387019" y="1934457"/>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4" name="Text Placeholder 5">
            <a:extLst>
              <a:ext uri="{FF2B5EF4-FFF2-40B4-BE49-F238E27FC236}">
                <a16:creationId xmlns:a16="http://schemas.microsoft.com/office/drawing/2014/main" id="{1985CA0B-5A21-4A6A-5C12-F6AAAA77F92E}"/>
              </a:ext>
            </a:extLst>
          </p:cNvPr>
          <p:cNvSpPr>
            <a:spLocks noGrp="1"/>
          </p:cNvSpPr>
          <p:nvPr>
            <p:ph type="body" sz="quarter" idx="17" hasCustomPrompt="1"/>
          </p:nvPr>
        </p:nvSpPr>
        <p:spPr>
          <a:xfrm>
            <a:off x="3876445" y="5239530"/>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5" name="Text Placeholder 5">
            <a:extLst>
              <a:ext uri="{FF2B5EF4-FFF2-40B4-BE49-F238E27FC236}">
                <a16:creationId xmlns:a16="http://schemas.microsoft.com/office/drawing/2014/main" id="{DE98CC25-B513-25CF-6267-D3A04AE66829}"/>
              </a:ext>
            </a:extLst>
          </p:cNvPr>
          <p:cNvSpPr>
            <a:spLocks noGrp="1"/>
          </p:cNvSpPr>
          <p:nvPr>
            <p:ph type="body" sz="quarter" idx="18" hasCustomPrompt="1"/>
          </p:nvPr>
        </p:nvSpPr>
        <p:spPr>
          <a:xfrm>
            <a:off x="5455115" y="1934457"/>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6" name="Text Placeholder 5">
            <a:extLst>
              <a:ext uri="{FF2B5EF4-FFF2-40B4-BE49-F238E27FC236}">
                <a16:creationId xmlns:a16="http://schemas.microsoft.com/office/drawing/2014/main" id="{5C0EE793-C3CB-4831-3411-EE174E0C6FD5}"/>
              </a:ext>
            </a:extLst>
          </p:cNvPr>
          <p:cNvSpPr>
            <a:spLocks noGrp="1"/>
          </p:cNvSpPr>
          <p:nvPr>
            <p:ph type="body" sz="quarter" idx="19" hasCustomPrompt="1"/>
          </p:nvPr>
        </p:nvSpPr>
        <p:spPr>
          <a:xfrm>
            <a:off x="8403707" y="1921465"/>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7" name="Text Placeholder 5">
            <a:extLst>
              <a:ext uri="{FF2B5EF4-FFF2-40B4-BE49-F238E27FC236}">
                <a16:creationId xmlns:a16="http://schemas.microsoft.com/office/drawing/2014/main" id="{E72FDE88-9CB9-7CF0-88D5-A55A2BE4A55E}"/>
              </a:ext>
            </a:extLst>
          </p:cNvPr>
          <p:cNvSpPr>
            <a:spLocks noGrp="1"/>
          </p:cNvSpPr>
          <p:nvPr>
            <p:ph type="body" sz="quarter" idx="20" hasCustomPrompt="1"/>
          </p:nvPr>
        </p:nvSpPr>
        <p:spPr>
          <a:xfrm>
            <a:off x="9841773" y="5239530"/>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49" name="Text Placeholder 5">
            <a:extLst>
              <a:ext uri="{FF2B5EF4-FFF2-40B4-BE49-F238E27FC236}">
                <a16:creationId xmlns:a16="http://schemas.microsoft.com/office/drawing/2014/main" id="{A217A211-0F0C-D55C-7E04-2C57C955313E}"/>
              </a:ext>
            </a:extLst>
          </p:cNvPr>
          <p:cNvSpPr>
            <a:spLocks noGrp="1"/>
          </p:cNvSpPr>
          <p:nvPr>
            <p:ph type="body" sz="quarter" idx="29" hasCustomPrompt="1"/>
          </p:nvPr>
        </p:nvSpPr>
        <p:spPr>
          <a:xfrm>
            <a:off x="6891095" y="5239530"/>
            <a:ext cx="1523997" cy="330340"/>
          </a:xfrm>
        </p:spPr>
        <p:txBody>
          <a:bodyPr rIns="0"/>
          <a:lstStyle>
            <a:lvl1pPr algn="ctr">
              <a:spcBef>
                <a:spcPts val="0"/>
              </a:spcBef>
              <a:defRPr sz="2000">
                <a:solidFill>
                  <a:schemeClr val="tx1"/>
                </a:solidFill>
              </a:defRPr>
            </a:lvl1pPr>
          </a:lstStyle>
          <a:p>
            <a:pPr lvl="0"/>
            <a:r>
              <a:rPr lang="en-GB"/>
              <a:t>Placeholder</a:t>
            </a:r>
          </a:p>
        </p:txBody>
      </p:sp>
      <p:grpSp>
        <p:nvGrpSpPr>
          <p:cNvPr id="4" name="Group 3">
            <a:extLst>
              <a:ext uri="{FF2B5EF4-FFF2-40B4-BE49-F238E27FC236}">
                <a16:creationId xmlns:a16="http://schemas.microsoft.com/office/drawing/2014/main" id="{585181DB-0517-9CF4-1D46-DDA0FD4A7355}"/>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34244BF1-0440-3239-7DA6-F42B5D63827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F4C481D1-8418-C98F-AC4F-5E4ED80C61D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BD784029-6A8D-8A7D-DEC6-C6C3324B564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2F1A9E4D-4911-9410-D310-A3422983CAA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AEA2F4D4-5BAB-D558-DD75-BAA28860289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81C4EE7E-708B-9057-FB5D-08B6782D4BD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B89D785E-D607-854C-6AAD-9DCC9F5B1BD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87327762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8 step process squ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Eight steps</a:t>
            </a:r>
          </a:p>
        </p:txBody>
      </p:sp>
      <p:sp>
        <p:nvSpPr>
          <p:cNvPr id="82" name="Text Placeholder 5">
            <a:extLst>
              <a:ext uri="{FF2B5EF4-FFF2-40B4-BE49-F238E27FC236}">
                <a16:creationId xmlns:a16="http://schemas.microsoft.com/office/drawing/2014/main" id="{0BE2A4AC-0FC9-F7E0-E6AD-C847450DCD59}"/>
              </a:ext>
            </a:extLst>
          </p:cNvPr>
          <p:cNvSpPr>
            <a:spLocks noGrp="1"/>
          </p:cNvSpPr>
          <p:nvPr>
            <p:ph type="body" sz="quarter" idx="15" hasCustomPrompt="1"/>
          </p:nvPr>
        </p:nvSpPr>
        <p:spPr>
          <a:xfrm>
            <a:off x="2175103" y="4739983"/>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3" name="Text Placeholder 5">
            <a:extLst>
              <a:ext uri="{FF2B5EF4-FFF2-40B4-BE49-F238E27FC236}">
                <a16:creationId xmlns:a16="http://schemas.microsoft.com/office/drawing/2014/main" id="{22E64AD8-A9AC-DFBB-9C29-4E6C11118751}"/>
              </a:ext>
            </a:extLst>
          </p:cNvPr>
          <p:cNvSpPr>
            <a:spLocks noGrp="1"/>
          </p:cNvSpPr>
          <p:nvPr>
            <p:ph type="body" sz="quarter" idx="16" hasCustomPrompt="1"/>
          </p:nvPr>
        </p:nvSpPr>
        <p:spPr>
          <a:xfrm>
            <a:off x="3451999" y="2314492"/>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4" name="Text Placeholder 5">
            <a:extLst>
              <a:ext uri="{FF2B5EF4-FFF2-40B4-BE49-F238E27FC236}">
                <a16:creationId xmlns:a16="http://schemas.microsoft.com/office/drawing/2014/main" id="{1985CA0B-5A21-4A6A-5C12-F6AAAA77F92E}"/>
              </a:ext>
            </a:extLst>
          </p:cNvPr>
          <p:cNvSpPr>
            <a:spLocks noGrp="1"/>
          </p:cNvSpPr>
          <p:nvPr>
            <p:ph type="body" sz="quarter" idx="17" hasCustomPrompt="1"/>
          </p:nvPr>
        </p:nvSpPr>
        <p:spPr>
          <a:xfrm>
            <a:off x="4723803" y="4729742"/>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5" name="Text Placeholder 5">
            <a:extLst>
              <a:ext uri="{FF2B5EF4-FFF2-40B4-BE49-F238E27FC236}">
                <a16:creationId xmlns:a16="http://schemas.microsoft.com/office/drawing/2014/main" id="{DE98CC25-B513-25CF-6267-D3A04AE66829}"/>
              </a:ext>
            </a:extLst>
          </p:cNvPr>
          <p:cNvSpPr>
            <a:spLocks noGrp="1"/>
          </p:cNvSpPr>
          <p:nvPr>
            <p:ph type="body" sz="quarter" idx="18" hasCustomPrompt="1"/>
          </p:nvPr>
        </p:nvSpPr>
        <p:spPr>
          <a:xfrm>
            <a:off x="6008693" y="2300962"/>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6" name="Text Placeholder 5">
            <a:extLst>
              <a:ext uri="{FF2B5EF4-FFF2-40B4-BE49-F238E27FC236}">
                <a16:creationId xmlns:a16="http://schemas.microsoft.com/office/drawing/2014/main" id="{5C0EE793-C3CB-4831-3411-EE174E0C6FD5}"/>
              </a:ext>
            </a:extLst>
          </p:cNvPr>
          <p:cNvSpPr>
            <a:spLocks noGrp="1"/>
          </p:cNvSpPr>
          <p:nvPr>
            <p:ph type="body" sz="quarter" idx="19" hasCustomPrompt="1"/>
          </p:nvPr>
        </p:nvSpPr>
        <p:spPr>
          <a:xfrm>
            <a:off x="8600732" y="2340713"/>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7" name="Text Placeholder 5">
            <a:extLst>
              <a:ext uri="{FF2B5EF4-FFF2-40B4-BE49-F238E27FC236}">
                <a16:creationId xmlns:a16="http://schemas.microsoft.com/office/drawing/2014/main" id="{E72FDE88-9CB9-7CF0-88D5-A55A2BE4A55E}"/>
              </a:ext>
            </a:extLst>
          </p:cNvPr>
          <p:cNvSpPr>
            <a:spLocks noGrp="1"/>
          </p:cNvSpPr>
          <p:nvPr>
            <p:ph type="body" sz="quarter" idx="20" hasCustomPrompt="1"/>
          </p:nvPr>
        </p:nvSpPr>
        <p:spPr>
          <a:xfrm>
            <a:off x="9821203" y="4715355"/>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49" name="Text Placeholder 5">
            <a:extLst>
              <a:ext uri="{FF2B5EF4-FFF2-40B4-BE49-F238E27FC236}">
                <a16:creationId xmlns:a16="http://schemas.microsoft.com/office/drawing/2014/main" id="{A217A211-0F0C-D55C-7E04-2C57C955313E}"/>
              </a:ext>
            </a:extLst>
          </p:cNvPr>
          <p:cNvSpPr>
            <a:spLocks noGrp="1"/>
          </p:cNvSpPr>
          <p:nvPr>
            <p:ph type="body" sz="quarter" idx="29" hasCustomPrompt="1"/>
          </p:nvPr>
        </p:nvSpPr>
        <p:spPr>
          <a:xfrm>
            <a:off x="7272503" y="4729742"/>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4" name="Freeform 3">
            <a:extLst>
              <a:ext uri="{FF2B5EF4-FFF2-40B4-BE49-F238E27FC236}">
                <a16:creationId xmlns:a16="http://schemas.microsoft.com/office/drawing/2014/main" id="{668277F2-1F1C-EF28-94A9-AEE2858B159B}"/>
              </a:ext>
            </a:extLst>
          </p:cNvPr>
          <p:cNvSpPr/>
          <p:nvPr userDrawn="1"/>
        </p:nvSpPr>
        <p:spPr>
          <a:xfrm>
            <a:off x="814558" y="2948951"/>
            <a:ext cx="10637451" cy="1404442"/>
          </a:xfrm>
          <a:custGeom>
            <a:avLst/>
            <a:gdLst>
              <a:gd name="connsiteX0" fmla="*/ 7718460 w 12578206"/>
              <a:gd name="connsiteY0" fmla="*/ 0 h 1660676"/>
              <a:gd name="connsiteX1" fmla="*/ 9378657 w 12578206"/>
              <a:gd name="connsiteY1" fmla="*/ 0 h 1660676"/>
              <a:gd name="connsiteX2" fmla="*/ 9378657 w 12578206"/>
              <a:gd name="connsiteY2" fmla="*/ 1 h 1660676"/>
              <a:gd name="connsiteX3" fmla="*/ 9378657 w 12578206"/>
              <a:gd name="connsiteY3" fmla="*/ 171745 h 1660676"/>
              <a:gd name="connsiteX4" fmla="*/ 9378657 w 12578206"/>
              <a:gd name="connsiteY4" fmla="*/ 1488454 h 1660676"/>
              <a:gd name="connsiteX5" fmla="*/ 10695364 w 12578206"/>
              <a:gd name="connsiteY5" fmla="*/ 1488454 h 1660676"/>
              <a:gd name="connsiteX6" fmla="*/ 10695364 w 12578206"/>
              <a:gd name="connsiteY6" fmla="*/ 1 h 1660676"/>
              <a:gd name="connsiteX7" fmla="*/ 10729811 w 12578206"/>
              <a:gd name="connsiteY7" fmla="*/ 1 h 1660676"/>
              <a:gd name="connsiteX8" fmla="*/ 10729811 w 12578206"/>
              <a:gd name="connsiteY8" fmla="*/ 0 h 1660676"/>
              <a:gd name="connsiteX9" fmla="*/ 12390008 w 12578206"/>
              <a:gd name="connsiteY9" fmla="*/ 0 h 1660676"/>
              <a:gd name="connsiteX10" fmla="*/ 12390008 w 12578206"/>
              <a:gd name="connsiteY10" fmla="*/ 1 h 1660676"/>
              <a:gd name="connsiteX11" fmla="*/ 12390008 w 12578206"/>
              <a:gd name="connsiteY11" fmla="*/ 171745 h 1660676"/>
              <a:gd name="connsiteX12" fmla="*/ 12390008 w 12578206"/>
              <a:gd name="connsiteY12" fmla="*/ 1488454 h 1660676"/>
              <a:gd name="connsiteX13" fmla="*/ 12578206 w 12578206"/>
              <a:gd name="connsiteY13" fmla="*/ 1488454 h 1660676"/>
              <a:gd name="connsiteX14" fmla="*/ 12578206 w 12578206"/>
              <a:gd name="connsiteY14" fmla="*/ 1660198 h 1660676"/>
              <a:gd name="connsiteX15" fmla="*/ 12390008 w 12578206"/>
              <a:gd name="connsiteY15" fmla="*/ 1660198 h 1660676"/>
              <a:gd name="connsiteX16" fmla="*/ 12218263 w 12578206"/>
              <a:gd name="connsiteY16" fmla="*/ 1660198 h 1660676"/>
              <a:gd name="connsiteX17" fmla="*/ 12218263 w 12578206"/>
              <a:gd name="connsiteY17" fmla="*/ 1488454 h 1660676"/>
              <a:gd name="connsiteX18" fmla="*/ 12218263 w 12578206"/>
              <a:gd name="connsiteY18" fmla="*/ 171745 h 1660676"/>
              <a:gd name="connsiteX19" fmla="*/ 10867109 w 12578206"/>
              <a:gd name="connsiteY19" fmla="*/ 171745 h 1660676"/>
              <a:gd name="connsiteX20" fmla="*/ 10867109 w 12578206"/>
              <a:gd name="connsiteY20" fmla="*/ 1488454 h 1660676"/>
              <a:gd name="connsiteX21" fmla="*/ 10867109 w 12578206"/>
              <a:gd name="connsiteY21" fmla="*/ 1660198 h 1660676"/>
              <a:gd name="connsiteX22" fmla="*/ 10695364 w 12578206"/>
              <a:gd name="connsiteY22" fmla="*/ 1660198 h 1660676"/>
              <a:gd name="connsiteX23" fmla="*/ 9378657 w 12578206"/>
              <a:gd name="connsiteY23" fmla="*/ 1660198 h 1660676"/>
              <a:gd name="connsiteX24" fmla="*/ 9206912 w 12578206"/>
              <a:gd name="connsiteY24" fmla="*/ 1660198 h 1660676"/>
              <a:gd name="connsiteX25" fmla="*/ 9206912 w 12578206"/>
              <a:gd name="connsiteY25" fmla="*/ 1488454 h 1660676"/>
              <a:gd name="connsiteX26" fmla="*/ 9206912 w 12578206"/>
              <a:gd name="connsiteY26" fmla="*/ 171745 h 1660676"/>
              <a:gd name="connsiteX27" fmla="*/ 7852482 w 12578206"/>
              <a:gd name="connsiteY27" fmla="*/ 171745 h 1660676"/>
              <a:gd name="connsiteX28" fmla="*/ 7852482 w 12578206"/>
              <a:gd name="connsiteY28" fmla="*/ 1488932 h 1660676"/>
              <a:gd name="connsiteX29" fmla="*/ 7852482 w 12578206"/>
              <a:gd name="connsiteY29" fmla="*/ 1660676 h 1660676"/>
              <a:gd name="connsiteX30" fmla="*/ 7680737 w 12578206"/>
              <a:gd name="connsiteY30" fmla="*/ 1660676 h 1660676"/>
              <a:gd name="connsiteX31" fmla="*/ 6364030 w 12578206"/>
              <a:gd name="connsiteY31" fmla="*/ 1660676 h 1660676"/>
              <a:gd name="connsiteX32" fmla="*/ 6192287 w 12578206"/>
              <a:gd name="connsiteY32" fmla="*/ 1660676 h 1660676"/>
              <a:gd name="connsiteX33" fmla="*/ 6192287 w 12578206"/>
              <a:gd name="connsiteY33" fmla="*/ 1488932 h 1660676"/>
              <a:gd name="connsiteX34" fmla="*/ 6192287 w 12578206"/>
              <a:gd name="connsiteY34" fmla="*/ 172223 h 1660676"/>
              <a:gd name="connsiteX35" fmla="*/ 4848333 w 12578206"/>
              <a:gd name="connsiteY35" fmla="*/ 172223 h 1660676"/>
              <a:gd name="connsiteX36" fmla="*/ 4848333 w 12578206"/>
              <a:gd name="connsiteY36" fmla="*/ 1488932 h 1660676"/>
              <a:gd name="connsiteX37" fmla="*/ 4848333 w 12578206"/>
              <a:gd name="connsiteY37" fmla="*/ 1660676 h 1660676"/>
              <a:gd name="connsiteX38" fmla="*/ 4676589 w 12578206"/>
              <a:gd name="connsiteY38" fmla="*/ 1660676 h 1660676"/>
              <a:gd name="connsiteX39" fmla="*/ 3359882 w 12578206"/>
              <a:gd name="connsiteY39" fmla="*/ 1660676 h 1660676"/>
              <a:gd name="connsiteX40" fmla="*/ 3188137 w 12578206"/>
              <a:gd name="connsiteY40" fmla="*/ 1660676 h 1660676"/>
              <a:gd name="connsiteX41" fmla="*/ 3188137 w 12578206"/>
              <a:gd name="connsiteY41" fmla="*/ 1488932 h 1660676"/>
              <a:gd name="connsiteX42" fmla="*/ 3188137 w 12578206"/>
              <a:gd name="connsiteY42" fmla="*/ 172223 h 1660676"/>
              <a:gd name="connsiteX43" fmla="*/ 1836983 w 12578206"/>
              <a:gd name="connsiteY43" fmla="*/ 172223 h 1660676"/>
              <a:gd name="connsiteX44" fmla="*/ 1836983 w 12578206"/>
              <a:gd name="connsiteY44" fmla="*/ 1488932 h 1660676"/>
              <a:gd name="connsiteX45" fmla="*/ 1836983 w 12578206"/>
              <a:gd name="connsiteY45" fmla="*/ 1660676 h 1660676"/>
              <a:gd name="connsiteX46" fmla="*/ 1665238 w 12578206"/>
              <a:gd name="connsiteY46" fmla="*/ 1660676 h 1660676"/>
              <a:gd name="connsiteX47" fmla="*/ 348532 w 12578206"/>
              <a:gd name="connsiteY47" fmla="*/ 1660676 h 1660676"/>
              <a:gd name="connsiteX48" fmla="*/ 176786 w 12578206"/>
              <a:gd name="connsiteY48" fmla="*/ 1660676 h 1660676"/>
              <a:gd name="connsiteX49" fmla="*/ 176786 w 12578206"/>
              <a:gd name="connsiteY49" fmla="*/ 1488932 h 1660676"/>
              <a:gd name="connsiteX50" fmla="*/ 176786 w 12578206"/>
              <a:gd name="connsiteY50" fmla="*/ 172223 h 1660676"/>
              <a:gd name="connsiteX51" fmla="*/ 0 w 12578206"/>
              <a:gd name="connsiteY51" fmla="*/ 172223 h 1660676"/>
              <a:gd name="connsiteX52" fmla="*/ 0 w 12578206"/>
              <a:gd name="connsiteY52" fmla="*/ 478 h 1660676"/>
              <a:gd name="connsiteX53" fmla="*/ 348532 w 12578206"/>
              <a:gd name="connsiteY53" fmla="*/ 478 h 1660676"/>
              <a:gd name="connsiteX54" fmla="*/ 348532 w 12578206"/>
              <a:gd name="connsiteY54" fmla="*/ 479 h 1660676"/>
              <a:gd name="connsiteX55" fmla="*/ 348532 w 12578206"/>
              <a:gd name="connsiteY55" fmla="*/ 172223 h 1660676"/>
              <a:gd name="connsiteX56" fmla="*/ 348532 w 12578206"/>
              <a:gd name="connsiteY56" fmla="*/ 1488932 h 1660676"/>
              <a:gd name="connsiteX57" fmla="*/ 1665238 w 12578206"/>
              <a:gd name="connsiteY57" fmla="*/ 1488932 h 1660676"/>
              <a:gd name="connsiteX58" fmla="*/ 1665238 w 12578206"/>
              <a:gd name="connsiteY58" fmla="*/ 479 h 1660676"/>
              <a:gd name="connsiteX59" fmla="*/ 1699685 w 12578206"/>
              <a:gd name="connsiteY59" fmla="*/ 479 h 1660676"/>
              <a:gd name="connsiteX60" fmla="*/ 1699685 w 12578206"/>
              <a:gd name="connsiteY60" fmla="*/ 478 h 1660676"/>
              <a:gd name="connsiteX61" fmla="*/ 3359882 w 12578206"/>
              <a:gd name="connsiteY61" fmla="*/ 478 h 1660676"/>
              <a:gd name="connsiteX62" fmla="*/ 3359882 w 12578206"/>
              <a:gd name="connsiteY62" fmla="*/ 479 h 1660676"/>
              <a:gd name="connsiteX63" fmla="*/ 3359882 w 12578206"/>
              <a:gd name="connsiteY63" fmla="*/ 172223 h 1660676"/>
              <a:gd name="connsiteX64" fmla="*/ 3359882 w 12578206"/>
              <a:gd name="connsiteY64" fmla="*/ 1488932 h 1660676"/>
              <a:gd name="connsiteX65" fmla="*/ 4676589 w 12578206"/>
              <a:gd name="connsiteY65" fmla="*/ 1488932 h 1660676"/>
              <a:gd name="connsiteX66" fmla="*/ 4676589 w 12578206"/>
              <a:gd name="connsiteY66" fmla="*/ 479 h 1660676"/>
              <a:gd name="connsiteX67" fmla="*/ 4703835 w 12578206"/>
              <a:gd name="connsiteY67" fmla="*/ 479 h 1660676"/>
              <a:gd name="connsiteX68" fmla="*/ 4703835 w 12578206"/>
              <a:gd name="connsiteY68" fmla="*/ 478 h 1660676"/>
              <a:gd name="connsiteX69" fmla="*/ 6364030 w 12578206"/>
              <a:gd name="connsiteY69" fmla="*/ 478 h 1660676"/>
              <a:gd name="connsiteX70" fmla="*/ 6364030 w 12578206"/>
              <a:gd name="connsiteY70" fmla="*/ 479 h 1660676"/>
              <a:gd name="connsiteX71" fmla="*/ 6364030 w 12578206"/>
              <a:gd name="connsiteY71" fmla="*/ 172223 h 1660676"/>
              <a:gd name="connsiteX72" fmla="*/ 6364030 w 12578206"/>
              <a:gd name="connsiteY72" fmla="*/ 1488932 h 1660676"/>
              <a:gd name="connsiteX73" fmla="*/ 7680737 w 12578206"/>
              <a:gd name="connsiteY73" fmla="*/ 1488932 h 1660676"/>
              <a:gd name="connsiteX74" fmla="*/ 7680737 w 12578206"/>
              <a:gd name="connsiteY74" fmla="*/ 479 h 1660676"/>
              <a:gd name="connsiteX75" fmla="*/ 7715184 w 12578206"/>
              <a:gd name="connsiteY75" fmla="*/ 479 h 1660676"/>
              <a:gd name="connsiteX76" fmla="*/ 7715184 w 12578206"/>
              <a:gd name="connsiteY76" fmla="*/ 477 h 1660676"/>
              <a:gd name="connsiteX77" fmla="*/ 7718460 w 12578206"/>
              <a:gd name="connsiteY77" fmla="*/ 477 h 1660676"/>
              <a:gd name="connsiteX78" fmla="*/ 7718460 w 12578206"/>
              <a:gd name="connsiteY78" fmla="*/ 0 h 166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578206" h="1660676">
                <a:moveTo>
                  <a:pt x="7718460" y="0"/>
                </a:moveTo>
                <a:lnTo>
                  <a:pt x="9378657" y="0"/>
                </a:lnTo>
                <a:lnTo>
                  <a:pt x="9378657" y="1"/>
                </a:lnTo>
                <a:lnTo>
                  <a:pt x="9378657" y="171745"/>
                </a:lnTo>
                <a:lnTo>
                  <a:pt x="9378657" y="1488454"/>
                </a:lnTo>
                <a:lnTo>
                  <a:pt x="10695364" y="1488454"/>
                </a:lnTo>
                <a:lnTo>
                  <a:pt x="10695364" y="1"/>
                </a:lnTo>
                <a:lnTo>
                  <a:pt x="10729811" y="1"/>
                </a:lnTo>
                <a:lnTo>
                  <a:pt x="10729811" y="0"/>
                </a:lnTo>
                <a:lnTo>
                  <a:pt x="12390008" y="0"/>
                </a:lnTo>
                <a:lnTo>
                  <a:pt x="12390008" y="1"/>
                </a:lnTo>
                <a:lnTo>
                  <a:pt x="12390008" y="171745"/>
                </a:lnTo>
                <a:lnTo>
                  <a:pt x="12390008" y="1488454"/>
                </a:lnTo>
                <a:lnTo>
                  <a:pt x="12578206" y="1488454"/>
                </a:lnTo>
                <a:lnTo>
                  <a:pt x="12578206" y="1660198"/>
                </a:lnTo>
                <a:lnTo>
                  <a:pt x="12390008" y="1660198"/>
                </a:lnTo>
                <a:lnTo>
                  <a:pt x="12218263" y="1660198"/>
                </a:lnTo>
                <a:lnTo>
                  <a:pt x="12218263" y="1488454"/>
                </a:lnTo>
                <a:lnTo>
                  <a:pt x="12218263" y="171745"/>
                </a:lnTo>
                <a:lnTo>
                  <a:pt x="10867109" y="171745"/>
                </a:lnTo>
                <a:lnTo>
                  <a:pt x="10867109" y="1488454"/>
                </a:lnTo>
                <a:lnTo>
                  <a:pt x="10867109" y="1660198"/>
                </a:lnTo>
                <a:lnTo>
                  <a:pt x="10695364" y="1660198"/>
                </a:lnTo>
                <a:lnTo>
                  <a:pt x="9378657" y="1660198"/>
                </a:lnTo>
                <a:lnTo>
                  <a:pt x="9206912" y="1660198"/>
                </a:lnTo>
                <a:lnTo>
                  <a:pt x="9206912" y="1488454"/>
                </a:lnTo>
                <a:lnTo>
                  <a:pt x="9206912" y="171745"/>
                </a:lnTo>
                <a:lnTo>
                  <a:pt x="7852482" y="171745"/>
                </a:lnTo>
                <a:lnTo>
                  <a:pt x="7852482" y="1488932"/>
                </a:lnTo>
                <a:lnTo>
                  <a:pt x="7852482" y="1660676"/>
                </a:lnTo>
                <a:lnTo>
                  <a:pt x="7680737" y="1660676"/>
                </a:lnTo>
                <a:lnTo>
                  <a:pt x="6364030" y="1660676"/>
                </a:lnTo>
                <a:lnTo>
                  <a:pt x="6192287" y="1660676"/>
                </a:lnTo>
                <a:lnTo>
                  <a:pt x="6192287" y="1488932"/>
                </a:lnTo>
                <a:lnTo>
                  <a:pt x="6192287" y="172223"/>
                </a:lnTo>
                <a:lnTo>
                  <a:pt x="4848333" y="172223"/>
                </a:lnTo>
                <a:lnTo>
                  <a:pt x="4848333" y="1488932"/>
                </a:lnTo>
                <a:lnTo>
                  <a:pt x="4848333" y="1660676"/>
                </a:lnTo>
                <a:lnTo>
                  <a:pt x="4676589" y="1660676"/>
                </a:lnTo>
                <a:lnTo>
                  <a:pt x="3359882" y="1660676"/>
                </a:lnTo>
                <a:lnTo>
                  <a:pt x="3188137" y="1660676"/>
                </a:lnTo>
                <a:lnTo>
                  <a:pt x="3188137" y="1488932"/>
                </a:lnTo>
                <a:lnTo>
                  <a:pt x="3188137" y="172223"/>
                </a:lnTo>
                <a:lnTo>
                  <a:pt x="1836983" y="172223"/>
                </a:lnTo>
                <a:lnTo>
                  <a:pt x="1836983" y="1488932"/>
                </a:lnTo>
                <a:lnTo>
                  <a:pt x="1836983" y="1660676"/>
                </a:lnTo>
                <a:lnTo>
                  <a:pt x="1665238" y="1660676"/>
                </a:lnTo>
                <a:lnTo>
                  <a:pt x="348532" y="1660676"/>
                </a:lnTo>
                <a:lnTo>
                  <a:pt x="176786" y="1660676"/>
                </a:lnTo>
                <a:lnTo>
                  <a:pt x="176786" y="1488932"/>
                </a:lnTo>
                <a:lnTo>
                  <a:pt x="176786" y="172223"/>
                </a:lnTo>
                <a:lnTo>
                  <a:pt x="0" y="172223"/>
                </a:lnTo>
                <a:lnTo>
                  <a:pt x="0" y="478"/>
                </a:lnTo>
                <a:lnTo>
                  <a:pt x="348532" y="478"/>
                </a:lnTo>
                <a:lnTo>
                  <a:pt x="348532" y="479"/>
                </a:lnTo>
                <a:lnTo>
                  <a:pt x="348532" y="172223"/>
                </a:lnTo>
                <a:lnTo>
                  <a:pt x="348532" y="1488932"/>
                </a:lnTo>
                <a:lnTo>
                  <a:pt x="1665238" y="1488932"/>
                </a:lnTo>
                <a:lnTo>
                  <a:pt x="1665238" y="479"/>
                </a:lnTo>
                <a:lnTo>
                  <a:pt x="1699685" y="479"/>
                </a:lnTo>
                <a:lnTo>
                  <a:pt x="1699685" y="478"/>
                </a:lnTo>
                <a:lnTo>
                  <a:pt x="3359882" y="478"/>
                </a:lnTo>
                <a:lnTo>
                  <a:pt x="3359882" y="479"/>
                </a:lnTo>
                <a:lnTo>
                  <a:pt x="3359882" y="172223"/>
                </a:lnTo>
                <a:lnTo>
                  <a:pt x="3359882" y="1488932"/>
                </a:lnTo>
                <a:lnTo>
                  <a:pt x="4676589" y="1488932"/>
                </a:lnTo>
                <a:lnTo>
                  <a:pt x="4676589" y="479"/>
                </a:lnTo>
                <a:lnTo>
                  <a:pt x="4703835" y="479"/>
                </a:lnTo>
                <a:lnTo>
                  <a:pt x="4703835" y="478"/>
                </a:lnTo>
                <a:lnTo>
                  <a:pt x="6364030" y="478"/>
                </a:lnTo>
                <a:lnTo>
                  <a:pt x="6364030" y="479"/>
                </a:lnTo>
                <a:lnTo>
                  <a:pt x="6364030" y="172223"/>
                </a:lnTo>
                <a:lnTo>
                  <a:pt x="6364030" y="1488932"/>
                </a:lnTo>
                <a:lnTo>
                  <a:pt x="7680737" y="1488932"/>
                </a:lnTo>
                <a:lnTo>
                  <a:pt x="7680737" y="479"/>
                </a:lnTo>
                <a:lnTo>
                  <a:pt x="7715184" y="479"/>
                </a:lnTo>
                <a:lnTo>
                  <a:pt x="7715184" y="477"/>
                </a:lnTo>
                <a:lnTo>
                  <a:pt x="7718460" y="477"/>
                </a:lnTo>
                <a:lnTo>
                  <a:pt x="771846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endParaRPr lang="en-GB" sz="1400"/>
          </a:p>
        </p:txBody>
      </p:sp>
      <p:grpSp>
        <p:nvGrpSpPr>
          <p:cNvPr id="6" name="Group 5">
            <a:extLst>
              <a:ext uri="{FF2B5EF4-FFF2-40B4-BE49-F238E27FC236}">
                <a16:creationId xmlns:a16="http://schemas.microsoft.com/office/drawing/2014/main" id="{7FCA0E93-B28A-997E-D36D-AFC0F539C981}"/>
              </a:ext>
            </a:extLst>
          </p:cNvPr>
          <p:cNvGrpSpPr/>
          <p:nvPr/>
        </p:nvGrpSpPr>
        <p:grpSpPr>
          <a:xfrm>
            <a:off x="1227642" y="2681139"/>
            <a:ext cx="864694" cy="1422530"/>
            <a:chOff x="2669593" y="2653019"/>
            <a:chExt cx="919869" cy="1513298"/>
          </a:xfrm>
        </p:grpSpPr>
        <p:cxnSp>
          <p:nvCxnSpPr>
            <p:cNvPr id="8" name="Straight Connector 7">
              <a:extLst>
                <a:ext uri="{FF2B5EF4-FFF2-40B4-BE49-F238E27FC236}">
                  <a16:creationId xmlns:a16="http://schemas.microsoft.com/office/drawing/2014/main" id="{15887902-B131-DB9C-5461-94303A6EECD9}"/>
                </a:ext>
              </a:extLst>
            </p:cNvPr>
            <p:cNvCxnSpPr>
              <a:cxnSpLocks/>
            </p:cNvCxnSpPr>
            <p:nvPr/>
          </p:nvCxnSpPr>
          <p:spPr>
            <a:xfrm flipV="1">
              <a:off x="3129528" y="2653019"/>
              <a:ext cx="0" cy="1416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A3FE352B-CBCB-809D-2E1F-E7972095F173}"/>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11" name="Group 10">
            <a:extLst>
              <a:ext uri="{FF2B5EF4-FFF2-40B4-BE49-F238E27FC236}">
                <a16:creationId xmlns:a16="http://schemas.microsoft.com/office/drawing/2014/main" id="{4D4BB7EC-DE11-CC95-4FC6-F1350BC9CA08}"/>
              </a:ext>
            </a:extLst>
          </p:cNvPr>
          <p:cNvGrpSpPr/>
          <p:nvPr/>
        </p:nvGrpSpPr>
        <p:grpSpPr>
          <a:xfrm>
            <a:off x="2523486" y="3238973"/>
            <a:ext cx="864694" cy="1482129"/>
            <a:chOff x="4146576" y="3246448"/>
            <a:chExt cx="919869" cy="1576701"/>
          </a:xfrm>
        </p:grpSpPr>
        <p:cxnSp>
          <p:nvCxnSpPr>
            <p:cNvPr id="13" name="Straight Connector 12">
              <a:extLst>
                <a:ext uri="{FF2B5EF4-FFF2-40B4-BE49-F238E27FC236}">
                  <a16:creationId xmlns:a16="http://schemas.microsoft.com/office/drawing/2014/main" id="{2783499A-9423-70A3-C363-40ABB129A1EF}"/>
                </a:ext>
              </a:extLst>
            </p:cNvPr>
            <p:cNvCxnSpPr>
              <a:cxnSpLocks/>
            </p:cNvCxnSpPr>
            <p:nvPr/>
          </p:nvCxnSpPr>
          <p:spPr>
            <a:xfrm flipV="1">
              <a:off x="4596025" y="3417472"/>
              <a:ext cx="0" cy="14056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A00E3F24-8805-8455-8689-088FC12079A1}"/>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17" name="Group 16">
            <a:extLst>
              <a:ext uri="{FF2B5EF4-FFF2-40B4-BE49-F238E27FC236}">
                <a16:creationId xmlns:a16="http://schemas.microsoft.com/office/drawing/2014/main" id="{76718C39-BD7B-2C3C-677A-09F994F93372}"/>
              </a:ext>
            </a:extLst>
          </p:cNvPr>
          <p:cNvGrpSpPr/>
          <p:nvPr/>
        </p:nvGrpSpPr>
        <p:grpSpPr>
          <a:xfrm>
            <a:off x="3781651" y="2682482"/>
            <a:ext cx="864694" cy="1422530"/>
            <a:chOff x="2669593" y="2653019"/>
            <a:chExt cx="919869" cy="1513298"/>
          </a:xfrm>
        </p:grpSpPr>
        <p:cxnSp>
          <p:nvCxnSpPr>
            <p:cNvPr id="19" name="Straight Connector 18">
              <a:extLst>
                <a:ext uri="{FF2B5EF4-FFF2-40B4-BE49-F238E27FC236}">
                  <a16:creationId xmlns:a16="http://schemas.microsoft.com/office/drawing/2014/main" id="{53814B1F-5D6E-0AA6-9E94-EAAE55DC6687}"/>
                </a:ext>
              </a:extLst>
            </p:cNvPr>
            <p:cNvCxnSpPr>
              <a:cxnSpLocks/>
            </p:cNvCxnSpPr>
            <p:nvPr/>
          </p:nvCxnSpPr>
          <p:spPr>
            <a:xfrm flipV="1">
              <a:off x="3129528" y="2653019"/>
              <a:ext cx="0" cy="1416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1719B15D-94F7-5627-AEC9-3C0E1F75FC31}"/>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22" name="Group 21">
            <a:extLst>
              <a:ext uri="{FF2B5EF4-FFF2-40B4-BE49-F238E27FC236}">
                <a16:creationId xmlns:a16="http://schemas.microsoft.com/office/drawing/2014/main" id="{3B871118-90DE-CA38-DC71-12CFC3C5B8D7}"/>
              </a:ext>
            </a:extLst>
          </p:cNvPr>
          <p:cNvGrpSpPr/>
          <p:nvPr/>
        </p:nvGrpSpPr>
        <p:grpSpPr>
          <a:xfrm>
            <a:off x="5062821" y="3238974"/>
            <a:ext cx="864694" cy="1482129"/>
            <a:chOff x="4146576" y="3246448"/>
            <a:chExt cx="919869" cy="1576701"/>
          </a:xfrm>
        </p:grpSpPr>
        <p:cxnSp>
          <p:nvCxnSpPr>
            <p:cNvPr id="47" name="Straight Connector 46">
              <a:extLst>
                <a:ext uri="{FF2B5EF4-FFF2-40B4-BE49-F238E27FC236}">
                  <a16:creationId xmlns:a16="http://schemas.microsoft.com/office/drawing/2014/main" id="{495DCF87-87B2-8F50-40F7-CA5612A3983F}"/>
                </a:ext>
              </a:extLst>
            </p:cNvPr>
            <p:cNvCxnSpPr>
              <a:cxnSpLocks/>
            </p:cNvCxnSpPr>
            <p:nvPr/>
          </p:nvCxnSpPr>
          <p:spPr>
            <a:xfrm flipV="1">
              <a:off x="4596025" y="3417472"/>
              <a:ext cx="0" cy="14056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63983F6B-A73B-C0DF-BB95-8888A5EC2404}"/>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grpSp>
        <p:nvGrpSpPr>
          <p:cNvPr id="51" name="Group 50">
            <a:extLst>
              <a:ext uri="{FF2B5EF4-FFF2-40B4-BE49-F238E27FC236}">
                <a16:creationId xmlns:a16="http://schemas.microsoft.com/office/drawing/2014/main" id="{83F90F72-4149-6659-2D82-3D90403F8BC9}"/>
              </a:ext>
            </a:extLst>
          </p:cNvPr>
          <p:cNvGrpSpPr/>
          <p:nvPr/>
        </p:nvGrpSpPr>
        <p:grpSpPr>
          <a:xfrm>
            <a:off x="6338345" y="2679794"/>
            <a:ext cx="864694" cy="1422530"/>
            <a:chOff x="2669593" y="2653019"/>
            <a:chExt cx="919869" cy="1513298"/>
          </a:xfrm>
        </p:grpSpPr>
        <p:cxnSp>
          <p:nvCxnSpPr>
            <p:cNvPr id="53" name="Straight Connector 52">
              <a:extLst>
                <a:ext uri="{FF2B5EF4-FFF2-40B4-BE49-F238E27FC236}">
                  <a16:creationId xmlns:a16="http://schemas.microsoft.com/office/drawing/2014/main" id="{763DD368-A764-C172-7A15-C8BE15A8171D}"/>
                </a:ext>
              </a:extLst>
            </p:cNvPr>
            <p:cNvCxnSpPr>
              <a:cxnSpLocks/>
            </p:cNvCxnSpPr>
            <p:nvPr/>
          </p:nvCxnSpPr>
          <p:spPr>
            <a:xfrm flipV="1">
              <a:off x="3129528" y="2653019"/>
              <a:ext cx="0" cy="1416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949A3E6B-2C0C-5365-C237-D31DE59313FC}"/>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5</a:t>
              </a:r>
            </a:p>
          </p:txBody>
        </p:sp>
      </p:grpSp>
      <p:grpSp>
        <p:nvGrpSpPr>
          <p:cNvPr id="56" name="Group 55">
            <a:extLst>
              <a:ext uri="{FF2B5EF4-FFF2-40B4-BE49-F238E27FC236}">
                <a16:creationId xmlns:a16="http://schemas.microsoft.com/office/drawing/2014/main" id="{55C37AC7-D208-A0A0-A3CB-5447A0228A97}"/>
              </a:ext>
            </a:extLst>
          </p:cNvPr>
          <p:cNvGrpSpPr/>
          <p:nvPr/>
        </p:nvGrpSpPr>
        <p:grpSpPr>
          <a:xfrm>
            <a:off x="8892353" y="2684309"/>
            <a:ext cx="864694" cy="1422530"/>
            <a:chOff x="2669593" y="2653019"/>
            <a:chExt cx="919869" cy="1513298"/>
          </a:xfrm>
        </p:grpSpPr>
        <p:cxnSp>
          <p:nvCxnSpPr>
            <p:cNvPr id="58" name="Straight Connector 57">
              <a:extLst>
                <a:ext uri="{FF2B5EF4-FFF2-40B4-BE49-F238E27FC236}">
                  <a16:creationId xmlns:a16="http://schemas.microsoft.com/office/drawing/2014/main" id="{2444A611-3D41-150D-7D61-D3C45A26A4A3}"/>
                </a:ext>
              </a:extLst>
            </p:cNvPr>
            <p:cNvCxnSpPr>
              <a:cxnSpLocks/>
            </p:cNvCxnSpPr>
            <p:nvPr/>
          </p:nvCxnSpPr>
          <p:spPr>
            <a:xfrm flipV="1">
              <a:off x="3129528" y="2653019"/>
              <a:ext cx="0" cy="1416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750D4A48-F97C-71AA-15BF-D875DF537C29}"/>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7</a:t>
              </a:r>
            </a:p>
          </p:txBody>
        </p:sp>
      </p:grpSp>
      <p:grpSp>
        <p:nvGrpSpPr>
          <p:cNvPr id="61" name="Group 60">
            <a:extLst>
              <a:ext uri="{FF2B5EF4-FFF2-40B4-BE49-F238E27FC236}">
                <a16:creationId xmlns:a16="http://schemas.microsoft.com/office/drawing/2014/main" id="{4A086D71-21EB-43DF-4DC5-E753E96A481B}"/>
              </a:ext>
            </a:extLst>
          </p:cNvPr>
          <p:cNvGrpSpPr/>
          <p:nvPr/>
        </p:nvGrpSpPr>
        <p:grpSpPr>
          <a:xfrm>
            <a:off x="7602155" y="3237629"/>
            <a:ext cx="864694" cy="1482129"/>
            <a:chOff x="4146576" y="3246448"/>
            <a:chExt cx="919869" cy="1576701"/>
          </a:xfrm>
        </p:grpSpPr>
        <p:cxnSp>
          <p:nvCxnSpPr>
            <p:cNvPr id="63" name="Straight Connector 62">
              <a:extLst>
                <a:ext uri="{FF2B5EF4-FFF2-40B4-BE49-F238E27FC236}">
                  <a16:creationId xmlns:a16="http://schemas.microsoft.com/office/drawing/2014/main" id="{1874BD61-F3D4-2F55-6837-55F7CC58219B}"/>
                </a:ext>
              </a:extLst>
            </p:cNvPr>
            <p:cNvCxnSpPr>
              <a:cxnSpLocks/>
            </p:cNvCxnSpPr>
            <p:nvPr/>
          </p:nvCxnSpPr>
          <p:spPr>
            <a:xfrm flipV="1">
              <a:off x="4596025" y="3417472"/>
              <a:ext cx="0" cy="14056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E22AC0A1-01F3-D3BE-0ACD-DED203613837}"/>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6</a:t>
              </a:r>
            </a:p>
          </p:txBody>
        </p:sp>
      </p:grpSp>
      <p:grpSp>
        <p:nvGrpSpPr>
          <p:cNvPr id="66" name="Group 65">
            <a:extLst>
              <a:ext uri="{FF2B5EF4-FFF2-40B4-BE49-F238E27FC236}">
                <a16:creationId xmlns:a16="http://schemas.microsoft.com/office/drawing/2014/main" id="{844E8475-0FBA-E68B-AE48-6FA65F6FF123}"/>
              </a:ext>
            </a:extLst>
          </p:cNvPr>
          <p:cNvGrpSpPr/>
          <p:nvPr/>
        </p:nvGrpSpPr>
        <p:grpSpPr>
          <a:xfrm>
            <a:off x="10150855" y="3237630"/>
            <a:ext cx="864694" cy="1482129"/>
            <a:chOff x="4146576" y="3246448"/>
            <a:chExt cx="919869" cy="1576701"/>
          </a:xfrm>
        </p:grpSpPr>
        <p:cxnSp>
          <p:nvCxnSpPr>
            <p:cNvPr id="68" name="Straight Connector 67">
              <a:extLst>
                <a:ext uri="{FF2B5EF4-FFF2-40B4-BE49-F238E27FC236}">
                  <a16:creationId xmlns:a16="http://schemas.microsoft.com/office/drawing/2014/main" id="{DABC56D4-8F58-F9A4-DD96-8185052F3D39}"/>
                </a:ext>
              </a:extLst>
            </p:cNvPr>
            <p:cNvCxnSpPr>
              <a:cxnSpLocks/>
            </p:cNvCxnSpPr>
            <p:nvPr/>
          </p:nvCxnSpPr>
          <p:spPr>
            <a:xfrm flipV="1">
              <a:off x="4596025" y="3417472"/>
              <a:ext cx="0" cy="14056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50CDC126-FDA6-7A89-7B26-DD25F805A37E}"/>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8</a:t>
              </a:r>
            </a:p>
          </p:txBody>
        </p:sp>
      </p:grpSp>
      <p:sp>
        <p:nvSpPr>
          <p:cNvPr id="70" name="Text Placeholder 5">
            <a:extLst>
              <a:ext uri="{FF2B5EF4-FFF2-40B4-BE49-F238E27FC236}">
                <a16:creationId xmlns:a16="http://schemas.microsoft.com/office/drawing/2014/main" id="{80C2AF0D-8AE2-6410-1D8C-8F6F65D41572}"/>
              </a:ext>
            </a:extLst>
          </p:cNvPr>
          <p:cNvSpPr>
            <a:spLocks noGrp="1"/>
          </p:cNvSpPr>
          <p:nvPr>
            <p:ph type="body" sz="quarter" idx="30" hasCustomPrompt="1"/>
          </p:nvPr>
        </p:nvSpPr>
        <p:spPr>
          <a:xfrm>
            <a:off x="897990" y="2290890"/>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grpSp>
        <p:nvGrpSpPr>
          <p:cNvPr id="5" name="Group 4">
            <a:extLst>
              <a:ext uri="{FF2B5EF4-FFF2-40B4-BE49-F238E27FC236}">
                <a16:creationId xmlns:a16="http://schemas.microsoft.com/office/drawing/2014/main" id="{8D1A135C-122C-D4E9-0E4C-0B7752CCA1FA}"/>
              </a:ext>
            </a:extLst>
          </p:cNvPr>
          <p:cNvGrpSpPr/>
          <p:nvPr userDrawn="1"/>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26DFB05C-C398-934E-1579-37FBEA54A2A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0" name="Freeform 11">
              <a:extLst>
                <a:ext uri="{FF2B5EF4-FFF2-40B4-BE49-F238E27FC236}">
                  <a16:creationId xmlns:a16="http://schemas.microsoft.com/office/drawing/2014/main" id="{9C6B55DA-1A14-9140-7336-3FA4B70871F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4">
              <a:extLst>
                <a:ext uri="{FF2B5EF4-FFF2-40B4-BE49-F238E27FC236}">
                  <a16:creationId xmlns:a16="http://schemas.microsoft.com/office/drawing/2014/main" id="{9FF6D5C5-946A-6EE3-2611-9FC465C1F6A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5" name="Freeform 18">
              <a:extLst>
                <a:ext uri="{FF2B5EF4-FFF2-40B4-BE49-F238E27FC236}">
                  <a16:creationId xmlns:a16="http://schemas.microsoft.com/office/drawing/2014/main" id="{02DDF947-CD3E-4F5D-33BF-940C453A3A8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9">
              <a:extLst>
                <a:ext uri="{FF2B5EF4-FFF2-40B4-BE49-F238E27FC236}">
                  <a16:creationId xmlns:a16="http://schemas.microsoft.com/office/drawing/2014/main" id="{DD295D2C-E8F1-4A69-21EF-CBF88CCBC85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EC07E15-5621-D582-B746-ED160407E2B8}"/>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3" name="Freeform 23">
              <a:extLst>
                <a:ext uri="{FF2B5EF4-FFF2-40B4-BE49-F238E27FC236}">
                  <a16:creationId xmlns:a16="http://schemas.microsoft.com/office/drawing/2014/main" id="{EDA4967B-6C72-903E-9C58-C05AB3465B8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8670808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hree step process - circl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hree step process - circl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87" name="Group 86">
            <a:extLst>
              <a:ext uri="{FF2B5EF4-FFF2-40B4-BE49-F238E27FC236}">
                <a16:creationId xmlns:a16="http://schemas.microsoft.com/office/drawing/2014/main" id="{50E56023-7719-78BB-85BC-7730790FC20C}"/>
              </a:ext>
            </a:extLst>
          </p:cNvPr>
          <p:cNvGrpSpPr/>
          <p:nvPr userDrawn="1">
            <p:custDataLst>
              <p:tags r:id="rId1"/>
            </p:custDataLst>
          </p:nvPr>
        </p:nvGrpSpPr>
        <p:grpSpPr>
          <a:xfrm>
            <a:off x="815975" y="2176588"/>
            <a:ext cx="10620375" cy="3405067"/>
            <a:chOff x="550862" y="2343533"/>
            <a:chExt cx="11090275" cy="3555725"/>
          </a:xfrm>
        </p:grpSpPr>
        <p:grpSp>
          <p:nvGrpSpPr>
            <p:cNvPr id="89" name="Group 88">
              <a:extLst>
                <a:ext uri="{FF2B5EF4-FFF2-40B4-BE49-F238E27FC236}">
                  <a16:creationId xmlns:a16="http://schemas.microsoft.com/office/drawing/2014/main" id="{9B5124E5-19AE-DA52-930A-A4692BB47E1C}"/>
                </a:ext>
              </a:extLst>
            </p:cNvPr>
            <p:cNvGrpSpPr/>
            <p:nvPr/>
          </p:nvGrpSpPr>
          <p:grpSpPr>
            <a:xfrm>
              <a:off x="550862" y="2358059"/>
              <a:ext cx="3541199" cy="3541199"/>
              <a:chOff x="1703512" y="3068960"/>
              <a:chExt cx="2709172" cy="2709172"/>
            </a:xfrm>
          </p:grpSpPr>
          <p:sp>
            <p:nvSpPr>
              <p:cNvPr id="96" name="Oval 95">
                <a:extLst>
                  <a:ext uri="{FF2B5EF4-FFF2-40B4-BE49-F238E27FC236}">
                    <a16:creationId xmlns:a16="http://schemas.microsoft.com/office/drawing/2014/main" id="{3CEFFC78-F999-B9E9-284C-1586DE438559}"/>
                  </a:ext>
                </a:extLst>
              </p:cNvPr>
              <p:cNvSpPr/>
              <p:nvPr/>
            </p:nvSpPr>
            <p:spPr>
              <a:xfrm>
                <a:off x="1703512" y="306896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97" name="Freeform 96">
                <a:extLst>
                  <a:ext uri="{FF2B5EF4-FFF2-40B4-BE49-F238E27FC236}">
                    <a16:creationId xmlns:a16="http://schemas.microsoft.com/office/drawing/2014/main" id="{F200F3B7-231C-CF34-2CA2-8A84E014C522}"/>
                  </a:ext>
                </a:extLst>
              </p:cNvPr>
              <p:cNvSpPr/>
              <p:nvPr/>
            </p:nvSpPr>
            <p:spPr>
              <a:xfrm>
                <a:off x="1703512" y="3537087"/>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1</a:t>
                </a:r>
                <a:endParaRPr lang="en-US" sz="1400" b="1"/>
              </a:p>
            </p:txBody>
          </p:sp>
        </p:grpSp>
        <p:grpSp>
          <p:nvGrpSpPr>
            <p:cNvPr id="90" name="Group 89">
              <a:extLst>
                <a:ext uri="{FF2B5EF4-FFF2-40B4-BE49-F238E27FC236}">
                  <a16:creationId xmlns:a16="http://schemas.microsoft.com/office/drawing/2014/main" id="{8889A68D-427E-E597-7251-1E596CA65F6A}"/>
                </a:ext>
              </a:extLst>
            </p:cNvPr>
            <p:cNvGrpSpPr/>
            <p:nvPr/>
          </p:nvGrpSpPr>
          <p:grpSpPr>
            <a:xfrm>
              <a:off x="8099938" y="2343533"/>
              <a:ext cx="3541199" cy="3541199"/>
              <a:chOff x="7752184" y="3067326"/>
              <a:chExt cx="2709172" cy="2709172"/>
            </a:xfrm>
          </p:grpSpPr>
          <p:sp>
            <p:nvSpPr>
              <p:cNvPr id="94" name="Oval 93">
                <a:extLst>
                  <a:ext uri="{FF2B5EF4-FFF2-40B4-BE49-F238E27FC236}">
                    <a16:creationId xmlns:a16="http://schemas.microsoft.com/office/drawing/2014/main" id="{E7BD4974-D5AD-D84B-1F11-D314C9109668}"/>
                  </a:ext>
                </a:extLst>
              </p:cNvPr>
              <p:cNvSpPr/>
              <p:nvPr/>
            </p:nvSpPr>
            <p:spPr>
              <a:xfrm>
                <a:off x="7752184" y="3067326"/>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95" name="Freeform 94">
                <a:extLst>
                  <a:ext uri="{FF2B5EF4-FFF2-40B4-BE49-F238E27FC236}">
                    <a16:creationId xmlns:a16="http://schemas.microsoft.com/office/drawing/2014/main" id="{27B03874-91AD-B269-95FE-1E134C35D8D7}"/>
                  </a:ext>
                </a:extLst>
              </p:cNvPr>
              <p:cNvSpPr/>
              <p:nvPr/>
            </p:nvSpPr>
            <p:spPr>
              <a:xfrm>
                <a:off x="7752184" y="3537087"/>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3</a:t>
                </a:r>
                <a:endParaRPr lang="en-US" sz="1400" b="1"/>
              </a:p>
            </p:txBody>
          </p:sp>
        </p:grpSp>
        <p:grpSp>
          <p:nvGrpSpPr>
            <p:cNvPr id="91" name="Group 90">
              <a:extLst>
                <a:ext uri="{FF2B5EF4-FFF2-40B4-BE49-F238E27FC236}">
                  <a16:creationId xmlns:a16="http://schemas.microsoft.com/office/drawing/2014/main" id="{32D3E273-5904-BD92-0B59-1488F79E5EE9}"/>
                </a:ext>
              </a:extLst>
            </p:cNvPr>
            <p:cNvGrpSpPr/>
            <p:nvPr/>
          </p:nvGrpSpPr>
          <p:grpSpPr>
            <a:xfrm>
              <a:off x="4325401" y="2343533"/>
              <a:ext cx="3541199" cy="3541199"/>
              <a:chOff x="4741414" y="1689100"/>
              <a:chExt cx="2709172" cy="2709172"/>
            </a:xfrm>
          </p:grpSpPr>
          <p:sp>
            <p:nvSpPr>
              <p:cNvPr id="92" name="Oval 91">
                <a:extLst>
                  <a:ext uri="{FF2B5EF4-FFF2-40B4-BE49-F238E27FC236}">
                    <a16:creationId xmlns:a16="http://schemas.microsoft.com/office/drawing/2014/main" id="{4FF66ECD-E019-AC11-782A-DAB7773AFFE9}"/>
                  </a:ext>
                </a:extLst>
              </p:cNvPr>
              <p:cNvSpPr/>
              <p:nvPr/>
            </p:nvSpPr>
            <p:spPr>
              <a:xfrm>
                <a:off x="4741414" y="168910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93" name="Freeform 92">
                <a:extLst>
                  <a:ext uri="{FF2B5EF4-FFF2-40B4-BE49-F238E27FC236}">
                    <a16:creationId xmlns:a16="http://schemas.microsoft.com/office/drawing/2014/main" id="{27F9B042-AC97-3CE9-DA82-2DB42A1DCF15}"/>
                  </a:ext>
                </a:extLst>
              </p:cNvPr>
              <p:cNvSpPr/>
              <p:nvPr/>
            </p:nvSpPr>
            <p:spPr>
              <a:xfrm>
                <a:off x="4741448" y="2161629"/>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2</a:t>
                </a:r>
                <a:endParaRPr lang="en-US" sz="1400" b="1"/>
              </a:p>
            </p:txBody>
          </p:sp>
        </p:grpSp>
      </p:grpSp>
      <p:sp>
        <p:nvSpPr>
          <p:cNvPr id="98" name="Text Placeholder 49">
            <a:extLst>
              <a:ext uri="{FF2B5EF4-FFF2-40B4-BE49-F238E27FC236}">
                <a16:creationId xmlns:a16="http://schemas.microsoft.com/office/drawing/2014/main" id="{571D4D14-23F8-A182-5746-3F1ADFDFB4BB}"/>
              </a:ext>
            </a:extLst>
          </p:cNvPr>
          <p:cNvSpPr>
            <a:spLocks noGrp="1"/>
          </p:cNvSpPr>
          <p:nvPr>
            <p:ph type="body" sz="quarter" idx="74" hasCustomPrompt="1"/>
          </p:nvPr>
        </p:nvSpPr>
        <p:spPr>
          <a:xfrm>
            <a:off x="1735438" y="3200400"/>
            <a:ext cx="2226962" cy="238235"/>
          </a:xfrm>
        </p:spPr>
        <p:txBody>
          <a:bodyPr>
            <a:noAutofit/>
          </a:bodyPr>
          <a:lstStyle>
            <a:lvl1pPr algn="ctr">
              <a:defRPr sz="1600" b="1">
                <a:solidFill>
                  <a:schemeClr val="bg1"/>
                </a:solidFill>
              </a:defRPr>
            </a:lvl1pPr>
          </a:lstStyle>
          <a:p>
            <a:pPr lvl="0"/>
            <a:r>
              <a:rPr lang="en-US"/>
              <a:t>Lorem ipsum dolor</a:t>
            </a:r>
          </a:p>
        </p:txBody>
      </p:sp>
      <p:sp>
        <p:nvSpPr>
          <p:cNvPr id="99" name="Text Placeholder 49">
            <a:extLst>
              <a:ext uri="{FF2B5EF4-FFF2-40B4-BE49-F238E27FC236}">
                <a16:creationId xmlns:a16="http://schemas.microsoft.com/office/drawing/2014/main" id="{61D7CD2D-2E4B-A9CA-3740-93238B8F6E0C}"/>
              </a:ext>
            </a:extLst>
          </p:cNvPr>
          <p:cNvSpPr>
            <a:spLocks noGrp="1"/>
          </p:cNvSpPr>
          <p:nvPr>
            <p:ph type="body" sz="quarter" idx="75" hasCustomPrompt="1"/>
          </p:nvPr>
        </p:nvSpPr>
        <p:spPr>
          <a:xfrm>
            <a:off x="1735438" y="3538172"/>
            <a:ext cx="2226962" cy="1186228"/>
          </a:xfrm>
        </p:spPr>
        <p:txBody>
          <a:bodyPr>
            <a:normAutofit/>
          </a:bodyPr>
          <a:lstStyle>
            <a:lvl1pPr algn="ctr">
              <a:defRPr sz="12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100" name="Text Placeholder 49">
            <a:extLst>
              <a:ext uri="{FF2B5EF4-FFF2-40B4-BE49-F238E27FC236}">
                <a16:creationId xmlns:a16="http://schemas.microsoft.com/office/drawing/2014/main" id="{40713DBB-91D0-E556-A262-B28C61D1B570}"/>
              </a:ext>
            </a:extLst>
          </p:cNvPr>
          <p:cNvSpPr>
            <a:spLocks noGrp="1"/>
          </p:cNvSpPr>
          <p:nvPr>
            <p:ph type="body" sz="quarter" idx="76" hasCustomPrompt="1"/>
          </p:nvPr>
        </p:nvSpPr>
        <p:spPr>
          <a:xfrm>
            <a:off x="5334000" y="3205117"/>
            <a:ext cx="2226962" cy="238235"/>
          </a:xfrm>
        </p:spPr>
        <p:txBody>
          <a:bodyPr>
            <a:noAutofit/>
          </a:bodyPr>
          <a:lstStyle>
            <a:lvl1pPr algn="ctr">
              <a:defRPr sz="1600" b="1">
                <a:solidFill>
                  <a:schemeClr val="bg1"/>
                </a:solidFill>
              </a:defRPr>
            </a:lvl1pPr>
          </a:lstStyle>
          <a:p>
            <a:pPr lvl="0"/>
            <a:r>
              <a:rPr lang="en-US"/>
              <a:t>Lorem ipsum dolor</a:t>
            </a:r>
          </a:p>
        </p:txBody>
      </p:sp>
      <p:sp>
        <p:nvSpPr>
          <p:cNvPr id="101" name="Text Placeholder 49">
            <a:extLst>
              <a:ext uri="{FF2B5EF4-FFF2-40B4-BE49-F238E27FC236}">
                <a16:creationId xmlns:a16="http://schemas.microsoft.com/office/drawing/2014/main" id="{4D8D3453-DCDE-4E0A-ABE9-8F36EBAEC565}"/>
              </a:ext>
            </a:extLst>
          </p:cNvPr>
          <p:cNvSpPr>
            <a:spLocks noGrp="1"/>
          </p:cNvSpPr>
          <p:nvPr>
            <p:ph type="body" sz="quarter" idx="77" hasCustomPrompt="1"/>
          </p:nvPr>
        </p:nvSpPr>
        <p:spPr>
          <a:xfrm>
            <a:off x="5334000" y="3542889"/>
            <a:ext cx="2226962" cy="1186228"/>
          </a:xfrm>
        </p:spPr>
        <p:txBody>
          <a:bodyPr>
            <a:normAutofit/>
          </a:bodyPr>
          <a:lstStyle>
            <a:lvl1pPr algn="ctr">
              <a:defRPr sz="12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104" name="Text Placeholder 49">
            <a:extLst>
              <a:ext uri="{FF2B5EF4-FFF2-40B4-BE49-F238E27FC236}">
                <a16:creationId xmlns:a16="http://schemas.microsoft.com/office/drawing/2014/main" id="{304B3A9C-00C5-4F52-D60C-4A81421CB60B}"/>
              </a:ext>
            </a:extLst>
          </p:cNvPr>
          <p:cNvSpPr>
            <a:spLocks noGrp="1"/>
          </p:cNvSpPr>
          <p:nvPr>
            <p:ph type="body" sz="quarter" idx="78" hasCustomPrompt="1"/>
          </p:nvPr>
        </p:nvSpPr>
        <p:spPr>
          <a:xfrm>
            <a:off x="8942757" y="3200400"/>
            <a:ext cx="2226962" cy="238235"/>
          </a:xfrm>
        </p:spPr>
        <p:txBody>
          <a:bodyPr>
            <a:noAutofit/>
          </a:bodyPr>
          <a:lstStyle>
            <a:lvl1pPr algn="ctr">
              <a:defRPr sz="1600" b="1">
                <a:solidFill>
                  <a:schemeClr val="bg1"/>
                </a:solidFill>
              </a:defRPr>
            </a:lvl1pPr>
          </a:lstStyle>
          <a:p>
            <a:pPr lvl="0"/>
            <a:r>
              <a:rPr lang="en-US"/>
              <a:t>Lorem ipsum dolor</a:t>
            </a:r>
          </a:p>
        </p:txBody>
      </p:sp>
      <p:sp>
        <p:nvSpPr>
          <p:cNvPr id="105" name="Text Placeholder 49">
            <a:extLst>
              <a:ext uri="{FF2B5EF4-FFF2-40B4-BE49-F238E27FC236}">
                <a16:creationId xmlns:a16="http://schemas.microsoft.com/office/drawing/2014/main" id="{E8FD661D-D294-B74D-94DC-537FCE5703D9}"/>
              </a:ext>
            </a:extLst>
          </p:cNvPr>
          <p:cNvSpPr>
            <a:spLocks noGrp="1"/>
          </p:cNvSpPr>
          <p:nvPr>
            <p:ph type="body" sz="quarter" idx="79" hasCustomPrompt="1"/>
          </p:nvPr>
        </p:nvSpPr>
        <p:spPr>
          <a:xfrm>
            <a:off x="8942757" y="3538172"/>
            <a:ext cx="2226962" cy="1186228"/>
          </a:xfrm>
        </p:spPr>
        <p:txBody>
          <a:bodyPr>
            <a:normAutofit/>
          </a:bodyPr>
          <a:lstStyle>
            <a:lvl1pPr algn="ctr">
              <a:defRPr sz="12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Tree>
    <p:extLst>
      <p:ext uri="{BB962C8B-B14F-4D97-AF65-F5344CB8AC3E}">
        <p14:creationId xmlns:p14="http://schemas.microsoft.com/office/powerpoint/2010/main" val="418993944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Four step process - circl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Four step process - circl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3" name="Group 2">
            <a:extLst>
              <a:ext uri="{FF2B5EF4-FFF2-40B4-BE49-F238E27FC236}">
                <a16:creationId xmlns:a16="http://schemas.microsoft.com/office/drawing/2014/main" id="{5D568D05-1CC6-BDC6-29AB-4A636DF99405}"/>
              </a:ext>
            </a:extLst>
          </p:cNvPr>
          <p:cNvGrpSpPr/>
          <p:nvPr userDrawn="1">
            <p:custDataLst>
              <p:tags r:id="rId1"/>
            </p:custDataLst>
          </p:nvPr>
        </p:nvGrpSpPr>
        <p:grpSpPr>
          <a:xfrm>
            <a:off x="815976" y="2829010"/>
            <a:ext cx="10628834" cy="2596719"/>
            <a:chOff x="550863" y="2716558"/>
            <a:chExt cx="11089125" cy="2709172"/>
          </a:xfrm>
        </p:grpSpPr>
        <p:grpSp>
          <p:nvGrpSpPr>
            <p:cNvPr id="9" name="Group 8">
              <a:extLst>
                <a:ext uri="{FF2B5EF4-FFF2-40B4-BE49-F238E27FC236}">
                  <a16:creationId xmlns:a16="http://schemas.microsoft.com/office/drawing/2014/main" id="{C30DD33B-3EEF-F253-8DB3-68D80676032E}"/>
                </a:ext>
              </a:extLst>
            </p:cNvPr>
            <p:cNvGrpSpPr/>
            <p:nvPr/>
          </p:nvGrpSpPr>
          <p:grpSpPr>
            <a:xfrm>
              <a:off x="550863" y="2716558"/>
              <a:ext cx="2709172" cy="2709172"/>
              <a:chOff x="1703512" y="3068960"/>
              <a:chExt cx="2709172" cy="2709172"/>
            </a:xfrm>
          </p:grpSpPr>
          <p:sp>
            <p:nvSpPr>
              <p:cNvPr id="25" name="Oval 24">
                <a:extLst>
                  <a:ext uri="{FF2B5EF4-FFF2-40B4-BE49-F238E27FC236}">
                    <a16:creationId xmlns:a16="http://schemas.microsoft.com/office/drawing/2014/main" id="{C9309ADA-466F-AEF4-2CB9-01E4D033B368}"/>
                  </a:ext>
                </a:extLst>
              </p:cNvPr>
              <p:cNvSpPr/>
              <p:nvPr/>
            </p:nvSpPr>
            <p:spPr>
              <a:xfrm>
                <a:off x="1703512" y="306896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6" name="Freeform 25">
                <a:extLst>
                  <a:ext uri="{FF2B5EF4-FFF2-40B4-BE49-F238E27FC236}">
                    <a16:creationId xmlns:a16="http://schemas.microsoft.com/office/drawing/2014/main" id="{52D71E61-B86C-E54E-F05A-83882E3F5561}"/>
                  </a:ext>
                </a:extLst>
              </p:cNvPr>
              <p:cNvSpPr/>
              <p:nvPr/>
            </p:nvSpPr>
            <p:spPr>
              <a:xfrm>
                <a:off x="1703512" y="3537087"/>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1</a:t>
                </a:r>
                <a:endParaRPr lang="en-US" sz="1400" b="1"/>
              </a:p>
            </p:txBody>
          </p:sp>
        </p:grpSp>
        <p:grpSp>
          <p:nvGrpSpPr>
            <p:cNvPr id="10" name="Group 9">
              <a:extLst>
                <a:ext uri="{FF2B5EF4-FFF2-40B4-BE49-F238E27FC236}">
                  <a16:creationId xmlns:a16="http://schemas.microsoft.com/office/drawing/2014/main" id="{779E4D83-E09A-D84B-2C85-B11FBCB242AA}"/>
                </a:ext>
              </a:extLst>
            </p:cNvPr>
            <p:cNvGrpSpPr/>
            <p:nvPr/>
          </p:nvGrpSpPr>
          <p:grpSpPr>
            <a:xfrm>
              <a:off x="6137499" y="2716558"/>
              <a:ext cx="2709172" cy="2709172"/>
              <a:chOff x="7752184" y="3067326"/>
              <a:chExt cx="2709172" cy="2709172"/>
            </a:xfrm>
          </p:grpSpPr>
          <p:sp>
            <p:nvSpPr>
              <p:cNvPr id="23" name="Oval 22">
                <a:extLst>
                  <a:ext uri="{FF2B5EF4-FFF2-40B4-BE49-F238E27FC236}">
                    <a16:creationId xmlns:a16="http://schemas.microsoft.com/office/drawing/2014/main" id="{5368A6CA-F3FD-7E61-8070-899BE43203CD}"/>
                  </a:ext>
                </a:extLst>
              </p:cNvPr>
              <p:cNvSpPr/>
              <p:nvPr/>
            </p:nvSpPr>
            <p:spPr>
              <a:xfrm>
                <a:off x="7752184" y="3067326"/>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4" name="Freeform 23">
                <a:extLst>
                  <a:ext uri="{FF2B5EF4-FFF2-40B4-BE49-F238E27FC236}">
                    <a16:creationId xmlns:a16="http://schemas.microsoft.com/office/drawing/2014/main" id="{5A487362-9377-9271-3B80-A8A9842B5232}"/>
                  </a:ext>
                </a:extLst>
              </p:cNvPr>
              <p:cNvSpPr/>
              <p:nvPr/>
            </p:nvSpPr>
            <p:spPr>
              <a:xfrm>
                <a:off x="7752184" y="3537087"/>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3</a:t>
                </a:r>
                <a:endParaRPr lang="en-US" sz="1400" b="1"/>
              </a:p>
            </p:txBody>
          </p:sp>
        </p:grpSp>
        <p:grpSp>
          <p:nvGrpSpPr>
            <p:cNvPr id="16" name="Group 15">
              <a:extLst>
                <a:ext uri="{FF2B5EF4-FFF2-40B4-BE49-F238E27FC236}">
                  <a16:creationId xmlns:a16="http://schemas.microsoft.com/office/drawing/2014/main" id="{423E33F0-3799-1D35-77A5-926C78E45F30}"/>
                </a:ext>
              </a:extLst>
            </p:cNvPr>
            <p:cNvGrpSpPr/>
            <p:nvPr/>
          </p:nvGrpSpPr>
          <p:grpSpPr>
            <a:xfrm>
              <a:off x="3344181" y="2716558"/>
              <a:ext cx="2709172" cy="2709172"/>
              <a:chOff x="4741414" y="1689100"/>
              <a:chExt cx="2709172" cy="2709172"/>
            </a:xfrm>
          </p:grpSpPr>
          <p:sp>
            <p:nvSpPr>
              <p:cNvPr id="21" name="Oval 20">
                <a:extLst>
                  <a:ext uri="{FF2B5EF4-FFF2-40B4-BE49-F238E27FC236}">
                    <a16:creationId xmlns:a16="http://schemas.microsoft.com/office/drawing/2014/main" id="{E609FEA0-889D-8AED-4CFE-635C53665FDE}"/>
                  </a:ext>
                </a:extLst>
              </p:cNvPr>
              <p:cNvSpPr/>
              <p:nvPr/>
            </p:nvSpPr>
            <p:spPr>
              <a:xfrm>
                <a:off x="4741414" y="168910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2" name="Freeform 21">
                <a:extLst>
                  <a:ext uri="{FF2B5EF4-FFF2-40B4-BE49-F238E27FC236}">
                    <a16:creationId xmlns:a16="http://schemas.microsoft.com/office/drawing/2014/main" id="{B1EA09F2-0C0B-80F1-3032-B48287307B4E}"/>
                  </a:ext>
                </a:extLst>
              </p:cNvPr>
              <p:cNvSpPr/>
              <p:nvPr/>
            </p:nvSpPr>
            <p:spPr>
              <a:xfrm>
                <a:off x="4744419" y="2156466"/>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2</a:t>
                </a:r>
                <a:endParaRPr lang="en-US" sz="1400" b="1"/>
              </a:p>
            </p:txBody>
          </p:sp>
        </p:grpSp>
        <p:grpSp>
          <p:nvGrpSpPr>
            <p:cNvPr id="17" name="Group 16">
              <a:extLst>
                <a:ext uri="{FF2B5EF4-FFF2-40B4-BE49-F238E27FC236}">
                  <a16:creationId xmlns:a16="http://schemas.microsoft.com/office/drawing/2014/main" id="{E2F105EF-152C-3194-0777-0A279C93C7BE}"/>
                </a:ext>
              </a:extLst>
            </p:cNvPr>
            <p:cNvGrpSpPr/>
            <p:nvPr/>
          </p:nvGrpSpPr>
          <p:grpSpPr>
            <a:xfrm>
              <a:off x="8930518" y="2716558"/>
              <a:ext cx="2709470" cy="2709172"/>
              <a:chOff x="4741116" y="1689100"/>
              <a:chExt cx="2709470" cy="2709172"/>
            </a:xfrm>
          </p:grpSpPr>
          <p:sp>
            <p:nvSpPr>
              <p:cNvPr id="18" name="Oval 17">
                <a:extLst>
                  <a:ext uri="{FF2B5EF4-FFF2-40B4-BE49-F238E27FC236}">
                    <a16:creationId xmlns:a16="http://schemas.microsoft.com/office/drawing/2014/main" id="{A100FDDA-2572-60E9-0A12-5E112C5AA870}"/>
                  </a:ext>
                </a:extLst>
              </p:cNvPr>
              <p:cNvSpPr/>
              <p:nvPr/>
            </p:nvSpPr>
            <p:spPr>
              <a:xfrm>
                <a:off x="4741414" y="168910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0" name="Freeform 19">
                <a:extLst>
                  <a:ext uri="{FF2B5EF4-FFF2-40B4-BE49-F238E27FC236}">
                    <a16:creationId xmlns:a16="http://schemas.microsoft.com/office/drawing/2014/main" id="{B3760E66-B127-49B2-CF3C-B1805C7CEAB3}"/>
                  </a:ext>
                </a:extLst>
              </p:cNvPr>
              <p:cNvSpPr/>
              <p:nvPr/>
            </p:nvSpPr>
            <p:spPr>
              <a:xfrm>
                <a:off x="4741116" y="2157396"/>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4</a:t>
                </a:r>
                <a:endParaRPr lang="en-US" sz="1400" b="1"/>
              </a:p>
            </p:txBody>
          </p:sp>
        </p:grpSp>
      </p:grpSp>
      <p:sp>
        <p:nvSpPr>
          <p:cNvPr id="27" name="Text Placeholder 49">
            <a:extLst>
              <a:ext uri="{FF2B5EF4-FFF2-40B4-BE49-F238E27FC236}">
                <a16:creationId xmlns:a16="http://schemas.microsoft.com/office/drawing/2014/main" id="{6CA232C7-5965-4D0B-55C5-AB6D6B6C194A}"/>
              </a:ext>
            </a:extLst>
          </p:cNvPr>
          <p:cNvSpPr>
            <a:spLocks noGrp="1"/>
          </p:cNvSpPr>
          <p:nvPr>
            <p:ph type="body" sz="quarter" idx="74" hasCustomPrompt="1"/>
          </p:nvPr>
        </p:nvSpPr>
        <p:spPr>
          <a:xfrm>
            <a:off x="1522611" y="3571930"/>
            <a:ext cx="1722280" cy="183643"/>
          </a:xfrm>
        </p:spPr>
        <p:txBody>
          <a:bodyPr>
            <a:normAutofit/>
          </a:bodyPr>
          <a:lstStyle>
            <a:lvl1pPr algn="ctr">
              <a:defRPr sz="1200" b="1">
                <a:solidFill>
                  <a:schemeClr val="bg1"/>
                </a:solidFill>
              </a:defRPr>
            </a:lvl1pPr>
          </a:lstStyle>
          <a:p>
            <a:pPr lvl="0"/>
            <a:r>
              <a:rPr lang="en-US"/>
              <a:t>Lorem ipsum dolor</a:t>
            </a:r>
          </a:p>
        </p:txBody>
      </p:sp>
      <p:sp>
        <p:nvSpPr>
          <p:cNvPr id="28" name="Text Placeholder 49">
            <a:extLst>
              <a:ext uri="{FF2B5EF4-FFF2-40B4-BE49-F238E27FC236}">
                <a16:creationId xmlns:a16="http://schemas.microsoft.com/office/drawing/2014/main" id="{FE9ECF06-0C21-57F1-EB90-E10C31D88A18}"/>
              </a:ext>
            </a:extLst>
          </p:cNvPr>
          <p:cNvSpPr>
            <a:spLocks noGrp="1"/>
          </p:cNvSpPr>
          <p:nvPr>
            <p:ph type="body" sz="quarter" idx="75" hasCustomPrompt="1"/>
          </p:nvPr>
        </p:nvSpPr>
        <p:spPr>
          <a:xfrm>
            <a:off x="1522611" y="386474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29" name="Text Placeholder 49">
            <a:extLst>
              <a:ext uri="{FF2B5EF4-FFF2-40B4-BE49-F238E27FC236}">
                <a16:creationId xmlns:a16="http://schemas.microsoft.com/office/drawing/2014/main" id="{9ABF9AD9-B7D5-53F3-E223-B3FC95C80D58}"/>
              </a:ext>
            </a:extLst>
          </p:cNvPr>
          <p:cNvSpPr>
            <a:spLocks noGrp="1"/>
          </p:cNvSpPr>
          <p:nvPr>
            <p:ph type="body" sz="quarter" idx="76" hasCustomPrompt="1"/>
          </p:nvPr>
        </p:nvSpPr>
        <p:spPr>
          <a:xfrm>
            <a:off x="4207072" y="3571930"/>
            <a:ext cx="1722280" cy="183643"/>
          </a:xfrm>
        </p:spPr>
        <p:txBody>
          <a:bodyPr>
            <a:normAutofit/>
          </a:bodyPr>
          <a:lstStyle>
            <a:lvl1pPr algn="ctr">
              <a:defRPr sz="1200" b="1">
                <a:solidFill>
                  <a:schemeClr val="bg1"/>
                </a:solidFill>
              </a:defRPr>
            </a:lvl1pPr>
          </a:lstStyle>
          <a:p>
            <a:pPr lvl="0"/>
            <a:r>
              <a:rPr lang="en-US"/>
              <a:t>Lorem ipsum dolor</a:t>
            </a:r>
          </a:p>
        </p:txBody>
      </p:sp>
      <p:sp>
        <p:nvSpPr>
          <p:cNvPr id="30" name="Text Placeholder 49">
            <a:extLst>
              <a:ext uri="{FF2B5EF4-FFF2-40B4-BE49-F238E27FC236}">
                <a16:creationId xmlns:a16="http://schemas.microsoft.com/office/drawing/2014/main" id="{EB175A93-5B2A-B2A1-ADA0-BDF90303EF4E}"/>
              </a:ext>
            </a:extLst>
          </p:cNvPr>
          <p:cNvSpPr>
            <a:spLocks noGrp="1"/>
          </p:cNvSpPr>
          <p:nvPr>
            <p:ph type="body" sz="quarter" idx="77" hasCustomPrompt="1"/>
          </p:nvPr>
        </p:nvSpPr>
        <p:spPr>
          <a:xfrm>
            <a:off x="4207072" y="386474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1" name="Text Placeholder 49">
            <a:extLst>
              <a:ext uri="{FF2B5EF4-FFF2-40B4-BE49-F238E27FC236}">
                <a16:creationId xmlns:a16="http://schemas.microsoft.com/office/drawing/2014/main" id="{24ED67CC-8D40-D99A-6209-10714E2030BD}"/>
              </a:ext>
            </a:extLst>
          </p:cNvPr>
          <p:cNvSpPr>
            <a:spLocks noGrp="1"/>
          </p:cNvSpPr>
          <p:nvPr>
            <p:ph type="body" sz="quarter" idx="78" hasCustomPrompt="1"/>
          </p:nvPr>
        </p:nvSpPr>
        <p:spPr>
          <a:xfrm>
            <a:off x="6884158" y="3571930"/>
            <a:ext cx="1722280" cy="183643"/>
          </a:xfrm>
        </p:spPr>
        <p:txBody>
          <a:bodyPr>
            <a:normAutofit/>
          </a:bodyPr>
          <a:lstStyle>
            <a:lvl1pPr algn="ctr">
              <a:defRPr sz="1200" b="1">
                <a:solidFill>
                  <a:schemeClr val="bg1"/>
                </a:solidFill>
              </a:defRPr>
            </a:lvl1pPr>
          </a:lstStyle>
          <a:p>
            <a:pPr lvl="0"/>
            <a:r>
              <a:rPr lang="en-US"/>
              <a:t>Lorem ipsum dolor</a:t>
            </a:r>
          </a:p>
        </p:txBody>
      </p:sp>
      <p:sp>
        <p:nvSpPr>
          <p:cNvPr id="32" name="Text Placeholder 49">
            <a:extLst>
              <a:ext uri="{FF2B5EF4-FFF2-40B4-BE49-F238E27FC236}">
                <a16:creationId xmlns:a16="http://schemas.microsoft.com/office/drawing/2014/main" id="{3279C1A5-9FAE-58C9-9DB5-9968C714D772}"/>
              </a:ext>
            </a:extLst>
          </p:cNvPr>
          <p:cNvSpPr>
            <a:spLocks noGrp="1"/>
          </p:cNvSpPr>
          <p:nvPr>
            <p:ph type="body" sz="quarter" idx="79" hasCustomPrompt="1"/>
          </p:nvPr>
        </p:nvSpPr>
        <p:spPr>
          <a:xfrm>
            <a:off x="6884158" y="386474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3" name="Text Placeholder 49">
            <a:extLst>
              <a:ext uri="{FF2B5EF4-FFF2-40B4-BE49-F238E27FC236}">
                <a16:creationId xmlns:a16="http://schemas.microsoft.com/office/drawing/2014/main" id="{83C0F080-8015-AB42-3977-CC3B859AF0A1}"/>
              </a:ext>
            </a:extLst>
          </p:cNvPr>
          <p:cNvSpPr>
            <a:spLocks noGrp="1"/>
          </p:cNvSpPr>
          <p:nvPr>
            <p:ph type="body" sz="quarter" idx="80" hasCustomPrompt="1"/>
          </p:nvPr>
        </p:nvSpPr>
        <p:spPr>
          <a:xfrm>
            <a:off x="9561529" y="3571930"/>
            <a:ext cx="1722280" cy="183643"/>
          </a:xfrm>
        </p:spPr>
        <p:txBody>
          <a:bodyPr>
            <a:normAutofit/>
          </a:bodyPr>
          <a:lstStyle>
            <a:lvl1pPr algn="ctr">
              <a:defRPr sz="1200" b="1">
                <a:solidFill>
                  <a:schemeClr val="bg1"/>
                </a:solidFill>
              </a:defRPr>
            </a:lvl1pPr>
          </a:lstStyle>
          <a:p>
            <a:pPr lvl="0"/>
            <a:r>
              <a:rPr lang="en-US"/>
              <a:t>Lorem ipsum dolor</a:t>
            </a:r>
          </a:p>
        </p:txBody>
      </p:sp>
      <p:sp>
        <p:nvSpPr>
          <p:cNvPr id="34" name="Text Placeholder 49">
            <a:extLst>
              <a:ext uri="{FF2B5EF4-FFF2-40B4-BE49-F238E27FC236}">
                <a16:creationId xmlns:a16="http://schemas.microsoft.com/office/drawing/2014/main" id="{1BCE9A3D-2D19-D602-DF64-9BAA63C5F590}"/>
              </a:ext>
            </a:extLst>
          </p:cNvPr>
          <p:cNvSpPr>
            <a:spLocks noGrp="1"/>
          </p:cNvSpPr>
          <p:nvPr>
            <p:ph type="body" sz="quarter" idx="81" hasCustomPrompt="1"/>
          </p:nvPr>
        </p:nvSpPr>
        <p:spPr>
          <a:xfrm>
            <a:off x="9561529" y="386474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Tree>
    <p:extLst>
      <p:ext uri="{BB962C8B-B14F-4D97-AF65-F5344CB8AC3E}">
        <p14:creationId xmlns:p14="http://schemas.microsoft.com/office/powerpoint/2010/main" val="37830893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Light grey">
    <p:bg>
      <p:bgRef idx="1001">
        <a:schemeClr val="bg2"/>
      </p:bgRef>
    </p:bg>
    <p:spTree>
      <p:nvGrpSpPr>
        <p:cNvPr id="1" name=""/>
        <p:cNvGrpSpPr/>
        <p:nvPr/>
      </p:nvGrpSpPr>
      <p:grpSpPr>
        <a:xfrm>
          <a:off x="0" y="0"/>
          <a:ext cx="0" cy="0"/>
          <a:chOff x="0" y="0"/>
          <a:chExt cx="0" cy="0"/>
        </a:xfrm>
      </p:grpSpPr>
      <p:sp>
        <p:nvSpPr>
          <p:cNvPr id="2" name="PoP">
            <a:extLst>
              <a:ext uri="{FF2B5EF4-FFF2-40B4-BE49-F238E27FC236}">
                <a16:creationId xmlns:a16="http://schemas.microsoft.com/office/drawing/2014/main" id="{F19C7962-6067-2B78-942F-0DD0ECAB1188}"/>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pic>
        <p:nvPicPr>
          <p:cNvPr id="3" name="Logo">
            <a:extLst>
              <a:ext uri="{FF2B5EF4-FFF2-40B4-BE49-F238E27FC236}">
                <a16:creationId xmlns:a16="http://schemas.microsoft.com/office/drawing/2014/main" id="{5383F5CB-CF9D-5992-F111-BDBC77774F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445"/>
          </a:xfrm>
          <a:prstGeom prst="rect">
            <a:avLst/>
          </a:prstGeom>
        </p:spPr>
      </p:pic>
    </p:spTree>
    <p:extLst>
      <p:ext uri="{BB962C8B-B14F-4D97-AF65-F5344CB8AC3E}">
        <p14:creationId xmlns:p14="http://schemas.microsoft.com/office/powerpoint/2010/main" val="4224069976"/>
      </p:ext>
    </p:extLst>
  </p:cSld>
  <p:clrMapOvr>
    <a:overrideClrMapping bg1="lt1" tx1="dk1" bg2="lt2" tx2="dk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ive step process - circl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Five step process - circl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3" name="Group 2">
            <a:extLst>
              <a:ext uri="{FF2B5EF4-FFF2-40B4-BE49-F238E27FC236}">
                <a16:creationId xmlns:a16="http://schemas.microsoft.com/office/drawing/2014/main" id="{E89FA00A-36B3-2CEE-AF63-82B50483854C}"/>
              </a:ext>
            </a:extLst>
          </p:cNvPr>
          <p:cNvGrpSpPr/>
          <p:nvPr userDrawn="1"/>
        </p:nvGrpSpPr>
        <p:grpSpPr>
          <a:xfrm>
            <a:off x="815976" y="1868488"/>
            <a:ext cx="10656988" cy="4413920"/>
            <a:chOff x="550863" y="1859809"/>
            <a:chExt cx="11090275" cy="4593379"/>
          </a:xfrm>
        </p:grpSpPr>
        <p:sp>
          <p:nvSpPr>
            <p:cNvPr id="9" name="Oval 8">
              <a:extLst>
                <a:ext uri="{FF2B5EF4-FFF2-40B4-BE49-F238E27FC236}">
                  <a16:creationId xmlns:a16="http://schemas.microsoft.com/office/drawing/2014/main" id="{F3AFBB32-FD81-64B0-BC9D-D4169E5A5974}"/>
                </a:ext>
              </a:extLst>
            </p:cNvPr>
            <p:cNvSpPr/>
            <p:nvPr/>
          </p:nvSpPr>
          <p:spPr>
            <a:xfrm>
              <a:off x="550863" y="3744016"/>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10" name="Freeform 9">
              <a:extLst>
                <a:ext uri="{FF2B5EF4-FFF2-40B4-BE49-F238E27FC236}">
                  <a16:creationId xmlns:a16="http://schemas.microsoft.com/office/drawing/2014/main" id="{C0A84A66-255E-7D04-A51F-6CF9167C2342}"/>
                </a:ext>
              </a:extLst>
            </p:cNvPr>
            <p:cNvSpPr/>
            <p:nvPr/>
          </p:nvSpPr>
          <p:spPr>
            <a:xfrm>
              <a:off x="550863" y="4212143"/>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1</a:t>
              </a:r>
              <a:endParaRPr lang="en-US" sz="1400" b="1"/>
            </a:p>
          </p:txBody>
        </p:sp>
        <p:sp>
          <p:nvSpPr>
            <p:cNvPr id="16" name="Oval 15">
              <a:extLst>
                <a:ext uri="{FF2B5EF4-FFF2-40B4-BE49-F238E27FC236}">
                  <a16:creationId xmlns:a16="http://schemas.microsoft.com/office/drawing/2014/main" id="{9E37F8D3-42E2-4050-511B-F67FA5F20E77}"/>
                </a:ext>
              </a:extLst>
            </p:cNvPr>
            <p:cNvSpPr/>
            <p:nvPr/>
          </p:nvSpPr>
          <p:spPr>
            <a:xfrm>
              <a:off x="4741415" y="3742382"/>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17" name="Freeform 16">
              <a:extLst>
                <a:ext uri="{FF2B5EF4-FFF2-40B4-BE49-F238E27FC236}">
                  <a16:creationId xmlns:a16="http://schemas.microsoft.com/office/drawing/2014/main" id="{775C6648-8363-DD8C-31B2-B3C91ACB86F3}"/>
                </a:ext>
              </a:extLst>
            </p:cNvPr>
            <p:cNvSpPr/>
            <p:nvPr/>
          </p:nvSpPr>
          <p:spPr>
            <a:xfrm>
              <a:off x="4741415" y="4212143"/>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3</a:t>
              </a:r>
              <a:endParaRPr lang="en-US" sz="1400" b="1"/>
            </a:p>
          </p:txBody>
        </p:sp>
        <p:sp>
          <p:nvSpPr>
            <p:cNvPr id="18" name="Oval 17">
              <a:extLst>
                <a:ext uri="{FF2B5EF4-FFF2-40B4-BE49-F238E27FC236}">
                  <a16:creationId xmlns:a16="http://schemas.microsoft.com/office/drawing/2014/main" id="{A3D9C885-1DD4-F08D-B6DF-BF20BD0FDE55}"/>
                </a:ext>
              </a:extLst>
            </p:cNvPr>
            <p:cNvSpPr/>
            <p:nvPr/>
          </p:nvSpPr>
          <p:spPr>
            <a:xfrm>
              <a:off x="2646139" y="1859809"/>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0" name="Freeform 19">
              <a:extLst>
                <a:ext uri="{FF2B5EF4-FFF2-40B4-BE49-F238E27FC236}">
                  <a16:creationId xmlns:a16="http://schemas.microsoft.com/office/drawing/2014/main" id="{FEDAEAAD-8070-88F7-EAB6-5FEE005CA068}"/>
                </a:ext>
              </a:extLst>
            </p:cNvPr>
            <p:cNvSpPr/>
            <p:nvPr/>
          </p:nvSpPr>
          <p:spPr>
            <a:xfrm>
              <a:off x="2649227" y="2327258"/>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2</a:t>
              </a:r>
              <a:endParaRPr lang="en-US" sz="1400" b="1"/>
            </a:p>
          </p:txBody>
        </p:sp>
        <p:sp>
          <p:nvSpPr>
            <p:cNvPr id="21" name="Oval 20">
              <a:extLst>
                <a:ext uri="{FF2B5EF4-FFF2-40B4-BE49-F238E27FC236}">
                  <a16:creationId xmlns:a16="http://schemas.microsoft.com/office/drawing/2014/main" id="{6F79A4DD-9A48-A358-8F6A-5788D6CBC781}"/>
                </a:ext>
              </a:extLst>
            </p:cNvPr>
            <p:cNvSpPr/>
            <p:nvPr/>
          </p:nvSpPr>
          <p:spPr>
            <a:xfrm>
              <a:off x="6836691" y="1859809"/>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2" name="Freeform 21">
              <a:extLst>
                <a:ext uri="{FF2B5EF4-FFF2-40B4-BE49-F238E27FC236}">
                  <a16:creationId xmlns:a16="http://schemas.microsoft.com/office/drawing/2014/main" id="{C64E2125-3F79-F249-E7CD-66DDA2AC17C5}"/>
                </a:ext>
              </a:extLst>
            </p:cNvPr>
            <p:cNvSpPr/>
            <p:nvPr/>
          </p:nvSpPr>
          <p:spPr>
            <a:xfrm>
              <a:off x="6839779" y="2327258"/>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4</a:t>
              </a:r>
              <a:endParaRPr lang="en-US" sz="1400" b="1"/>
            </a:p>
          </p:txBody>
        </p:sp>
        <p:sp>
          <p:nvSpPr>
            <p:cNvPr id="23" name="Oval 22">
              <a:extLst>
                <a:ext uri="{FF2B5EF4-FFF2-40B4-BE49-F238E27FC236}">
                  <a16:creationId xmlns:a16="http://schemas.microsoft.com/office/drawing/2014/main" id="{934361DF-C74E-159C-F0BB-CD42F96D2B43}"/>
                </a:ext>
              </a:extLst>
            </p:cNvPr>
            <p:cNvSpPr/>
            <p:nvPr/>
          </p:nvSpPr>
          <p:spPr>
            <a:xfrm>
              <a:off x="8931966" y="3744016"/>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4" name="Freeform 23">
              <a:extLst>
                <a:ext uri="{FF2B5EF4-FFF2-40B4-BE49-F238E27FC236}">
                  <a16:creationId xmlns:a16="http://schemas.microsoft.com/office/drawing/2014/main" id="{08067F68-7D54-7FB1-C6E3-F9EC10AAA316}"/>
                </a:ext>
              </a:extLst>
            </p:cNvPr>
            <p:cNvSpPr/>
            <p:nvPr/>
          </p:nvSpPr>
          <p:spPr>
            <a:xfrm>
              <a:off x="8931966" y="4212143"/>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solidFill>
                    <a:schemeClr val="bg1"/>
                  </a:solidFill>
                </a:rPr>
                <a:t>05</a:t>
              </a:r>
              <a:endParaRPr lang="en-US" sz="1400" b="1">
                <a:solidFill>
                  <a:schemeClr val="bg1"/>
                </a:solidFill>
              </a:endParaRPr>
            </a:p>
          </p:txBody>
        </p:sp>
      </p:grpSp>
      <p:sp>
        <p:nvSpPr>
          <p:cNvPr id="25" name="Text Placeholder 49">
            <a:extLst>
              <a:ext uri="{FF2B5EF4-FFF2-40B4-BE49-F238E27FC236}">
                <a16:creationId xmlns:a16="http://schemas.microsoft.com/office/drawing/2014/main" id="{DEEB9827-7ADD-A0F8-25EC-E99372CA0905}"/>
              </a:ext>
            </a:extLst>
          </p:cNvPr>
          <p:cNvSpPr>
            <a:spLocks noGrp="1"/>
          </p:cNvSpPr>
          <p:nvPr>
            <p:ph type="body" sz="quarter" idx="74" hasCustomPrompt="1"/>
          </p:nvPr>
        </p:nvSpPr>
        <p:spPr>
          <a:xfrm>
            <a:off x="3537038" y="2514600"/>
            <a:ext cx="1722280" cy="183643"/>
          </a:xfrm>
        </p:spPr>
        <p:txBody>
          <a:bodyPr>
            <a:normAutofit/>
          </a:bodyPr>
          <a:lstStyle>
            <a:lvl1pPr algn="ctr">
              <a:defRPr sz="1200" b="1">
                <a:solidFill>
                  <a:schemeClr val="bg1"/>
                </a:solidFill>
              </a:defRPr>
            </a:lvl1pPr>
          </a:lstStyle>
          <a:p>
            <a:pPr lvl="0"/>
            <a:r>
              <a:rPr lang="en-US"/>
              <a:t>Lorem ipsum dolor</a:t>
            </a:r>
          </a:p>
        </p:txBody>
      </p:sp>
      <p:sp>
        <p:nvSpPr>
          <p:cNvPr id="26" name="Text Placeholder 49">
            <a:extLst>
              <a:ext uri="{FF2B5EF4-FFF2-40B4-BE49-F238E27FC236}">
                <a16:creationId xmlns:a16="http://schemas.microsoft.com/office/drawing/2014/main" id="{9E0D1F3E-3FE3-24C8-0C13-4D3EEDB346AC}"/>
              </a:ext>
            </a:extLst>
          </p:cNvPr>
          <p:cNvSpPr>
            <a:spLocks noGrp="1"/>
          </p:cNvSpPr>
          <p:nvPr>
            <p:ph type="body" sz="quarter" idx="75" hasCustomPrompt="1"/>
          </p:nvPr>
        </p:nvSpPr>
        <p:spPr>
          <a:xfrm>
            <a:off x="3537038" y="280741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27" name="Text Placeholder 49">
            <a:extLst>
              <a:ext uri="{FF2B5EF4-FFF2-40B4-BE49-F238E27FC236}">
                <a16:creationId xmlns:a16="http://schemas.microsoft.com/office/drawing/2014/main" id="{03B66352-E567-CB12-9381-9D2DA529C85B}"/>
              </a:ext>
            </a:extLst>
          </p:cNvPr>
          <p:cNvSpPr>
            <a:spLocks noGrp="1"/>
          </p:cNvSpPr>
          <p:nvPr>
            <p:ph type="body" sz="quarter" idx="76" hasCustomPrompt="1"/>
          </p:nvPr>
        </p:nvSpPr>
        <p:spPr>
          <a:xfrm>
            <a:off x="5544851" y="4427255"/>
            <a:ext cx="1722280" cy="183643"/>
          </a:xfrm>
        </p:spPr>
        <p:txBody>
          <a:bodyPr>
            <a:normAutofit/>
          </a:bodyPr>
          <a:lstStyle>
            <a:lvl1pPr algn="ctr">
              <a:defRPr sz="1200" b="1">
                <a:solidFill>
                  <a:schemeClr val="bg1"/>
                </a:solidFill>
              </a:defRPr>
            </a:lvl1pPr>
          </a:lstStyle>
          <a:p>
            <a:pPr lvl="0"/>
            <a:r>
              <a:rPr lang="en-US"/>
              <a:t>Lorem ipsum dolor</a:t>
            </a:r>
          </a:p>
        </p:txBody>
      </p:sp>
      <p:sp>
        <p:nvSpPr>
          <p:cNvPr id="28" name="Text Placeholder 49">
            <a:extLst>
              <a:ext uri="{FF2B5EF4-FFF2-40B4-BE49-F238E27FC236}">
                <a16:creationId xmlns:a16="http://schemas.microsoft.com/office/drawing/2014/main" id="{247A7AED-DDC6-AD64-86A1-54A7CA0FC464}"/>
              </a:ext>
            </a:extLst>
          </p:cNvPr>
          <p:cNvSpPr>
            <a:spLocks noGrp="1"/>
          </p:cNvSpPr>
          <p:nvPr>
            <p:ph type="body" sz="quarter" idx="77" hasCustomPrompt="1"/>
          </p:nvPr>
        </p:nvSpPr>
        <p:spPr>
          <a:xfrm>
            <a:off x="5544851" y="4720070"/>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29" name="Text Placeholder 49">
            <a:extLst>
              <a:ext uri="{FF2B5EF4-FFF2-40B4-BE49-F238E27FC236}">
                <a16:creationId xmlns:a16="http://schemas.microsoft.com/office/drawing/2014/main" id="{D09B0CCF-3C79-B967-C48F-CAF8012E3D56}"/>
              </a:ext>
            </a:extLst>
          </p:cNvPr>
          <p:cNvSpPr>
            <a:spLocks noGrp="1"/>
          </p:cNvSpPr>
          <p:nvPr>
            <p:ph type="body" sz="quarter" idx="78" hasCustomPrompt="1"/>
          </p:nvPr>
        </p:nvSpPr>
        <p:spPr>
          <a:xfrm>
            <a:off x="7563869" y="2519654"/>
            <a:ext cx="1722280" cy="183643"/>
          </a:xfrm>
        </p:spPr>
        <p:txBody>
          <a:bodyPr>
            <a:normAutofit/>
          </a:bodyPr>
          <a:lstStyle>
            <a:lvl1pPr algn="ctr">
              <a:defRPr sz="1200" b="1">
                <a:solidFill>
                  <a:schemeClr val="bg1"/>
                </a:solidFill>
              </a:defRPr>
            </a:lvl1pPr>
          </a:lstStyle>
          <a:p>
            <a:pPr lvl="0"/>
            <a:r>
              <a:rPr lang="en-US"/>
              <a:t>Lorem ipsum dolor</a:t>
            </a:r>
          </a:p>
        </p:txBody>
      </p:sp>
      <p:sp>
        <p:nvSpPr>
          <p:cNvPr id="30" name="Text Placeholder 49">
            <a:extLst>
              <a:ext uri="{FF2B5EF4-FFF2-40B4-BE49-F238E27FC236}">
                <a16:creationId xmlns:a16="http://schemas.microsoft.com/office/drawing/2014/main" id="{9E8A228E-D940-D534-7617-5143E9AE665D}"/>
              </a:ext>
            </a:extLst>
          </p:cNvPr>
          <p:cNvSpPr>
            <a:spLocks noGrp="1"/>
          </p:cNvSpPr>
          <p:nvPr>
            <p:ph type="body" sz="quarter" idx="79" hasCustomPrompt="1"/>
          </p:nvPr>
        </p:nvSpPr>
        <p:spPr>
          <a:xfrm>
            <a:off x="7563869" y="2812469"/>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1" name="Text Placeholder 49">
            <a:extLst>
              <a:ext uri="{FF2B5EF4-FFF2-40B4-BE49-F238E27FC236}">
                <a16:creationId xmlns:a16="http://schemas.microsoft.com/office/drawing/2014/main" id="{69D19286-5D7E-ACD1-7F62-98802CD3F95E}"/>
              </a:ext>
            </a:extLst>
          </p:cNvPr>
          <p:cNvSpPr>
            <a:spLocks noGrp="1"/>
          </p:cNvSpPr>
          <p:nvPr>
            <p:ph type="body" sz="quarter" idx="80" hasCustomPrompt="1"/>
          </p:nvPr>
        </p:nvSpPr>
        <p:spPr>
          <a:xfrm>
            <a:off x="9566466" y="4435494"/>
            <a:ext cx="1722280" cy="183643"/>
          </a:xfrm>
        </p:spPr>
        <p:txBody>
          <a:bodyPr>
            <a:normAutofit/>
          </a:bodyPr>
          <a:lstStyle>
            <a:lvl1pPr algn="ctr">
              <a:defRPr sz="1200" b="1">
                <a:solidFill>
                  <a:schemeClr val="bg1"/>
                </a:solidFill>
              </a:defRPr>
            </a:lvl1pPr>
          </a:lstStyle>
          <a:p>
            <a:pPr lvl="0"/>
            <a:r>
              <a:rPr lang="en-US"/>
              <a:t>Lorem ipsum dolor</a:t>
            </a:r>
          </a:p>
        </p:txBody>
      </p:sp>
      <p:sp>
        <p:nvSpPr>
          <p:cNvPr id="32" name="Text Placeholder 49">
            <a:extLst>
              <a:ext uri="{FF2B5EF4-FFF2-40B4-BE49-F238E27FC236}">
                <a16:creationId xmlns:a16="http://schemas.microsoft.com/office/drawing/2014/main" id="{E9E8745B-1797-E835-9919-525F2C2AE092}"/>
              </a:ext>
            </a:extLst>
          </p:cNvPr>
          <p:cNvSpPr>
            <a:spLocks noGrp="1"/>
          </p:cNvSpPr>
          <p:nvPr>
            <p:ph type="body" sz="quarter" idx="81" hasCustomPrompt="1"/>
          </p:nvPr>
        </p:nvSpPr>
        <p:spPr>
          <a:xfrm>
            <a:off x="9566466" y="4728309"/>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3" name="Text Placeholder 49">
            <a:extLst>
              <a:ext uri="{FF2B5EF4-FFF2-40B4-BE49-F238E27FC236}">
                <a16:creationId xmlns:a16="http://schemas.microsoft.com/office/drawing/2014/main" id="{4C288387-77A2-5C0D-774C-8D6CFA10ADAD}"/>
              </a:ext>
            </a:extLst>
          </p:cNvPr>
          <p:cNvSpPr>
            <a:spLocks noGrp="1"/>
          </p:cNvSpPr>
          <p:nvPr>
            <p:ph type="body" sz="quarter" idx="82" hasCustomPrompt="1"/>
          </p:nvPr>
        </p:nvSpPr>
        <p:spPr>
          <a:xfrm>
            <a:off x="1525107" y="4435494"/>
            <a:ext cx="1722280" cy="183643"/>
          </a:xfrm>
        </p:spPr>
        <p:txBody>
          <a:bodyPr>
            <a:normAutofit/>
          </a:bodyPr>
          <a:lstStyle>
            <a:lvl1pPr algn="ctr">
              <a:defRPr sz="1200" b="1">
                <a:solidFill>
                  <a:schemeClr val="bg1"/>
                </a:solidFill>
              </a:defRPr>
            </a:lvl1pPr>
          </a:lstStyle>
          <a:p>
            <a:pPr lvl="0"/>
            <a:r>
              <a:rPr lang="en-US"/>
              <a:t>Lorem ipsum dolor</a:t>
            </a:r>
          </a:p>
        </p:txBody>
      </p:sp>
      <p:sp>
        <p:nvSpPr>
          <p:cNvPr id="34" name="Text Placeholder 49">
            <a:extLst>
              <a:ext uri="{FF2B5EF4-FFF2-40B4-BE49-F238E27FC236}">
                <a16:creationId xmlns:a16="http://schemas.microsoft.com/office/drawing/2014/main" id="{767D65E4-F896-DA48-DBE3-B4C9C8B3B481}"/>
              </a:ext>
            </a:extLst>
          </p:cNvPr>
          <p:cNvSpPr>
            <a:spLocks noGrp="1"/>
          </p:cNvSpPr>
          <p:nvPr>
            <p:ph type="body" sz="quarter" idx="83" hasCustomPrompt="1"/>
          </p:nvPr>
        </p:nvSpPr>
        <p:spPr>
          <a:xfrm>
            <a:off x="1525107" y="4728309"/>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Tree>
    <p:extLst>
      <p:ext uri="{BB962C8B-B14F-4D97-AF65-F5344CB8AC3E}">
        <p14:creationId xmlns:p14="http://schemas.microsoft.com/office/powerpoint/2010/main" val="105038535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step process - squar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wo step process - squar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9" name="Text Placeholder 49">
            <a:extLst>
              <a:ext uri="{FF2B5EF4-FFF2-40B4-BE49-F238E27FC236}">
                <a16:creationId xmlns:a16="http://schemas.microsoft.com/office/drawing/2014/main" id="{F52B86CF-A24B-3402-953E-14D740C56BDC}"/>
              </a:ext>
            </a:extLst>
          </p:cNvPr>
          <p:cNvSpPr>
            <a:spLocks noGrp="1"/>
          </p:cNvSpPr>
          <p:nvPr>
            <p:ph type="body" sz="quarter" idx="48" hasCustomPrompt="1"/>
          </p:nvPr>
        </p:nvSpPr>
        <p:spPr>
          <a:xfrm>
            <a:off x="7755526" y="2045693"/>
            <a:ext cx="3700114" cy="282497"/>
          </a:xfrm>
        </p:spPr>
        <p:txBody>
          <a:bodyPr>
            <a:normAutofit/>
          </a:bodyPr>
          <a:lstStyle>
            <a:lvl1pPr algn="r">
              <a:defRPr sz="1400" b="1">
                <a:solidFill>
                  <a:schemeClr val="tx1"/>
                </a:solidFill>
              </a:defRPr>
            </a:lvl1pPr>
          </a:lstStyle>
          <a:p>
            <a:pPr lvl="0"/>
            <a:r>
              <a:rPr lang="en-US"/>
              <a:t>Lorem ipsum dolor</a:t>
            </a:r>
          </a:p>
        </p:txBody>
      </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3" name="Group 2">
            <a:extLst>
              <a:ext uri="{FF2B5EF4-FFF2-40B4-BE49-F238E27FC236}">
                <a16:creationId xmlns:a16="http://schemas.microsoft.com/office/drawing/2014/main" id="{1FE31BF3-CCB3-0476-E671-E61F6C4B8D39}"/>
              </a:ext>
            </a:extLst>
          </p:cNvPr>
          <p:cNvGrpSpPr/>
          <p:nvPr userDrawn="1">
            <p:custDataLst>
              <p:tags r:id="rId1"/>
            </p:custDataLst>
          </p:nvPr>
        </p:nvGrpSpPr>
        <p:grpSpPr>
          <a:xfrm>
            <a:off x="815975" y="1749278"/>
            <a:ext cx="10620375" cy="4499121"/>
            <a:chOff x="550863" y="1689100"/>
            <a:chExt cx="11092276" cy="4764088"/>
          </a:xfrm>
        </p:grpSpPr>
        <p:grpSp>
          <p:nvGrpSpPr>
            <p:cNvPr id="20" name="Group 19">
              <a:extLst>
                <a:ext uri="{FF2B5EF4-FFF2-40B4-BE49-F238E27FC236}">
                  <a16:creationId xmlns:a16="http://schemas.microsoft.com/office/drawing/2014/main" id="{0FB89FE7-8673-41A7-28BE-AC6C46E785EB}"/>
                </a:ext>
              </a:extLst>
            </p:cNvPr>
            <p:cNvGrpSpPr/>
            <p:nvPr/>
          </p:nvGrpSpPr>
          <p:grpSpPr>
            <a:xfrm>
              <a:off x="550863" y="1689100"/>
              <a:ext cx="5394002" cy="4764088"/>
              <a:chOff x="550863" y="1689100"/>
              <a:chExt cx="5394002" cy="4764088"/>
            </a:xfrm>
          </p:grpSpPr>
          <p:sp>
            <p:nvSpPr>
              <p:cNvPr id="22" name="Rounded Rectangle 21">
                <a:extLst>
                  <a:ext uri="{FF2B5EF4-FFF2-40B4-BE49-F238E27FC236}">
                    <a16:creationId xmlns:a16="http://schemas.microsoft.com/office/drawing/2014/main" id="{10B4DD37-F245-481E-C139-948A7C552706}"/>
                  </a:ext>
                </a:extLst>
              </p:cNvPr>
              <p:cNvSpPr/>
              <p:nvPr/>
            </p:nvSpPr>
            <p:spPr>
              <a:xfrm>
                <a:off x="550866" y="1689100"/>
                <a:ext cx="5393999" cy="4764088"/>
              </a:xfrm>
              <a:prstGeom prst="roundRect">
                <a:avLst>
                  <a:gd name="adj" fmla="val 0"/>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3" name="Freeform 22">
                <a:extLst>
                  <a:ext uri="{FF2B5EF4-FFF2-40B4-BE49-F238E27FC236}">
                    <a16:creationId xmlns:a16="http://schemas.microsoft.com/office/drawing/2014/main" id="{DCA15E09-532D-6612-4DAA-7CB7CBC8FF7E}"/>
                  </a:ext>
                </a:extLst>
              </p:cNvPr>
              <p:cNvSpPr/>
              <p:nvPr/>
            </p:nvSpPr>
            <p:spPr>
              <a:xfrm>
                <a:off x="550863" y="2726169"/>
                <a:ext cx="5394002" cy="3596032"/>
              </a:xfrm>
              <a:custGeom>
                <a:avLst/>
                <a:gdLst>
                  <a:gd name="connsiteX0" fmla="*/ 2454547 w 5394002"/>
                  <a:gd name="connsiteY0" fmla="*/ 156 h 3596032"/>
                  <a:gd name="connsiteX1" fmla="*/ 2697001 w 5394002"/>
                  <a:gd name="connsiteY1" fmla="*/ 221829 h 3596032"/>
                  <a:gd name="connsiteX2" fmla="*/ 2939456 w 5394002"/>
                  <a:gd name="connsiteY2" fmla="*/ 156 h 3596032"/>
                  <a:gd name="connsiteX3" fmla="*/ 0 w 5394002"/>
                  <a:gd name="connsiteY3" fmla="*/ 0 h 3596032"/>
                  <a:gd name="connsiteX4" fmla="*/ 5394002 w 5394002"/>
                  <a:gd name="connsiteY4" fmla="*/ 0 h 3596032"/>
                  <a:gd name="connsiteX5" fmla="*/ 5394002 w 5394002"/>
                  <a:gd name="connsiteY5" fmla="*/ 3596032 h 3596032"/>
                  <a:gd name="connsiteX6" fmla="*/ 0 w 5394002"/>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002" h="3596032">
                    <a:moveTo>
                      <a:pt x="2454547" y="156"/>
                    </a:moveTo>
                    <a:lnTo>
                      <a:pt x="2697001" y="221829"/>
                    </a:lnTo>
                    <a:lnTo>
                      <a:pt x="2939456" y="156"/>
                    </a:lnTo>
                    <a:close/>
                    <a:moveTo>
                      <a:pt x="0" y="0"/>
                    </a:moveTo>
                    <a:lnTo>
                      <a:pt x="5394002" y="0"/>
                    </a:lnTo>
                    <a:lnTo>
                      <a:pt x="5394002"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rmAutofit/>
              </a:bodyPr>
              <a:lstStyle/>
              <a:p>
                <a:pPr algn="ctr"/>
                <a:endParaRPr lang="en-US" sz="1400">
                  <a:solidFill>
                    <a:schemeClr val="bg1"/>
                  </a:solidFill>
                </a:endParaRPr>
              </a:p>
            </p:txBody>
          </p:sp>
        </p:grpSp>
        <p:grpSp>
          <p:nvGrpSpPr>
            <p:cNvPr id="10" name="Group 9">
              <a:extLst>
                <a:ext uri="{FF2B5EF4-FFF2-40B4-BE49-F238E27FC236}">
                  <a16:creationId xmlns:a16="http://schemas.microsoft.com/office/drawing/2014/main" id="{6A49CB93-7FB5-CF91-D687-4B27F4B9CF2B}"/>
                </a:ext>
              </a:extLst>
            </p:cNvPr>
            <p:cNvGrpSpPr/>
            <p:nvPr/>
          </p:nvGrpSpPr>
          <p:grpSpPr>
            <a:xfrm>
              <a:off x="6249137" y="1689100"/>
              <a:ext cx="5394002" cy="4764088"/>
              <a:chOff x="6249137" y="1689100"/>
              <a:chExt cx="5394002" cy="4764088"/>
            </a:xfrm>
          </p:grpSpPr>
          <p:sp>
            <p:nvSpPr>
              <p:cNvPr id="16" name="Rounded Rectangle 15">
                <a:extLst>
                  <a:ext uri="{FF2B5EF4-FFF2-40B4-BE49-F238E27FC236}">
                    <a16:creationId xmlns:a16="http://schemas.microsoft.com/office/drawing/2014/main" id="{58781346-FF82-DBC1-4B2C-62F52CA55297}"/>
                  </a:ext>
                </a:extLst>
              </p:cNvPr>
              <p:cNvSpPr/>
              <p:nvPr/>
            </p:nvSpPr>
            <p:spPr>
              <a:xfrm>
                <a:off x="6249140" y="1689100"/>
                <a:ext cx="5393999"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7" name="Freeform 16">
                <a:extLst>
                  <a:ext uri="{FF2B5EF4-FFF2-40B4-BE49-F238E27FC236}">
                    <a16:creationId xmlns:a16="http://schemas.microsoft.com/office/drawing/2014/main" id="{AED66296-06AF-1645-AACF-F6E6C4950DAF}"/>
                  </a:ext>
                </a:extLst>
              </p:cNvPr>
              <p:cNvSpPr/>
              <p:nvPr/>
            </p:nvSpPr>
            <p:spPr>
              <a:xfrm>
                <a:off x="6249137" y="2726169"/>
                <a:ext cx="5394002" cy="3596032"/>
              </a:xfrm>
              <a:custGeom>
                <a:avLst/>
                <a:gdLst>
                  <a:gd name="connsiteX0" fmla="*/ 2454547 w 5394002"/>
                  <a:gd name="connsiteY0" fmla="*/ 156 h 3596032"/>
                  <a:gd name="connsiteX1" fmla="*/ 2697001 w 5394002"/>
                  <a:gd name="connsiteY1" fmla="*/ 221829 h 3596032"/>
                  <a:gd name="connsiteX2" fmla="*/ 2939456 w 5394002"/>
                  <a:gd name="connsiteY2" fmla="*/ 156 h 3596032"/>
                  <a:gd name="connsiteX3" fmla="*/ 0 w 5394002"/>
                  <a:gd name="connsiteY3" fmla="*/ 0 h 3596032"/>
                  <a:gd name="connsiteX4" fmla="*/ 5394002 w 5394002"/>
                  <a:gd name="connsiteY4" fmla="*/ 0 h 3596032"/>
                  <a:gd name="connsiteX5" fmla="*/ 5394002 w 5394002"/>
                  <a:gd name="connsiteY5" fmla="*/ 3596032 h 3596032"/>
                  <a:gd name="connsiteX6" fmla="*/ 0 w 5394002"/>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002" h="3596032">
                    <a:moveTo>
                      <a:pt x="2454547" y="156"/>
                    </a:moveTo>
                    <a:lnTo>
                      <a:pt x="2697001" y="221829"/>
                    </a:lnTo>
                    <a:lnTo>
                      <a:pt x="2939456" y="156"/>
                    </a:lnTo>
                    <a:close/>
                    <a:moveTo>
                      <a:pt x="0" y="0"/>
                    </a:moveTo>
                    <a:lnTo>
                      <a:pt x="5394002" y="0"/>
                    </a:lnTo>
                    <a:lnTo>
                      <a:pt x="5394002"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rmAutofit/>
              </a:bodyPr>
              <a:lstStyle/>
              <a:p>
                <a:pPr algn="ctr"/>
                <a:r>
                  <a:rPr lang="en-GB" sz="1400">
                    <a:solidFill>
                      <a:schemeClr val="bg1"/>
                    </a:solidFill>
                  </a:rPr>
                  <a:t>. </a:t>
                </a:r>
                <a:endParaRPr lang="en-US" sz="1400">
                  <a:solidFill>
                    <a:schemeClr val="bg1"/>
                  </a:solidFill>
                </a:endParaRPr>
              </a:p>
            </p:txBody>
          </p:sp>
        </p:grpSp>
      </p:grpSp>
      <p:sp>
        <p:nvSpPr>
          <p:cNvPr id="24" name="Picture Placeholder 9">
            <a:extLst>
              <a:ext uri="{FF2B5EF4-FFF2-40B4-BE49-F238E27FC236}">
                <a16:creationId xmlns:a16="http://schemas.microsoft.com/office/drawing/2014/main" id="{69722560-97C7-7840-4D1C-63BA4C6F6290}"/>
              </a:ext>
            </a:extLst>
          </p:cNvPr>
          <p:cNvSpPr>
            <a:spLocks noGrp="1"/>
          </p:cNvSpPr>
          <p:nvPr>
            <p:ph type="pic" sz="quarter" idx="19"/>
          </p:nvPr>
        </p:nvSpPr>
        <p:spPr>
          <a:xfrm>
            <a:off x="3033112" y="1860550"/>
            <a:ext cx="730250" cy="730250"/>
          </a:xfrm>
        </p:spPr>
        <p:txBody>
          <a:bodyPr>
            <a:normAutofit/>
          </a:bodyPr>
          <a:lstStyle>
            <a:lvl1pPr>
              <a:defRPr sz="800"/>
            </a:lvl1pPr>
          </a:lstStyle>
          <a:p>
            <a:r>
              <a:rPr lang="en-US"/>
              <a:t>Click icon to add picture</a:t>
            </a:r>
          </a:p>
        </p:txBody>
      </p:sp>
      <p:sp>
        <p:nvSpPr>
          <p:cNvPr id="25" name="Picture Placeholder 9">
            <a:extLst>
              <a:ext uri="{FF2B5EF4-FFF2-40B4-BE49-F238E27FC236}">
                <a16:creationId xmlns:a16="http://schemas.microsoft.com/office/drawing/2014/main" id="{B2756EA3-9399-18D5-6334-3DB62BE8F610}"/>
              </a:ext>
            </a:extLst>
          </p:cNvPr>
          <p:cNvSpPr>
            <a:spLocks noGrp="1"/>
          </p:cNvSpPr>
          <p:nvPr>
            <p:ph type="pic" sz="quarter" idx="20"/>
          </p:nvPr>
        </p:nvSpPr>
        <p:spPr>
          <a:xfrm>
            <a:off x="8488963" y="1860550"/>
            <a:ext cx="730250" cy="730250"/>
          </a:xfrm>
        </p:spPr>
        <p:txBody>
          <a:bodyPr>
            <a:normAutofit/>
          </a:bodyPr>
          <a:lstStyle>
            <a:lvl1pPr>
              <a:defRPr sz="800"/>
            </a:lvl1pPr>
          </a:lstStyle>
          <a:p>
            <a:r>
              <a:rPr lang="en-US"/>
              <a:t>Click icon to add picture</a:t>
            </a:r>
          </a:p>
        </p:txBody>
      </p:sp>
      <p:sp>
        <p:nvSpPr>
          <p:cNvPr id="30" name="Text Placeholder 49">
            <a:extLst>
              <a:ext uri="{FF2B5EF4-FFF2-40B4-BE49-F238E27FC236}">
                <a16:creationId xmlns:a16="http://schemas.microsoft.com/office/drawing/2014/main" id="{9A45610E-0514-298A-946B-221F2B90BEEB}"/>
              </a:ext>
            </a:extLst>
          </p:cNvPr>
          <p:cNvSpPr>
            <a:spLocks noGrp="1"/>
          </p:cNvSpPr>
          <p:nvPr>
            <p:ph type="body" sz="quarter" idx="55" hasCustomPrompt="1"/>
          </p:nvPr>
        </p:nvSpPr>
        <p:spPr>
          <a:xfrm>
            <a:off x="967438" y="3275733"/>
            <a:ext cx="4823761" cy="2740925"/>
          </a:xfrm>
        </p:spPr>
        <p:txBody>
          <a:bodyPr>
            <a:normAutofit/>
          </a:bodyPr>
          <a:lstStyle>
            <a:lvl1pPr algn="ctr">
              <a:defRPr sz="1200">
                <a:solidFill>
                  <a:schemeClr val="bg1"/>
                </a:solidFill>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a:t>
            </a:r>
          </a:p>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a:p>
          <a:p>
            <a:pPr lvl="0"/>
            <a:endParaRPr lang="en-US"/>
          </a:p>
        </p:txBody>
      </p:sp>
      <p:sp>
        <p:nvSpPr>
          <p:cNvPr id="31" name="Text Placeholder 49">
            <a:extLst>
              <a:ext uri="{FF2B5EF4-FFF2-40B4-BE49-F238E27FC236}">
                <a16:creationId xmlns:a16="http://schemas.microsoft.com/office/drawing/2014/main" id="{1A9035CB-7D3F-7591-E796-5D86E75B96B1}"/>
              </a:ext>
            </a:extLst>
          </p:cNvPr>
          <p:cNvSpPr>
            <a:spLocks noGrp="1"/>
          </p:cNvSpPr>
          <p:nvPr>
            <p:ph type="body" sz="quarter" idx="56" hasCustomPrompt="1"/>
          </p:nvPr>
        </p:nvSpPr>
        <p:spPr>
          <a:xfrm>
            <a:off x="967437" y="3023170"/>
            <a:ext cx="4823761" cy="287245"/>
          </a:xfrm>
        </p:spPr>
        <p:txBody>
          <a:bodyPr>
            <a:normAutofit/>
          </a:bodyPr>
          <a:lstStyle>
            <a:lvl1pPr algn="ctr">
              <a:defRPr sz="1400" b="1">
                <a:solidFill>
                  <a:schemeClr val="bg1"/>
                </a:solidFill>
              </a:defRPr>
            </a:lvl1pPr>
          </a:lstStyle>
          <a:p>
            <a:pPr lvl="0"/>
            <a:r>
              <a:rPr lang="en-US"/>
              <a:t>Lorem ipsum dolor</a:t>
            </a:r>
          </a:p>
        </p:txBody>
      </p:sp>
      <p:sp>
        <p:nvSpPr>
          <p:cNvPr id="34" name="Text Placeholder 49">
            <a:extLst>
              <a:ext uri="{FF2B5EF4-FFF2-40B4-BE49-F238E27FC236}">
                <a16:creationId xmlns:a16="http://schemas.microsoft.com/office/drawing/2014/main" id="{0DCBCC06-4032-201E-9B9A-D4399A75E079}"/>
              </a:ext>
            </a:extLst>
          </p:cNvPr>
          <p:cNvSpPr>
            <a:spLocks noGrp="1"/>
          </p:cNvSpPr>
          <p:nvPr>
            <p:ph type="body" sz="quarter" idx="59" hasCustomPrompt="1"/>
          </p:nvPr>
        </p:nvSpPr>
        <p:spPr>
          <a:xfrm>
            <a:off x="6524455" y="3275733"/>
            <a:ext cx="4700106" cy="2740925"/>
          </a:xfrm>
        </p:spPr>
        <p:txBody>
          <a:bodyPr>
            <a:normAutofit/>
          </a:bodyPr>
          <a:lstStyle>
            <a:lvl1pPr algn="ctr">
              <a:defRPr sz="1200">
                <a:solidFill>
                  <a:schemeClr val="bg1"/>
                </a:solidFill>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a:t>
            </a:r>
          </a:p>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a:p>
          <a:p>
            <a:pPr lvl="0"/>
            <a:endParaRPr lang="en-US"/>
          </a:p>
        </p:txBody>
      </p:sp>
      <p:sp>
        <p:nvSpPr>
          <p:cNvPr id="35" name="Text Placeholder 49">
            <a:extLst>
              <a:ext uri="{FF2B5EF4-FFF2-40B4-BE49-F238E27FC236}">
                <a16:creationId xmlns:a16="http://schemas.microsoft.com/office/drawing/2014/main" id="{406BE6C1-FCC1-4605-8CFD-3F518F8F8704}"/>
              </a:ext>
            </a:extLst>
          </p:cNvPr>
          <p:cNvSpPr>
            <a:spLocks noGrp="1"/>
          </p:cNvSpPr>
          <p:nvPr>
            <p:ph type="body" sz="quarter" idx="60" hasCustomPrompt="1"/>
          </p:nvPr>
        </p:nvSpPr>
        <p:spPr>
          <a:xfrm>
            <a:off x="6524454" y="3023170"/>
            <a:ext cx="4700106" cy="287245"/>
          </a:xfrm>
        </p:spPr>
        <p:txBody>
          <a:bodyPr>
            <a:normAutofit/>
          </a:bodyPr>
          <a:lstStyle>
            <a:lvl1pPr algn="ctr">
              <a:defRPr sz="1400" b="1">
                <a:solidFill>
                  <a:schemeClr val="bg1"/>
                </a:solidFill>
              </a:defRPr>
            </a:lvl1pPr>
          </a:lstStyle>
          <a:p>
            <a:pPr lvl="0"/>
            <a:r>
              <a:rPr lang="en-US"/>
              <a:t>Lorem ipsum dolor</a:t>
            </a:r>
          </a:p>
        </p:txBody>
      </p:sp>
    </p:spTree>
    <p:extLst>
      <p:ext uri="{BB962C8B-B14F-4D97-AF65-F5344CB8AC3E}">
        <p14:creationId xmlns:p14="http://schemas.microsoft.com/office/powerpoint/2010/main" val="379518743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our step process - squar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Four step process - square</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9" name="Text Placeholder 49">
            <a:extLst>
              <a:ext uri="{FF2B5EF4-FFF2-40B4-BE49-F238E27FC236}">
                <a16:creationId xmlns:a16="http://schemas.microsoft.com/office/drawing/2014/main" id="{F52B86CF-A24B-3402-953E-14D740C56BDC}"/>
              </a:ext>
            </a:extLst>
          </p:cNvPr>
          <p:cNvSpPr>
            <a:spLocks noGrp="1"/>
          </p:cNvSpPr>
          <p:nvPr>
            <p:ph type="body" sz="quarter" idx="48" hasCustomPrompt="1"/>
          </p:nvPr>
        </p:nvSpPr>
        <p:spPr>
          <a:xfrm>
            <a:off x="6524454" y="247441"/>
            <a:ext cx="3700114" cy="282497"/>
          </a:xfrm>
        </p:spPr>
        <p:txBody>
          <a:bodyPr>
            <a:normAutofit/>
          </a:bodyPr>
          <a:lstStyle>
            <a:lvl1pPr algn="r">
              <a:defRPr sz="1400" b="1">
                <a:solidFill>
                  <a:schemeClr val="tx1"/>
                </a:solidFill>
              </a:defRPr>
            </a:lvl1pPr>
          </a:lstStyle>
          <a:p>
            <a:pPr lvl="0"/>
            <a:r>
              <a:rPr lang="en-US"/>
              <a:t>Lorem ipsum dolor</a:t>
            </a:r>
          </a:p>
        </p:txBody>
      </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28" name="Group 27">
            <a:extLst>
              <a:ext uri="{FF2B5EF4-FFF2-40B4-BE49-F238E27FC236}">
                <a16:creationId xmlns:a16="http://schemas.microsoft.com/office/drawing/2014/main" id="{23D23077-067B-355F-A19A-785EDFC78D28}"/>
              </a:ext>
            </a:extLst>
          </p:cNvPr>
          <p:cNvGrpSpPr/>
          <p:nvPr/>
        </p:nvGrpSpPr>
        <p:grpSpPr>
          <a:xfrm>
            <a:off x="3595583" y="1749278"/>
            <a:ext cx="2640725" cy="4499121"/>
            <a:chOff x="550863" y="1689100"/>
            <a:chExt cx="3563625" cy="4764088"/>
          </a:xfrm>
        </p:grpSpPr>
        <p:sp>
          <p:nvSpPr>
            <p:cNvPr id="30" name="Rounded Rectangle 29">
              <a:extLst>
                <a:ext uri="{FF2B5EF4-FFF2-40B4-BE49-F238E27FC236}">
                  <a16:creationId xmlns:a16="http://schemas.microsoft.com/office/drawing/2014/main" id="{608C5F4C-B2B7-0701-0856-8A66F5728E7C}"/>
                </a:ext>
              </a:extLst>
            </p:cNvPr>
            <p:cNvSpPr/>
            <p:nvPr/>
          </p:nvSpPr>
          <p:spPr>
            <a:xfrm>
              <a:off x="550865" y="1689100"/>
              <a:ext cx="3563623" cy="4764088"/>
            </a:xfrm>
            <a:prstGeom prst="roundRect">
              <a:avLst>
                <a:gd name="adj" fmla="val 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1" name="Freeform 30">
              <a:extLst>
                <a:ext uri="{FF2B5EF4-FFF2-40B4-BE49-F238E27FC236}">
                  <a16:creationId xmlns:a16="http://schemas.microsoft.com/office/drawing/2014/main" id="{C8BC7858-0F20-EDCE-2CFE-C0106D308ECD}"/>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33" name="Group 32">
            <a:extLst>
              <a:ext uri="{FF2B5EF4-FFF2-40B4-BE49-F238E27FC236}">
                <a16:creationId xmlns:a16="http://schemas.microsoft.com/office/drawing/2014/main" id="{AD5B8053-4E75-4399-C82F-E3F4661DB607}"/>
              </a:ext>
            </a:extLst>
          </p:cNvPr>
          <p:cNvGrpSpPr/>
          <p:nvPr/>
        </p:nvGrpSpPr>
        <p:grpSpPr>
          <a:xfrm>
            <a:off x="6372183" y="1749278"/>
            <a:ext cx="2640725" cy="4499121"/>
            <a:chOff x="550863" y="1689100"/>
            <a:chExt cx="3563625" cy="4764088"/>
          </a:xfrm>
        </p:grpSpPr>
        <p:sp>
          <p:nvSpPr>
            <p:cNvPr id="35" name="Rounded Rectangle 34">
              <a:extLst>
                <a:ext uri="{FF2B5EF4-FFF2-40B4-BE49-F238E27FC236}">
                  <a16:creationId xmlns:a16="http://schemas.microsoft.com/office/drawing/2014/main" id="{F12A0933-3646-E53F-0280-017B6BDFEC95}"/>
                </a:ext>
              </a:extLst>
            </p:cNvPr>
            <p:cNvSpPr/>
            <p:nvPr/>
          </p:nvSpPr>
          <p:spPr>
            <a:xfrm>
              <a:off x="550865" y="1689100"/>
              <a:ext cx="3563623"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6" name="Freeform 35">
              <a:extLst>
                <a:ext uri="{FF2B5EF4-FFF2-40B4-BE49-F238E27FC236}">
                  <a16:creationId xmlns:a16="http://schemas.microsoft.com/office/drawing/2014/main" id="{8206766B-97D4-A9D0-6594-037F969AEEB5}"/>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38" name="Group 37">
            <a:extLst>
              <a:ext uri="{FF2B5EF4-FFF2-40B4-BE49-F238E27FC236}">
                <a16:creationId xmlns:a16="http://schemas.microsoft.com/office/drawing/2014/main" id="{6B46A026-965D-14E1-C61A-17C36E5254F5}"/>
              </a:ext>
            </a:extLst>
          </p:cNvPr>
          <p:cNvGrpSpPr/>
          <p:nvPr/>
        </p:nvGrpSpPr>
        <p:grpSpPr>
          <a:xfrm>
            <a:off x="9115383" y="1749278"/>
            <a:ext cx="2640725" cy="4499121"/>
            <a:chOff x="550863" y="1689100"/>
            <a:chExt cx="3563625" cy="4764088"/>
          </a:xfrm>
        </p:grpSpPr>
        <p:sp>
          <p:nvSpPr>
            <p:cNvPr id="40" name="Rounded Rectangle 39">
              <a:extLst>
                <a:ext uri="{FF2B5EF4-FFF2-40B4-BE49-F238E27FC236}">
                  <a16:creationId xmlns:a16="http://schemas.microsoft.com/office/drawing/2014/main" id="{9C02F54B-1591-4B69-7F9C-D4E464B48D93}"/>
                </a:ext>
              </a:extLst>
            </p:cNvPr>
            <p:cNvSpPr/>
            <p:nvPr/>
          </p:nvSpPr>
          <p:spPr>
            <a:xfrm>
              <a:off x="550865" y="1689100"/>
              <a:ext cx="3563623" cy="4764088"/>
            </a:xfrm>
            <a:prstGeom prst="roundRect">
              <a:avLst>
                <a:gd name="adj"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1" name="Freeform 40">
              <a:extLst>
                <a:ext uri="{FF2B5EF4-FFF2-40B4-BE49-F238E27FC236}">
                  <a16:creationId xmlns:a16="http://schemas.microsoft.com/office/drawing/2014/main" id="{18F80DC1-3986-92AA-96C5-0DE8A3E4621B}"/>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43" name="Group 42">
            <a:extLst>
              <a:ext uri="{FF2B5EF4-FFF2-40B4-BE49-F238E27FC236}">
                <a16:creationId xmlns:a16="http://schemas.microsoft.com/office/drawing/2014/main" id="{E117BD00-D8B4-10C9-2298-26D36C50CFCB}"/>
              </a:ext>
            </a:extLst>
          </p:cNvPr>
          <p:cNvGrpSpPr/>
          <p:nvPr/>
        </p:nvGrpSpPr>
        <p:grpSpPr>
          <a:xfrm>
            <a:off x="814558" y="1749278"/>
            <a:ext cx="2640725" cy="4499121"/>
            <a:chOff x="550863" y="1689100"/>
            <a:chExt cx="3563625" cy="4764088"/>
          </a:xfrm>
        </p:grpSpPr>
        <p:sp>
          <p:nvSpPr>
            <p:cNvPr id="45" name="Rounded Rectangle 44">
              <a:extLst>
                <a:ext uri="{FF2B5EF4-FFF2-40B4-BE49-F238E27FC236}">
                  <a16:creationId xmlns:a16="http://schemas.microsoft.com/office/drawing/2014/main" id="{CD49B2D2-AF50-CA7C-1E82-37436754D389}"/>
                </a:ext>
              </a:extLst>
            </p:cNvPr>
            <p:cNvSpPr/>
            <p:nvPr/>
          </p:nvSpPr>
          <p:spPr>
            <a:xfrm>
              <a:off x="550865" y="1689100"/>
              <a:ext cx="3563623" cy="4764088"/>
            </a:xfrm>
            <a:prstGeom prst="roundRect">
              <a:avLst>
                <a:gd name="adj"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6" name="Freeform 45">
              <a:extLst>
                <a:ext uri="{FF2B5EF4-FFF2-40B4-BE49-F238E27FC236}">
                  <a16:creationId xmlns:a16="http://schemas.microsoft.com/office/drawing/2014/main" id="{B1450038-70C7-1C56-541F-2B98802CE285}"/>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sp>
        <p:nvSpPr>
          <p:cNvPr id="47" name="Picture Placeholder 9">
            <a:extLst>
              <a:ext uri="{FF2B5EF4-FFF2-40B4-BE49-F238E27FC236}">
                <a16:creationId xmlns:a16="http://schemas.microsoft.com/office/drawing/2014/main" id="{8B5F629A-676B-0B8A-3F7B-9A19500236D1}"/>
              </a:ext>
            </a:extLst>
          </p:cNvPr>
          <p:cNvSpPr>
            <a:spLocks noGrp="1"/>
          </p:cNvSpPr>
          <p:nvPr>
            <p:ph type="pic" sz="quarter" idx="19"/>
          </p:nvPr>
        </p:nvSpPr>
        <p:spPr>
          <a:xfrm>
            <a:off x="1752600" y="1892238"/>
            <a:ext cx="730250" cy="730250"/>
          </a:xfrm>
        </p:spPr>
        <p:txBody>
          <a:bodyPr>
            <a:normAutofit/>
          </a:bodyPr>
          <a:lstStyle>
            <a:lvl1pPr>
              <a:defRPr sz="800"/>
            </a:lvl1pPr>
          </a:lstStyle>
          <a:p>
            <a:r>
              <a:rPr lang="en-US"/>
              <a:t>Click icon to add picture</a:t>
            </a:r>
          </a:p>
        </p:txBody>
      </p:sp>
      <p:sp>
        <p:nvSpPr>
          <p:cNvPr id="48" name="Picture Placeholder 9">
            <a:extLst>
              <a:ext uri="{FF2B5EF4-FFF2-40B4-BE49-F238E27FC236}">
                <a16:creationId xmlns:a16="http://schemas.microsoft.com/office/drawing/2014/main" id="{92BDB2D9-C349-2E3C-CEC5-89A5F72EA62A}"/>
              </a:ext>
            </a:extLst>
          </p:cNvPr>
          <p:cNvSpPr>
            <a:spLocks noGrp="1"/>
          </p:cNvSpPr>
          <p:nvPr>
            <p:ph type="pic" sz="quarter" idx="20"/>
          </p:nvPr>
        </p:nvSpPr>
        <p:spPr>
          <a:xfrm>
            <a:off x="4550820" y="1892238"/>
            <a:ext cx="730250" cy="730250"/>
          </a:xfrm>
        </p:spPr>
        <p:txBody>
          <a:bodyPr>
            <a:normAutofit/>
          </a:bodyPr>
          <a:lstStyle>
            <a:lvl1pPr>
              <a:defRPr sz="800"/>
            </a:lvl1pPr>
          </a:lstStyle>
          <a:p>
            <a:r>
              <a:rPr lang="en-US"/>
              <a:t>Click icon to add picture</a:t>
            </a:r>
          </a:p>
        </p:txBody>
      </p:sp>
      <p:sp>
        <p:nvSpPr>
          <p:cNvPr id="49" name="Picture Placeholder 9">
            <a:extLst>
              <a:ext uri="{FF2B5EF4-FFF2-40B4-BE49-F238E27FC236}">
                <a16:creationId xmlns:a16="http://schemas.microsoft.com/office/drawing/2014/main" id="{1DA535B3-C9C2-B740-88B6-2C47E75161FF}"/>
              </a:ext>
            </a:extLst>
          </p:cNvPr>
          <p:cNvSpPr>
            <a:spLocks noGrp="1"/>
          </p:cNvSpPr>
          <p:nvPr>
            <p:ph type="pic" sz="quarter" idx="21"/>
          </p:nvPr>
        </p:nvSpPr>
        <p:spPr>
          <a:xfrm>
            <a:off x="7327420" y="1892238"/>
            <a:ext cx="730250" cy="730250"/>
          </a:xfrm>
        </p:spPr>
        <p:txBody>
          <a:bodyPr>
            <a:normAutofit/>
          </a:bodyPr>
          <a:lstStyle>
            <a:lvl1pPr>
              <a:defRPr sz="800"/>
            </a:lvl1pPr>
          </a:lstStyle>
          <a:p>
            <a:r>
              <a:rPr lang="en-US"/>
              <a:t>Click icon to add picture</a:t>
            </a:r>
          </a:p>
        </p:txBody>
      </p:sp>
      <p:sp>
        <p:nvSpPr>
          <p:cNvPr id="50" name="Picture Placeholder 9">
            <a:extLst>
              <a:ext uri="{FF2B5EF4-FFF2-40B4-BE49-F238E27FC236}">
                <a16:creationId xmlns:a16="http://schemas.microsoft.com/office/drawing/2014/main" id="{E66525DC-C554-D9E5-3453-7FF8251B7EE9}"/>
              </a:ext>
            </a:extLst>
          </p:cNvPr>
          <p:cNvSpPr>
            <a:spLocks noGrp="1"/>
          </p:cNvSpPr>
          <p:nvPr>
            <p:ph type="pic" sz="quarter" idx="22"/>
          </p:nvPr>
        </p:nvSpPr>
        <p:spPr>
          <a:xfrm>
            <a:off x="10070620" y="1890781"/>
            <a:ext cx="730250" cy="730250"/>
          </a:xfrm>
        </p:spPr>
        <p:txBody>
          <a:bodyPr>
            <a:normAutofit/>
          </a:bodyPr>
          <a:lstStyle>
            <a:lvl1pPr>
              <a:defRPr sz="800"/>
            </a:lvl1pPr>
          </a:lstStyle>
          <a:p>
            <a:r>
              <a:rPr lang="en-US"/>
              <a:t>Click icon to add picture</a:t>
            </a:r>
          </a:p>
        </p:txBody>
      </p:sp>
      <p:sp>
        <p:nvSpPr>
          <p:cNvPr id="53" name="Text Placeholder 49">
            <a:extLst>
              <a:ext uri="{FF2B5EF4-FFF2-40B4-BE49-F238E27FC236}">
                <a16:creationId xmlns:a16="http://schemas.microsoft.com/office/drawing/2014/main" id="{C98C21F0-7487-639D-9449-C72DDCDC899E}"/>
              </a:ext>
            </a:extLst>
          </p:cNvPr>
          <p:cNvSpPr>
            <a:spLocks noGrp="1"/>
          </p:cNvSpPr>
          <p:nvPr>
            <p:ph type="body" sz="quarter" idx="55" hasCustomPrompt="1"/>
          </p:nvPr>
        </p:nvSpPr>
        <p:spPr>
          <a:xfrm>
            <a:off x="967439" y="3275733"/>
            <a:ext cx="2385888"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54" name="Text Placeholder 49">
            <a:extLst>
              <a:ext uri="{FF2B5EF4-FFF2-40B4-BE49-F238E27FC236}">
                <a16:creationId xmlns:a16="http://schemas.microsoft.com/office/drawing/2014/main" id="{C79EF3E2-525B-F042-9A31-2F488FBB19A9}"/>
              </a:ext>
            </a:extLst>
          </p:cNvPr>
          <p:cNvSpPr>
            <a:spLocks noGrp="1"/>
          </p:cNvSpPr>
          <p:nvPr>
            <p:ph type="body" sz="quarter" idx="56" hasCustomPrompt="1"/>
          </p:nvPr>
        </p:nvSpPr>
        <p:spPr>
          <a:xfrm>
            <a:off x="967438" y="3023170"/>
            <a:ext cx="2385888" cy="287245"/>
          </a:xfrm>
        </p:spPr>
        <p:txBody>
          <a:bodyPr>
            <a:normAutofit/>
          </a:bodyPr>
          <a:lstStyle>
            <a:lvl1pPr algn="ctr">
              <a:defRPr sz="1400" b="1">
                <a:solidFill>
                  <a:schemeClr val="bg1"/>
                </a:solidFill>
              </a:defRPr>
            </a:lvl1pPr>
          </a:lstStyle>
          <a:p>
            <a:pPr lvl="0"/>
            <a:r>
              <a:rPr lang="en-US"/>
              <a:t>Lorem ipsum dolor</a:t>
            </a:r>
          </a:p>
        </p:txBody>
      </p:sp>
      <p:sp>
        <p:nvSpPr>
          <p:cNvPr id="55" name="Text Placeholder 49">
            <a:extLst>
              <a:ext uri="{FF2B5EF4-FFF2-40B4-BE49-F238E27FC236}">
                <a16:creationId xmlns:a16="http://schemas.microsoft.com/office/drawing/2014/main" id="{DA7945B3-212F-0A17-F76F-532DC0FB105E}"/>
              </a:ext>
            </a:extLst>
          </p:cNvPr>
          <p:cNvSpPr>
            <a:spLocks noGrp="1"/>
          </p:cNvSpPr>
          <p:nvPr>
            <p:ph type="body" sz="quarter" idx="57" hasCustomPrompt="1"/>
          </p:nvPr>
        </p:nvSpPr>
        <p:spPr>
          <a:xfrm>
            <a:off x="3727890" y="3278875"/>
            <a:ext cx="2385888"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56" name="Text Placeholder 49">
            <a:extLst>
              <a:ext uri="{FF2B5EF4-FFF2-40B4-BE49-F238E27FC236}">
                <a16:creationId xmlns:a16="http://schemas.microsoft.com/office/drawing/2014/main" id="{82146C51-8620-DD88-786E-508A54648A98}"/>
              </a:ext>
            </a:extLst>
          </p:cNvPr>
          <p:cNvSpPr>
            <a:spLocks noGrp="1"/>
          </p:cNvSpPr>
          <p:nvPr>
            <p:ph type="body" sz="quarter" idx="58" hasCustomPrompt="1"/>
          </p:nvPr>
        </p:nvSpPr>
        <p:spPr>
          <a:xfrm>
            <a:off x="3727889" y="3026312"/>
            <a:ext cx="2385888" cy="287245"/>
          </a:xfrm>
        </p:spPr>
        <p:txBody>
          <a:bodyPr>
            <a:normAutofit/>
          </a:bodyPr>
          <a:lstStyle>
            <a:lvl1pPr algn="ctr">
              <a:defRPr sz="1400" b="1">
                <a:solidFill>
                  <a:schemeClr val="bg1"/>
                </a:solidFill>
              </a:defRPr>
            </a:lvl1pPr>
          </a:lstStyle>
          <a:p>
            <a:pPr lvl="0"/>
            <a:r>
              <a:rPr lang="en-US"/>
              <a:t>Lorem ipsum dolor</a:t>
            </a:r>
          </a:p>
        </p:txBody>
      </p:sp>
      <p:sp>
        <p:nvSpPr>
          <p:cNvPr id="57" name="Text Placeholder 49">
            <a:extLst>
              <a:ext uri="{FF2B5EF4-FFF2-40B4-BE49-F238E27FC236}">
                <a16:creationId xmlns:a16="http://schemas.microsoft.com/office/drawing/2014/main" id="{AE68AA31-8CE1-636D-8E54-FA2E69509ED2}"/>
              </a:ext>
            </a:extLst>
          </p:cNvPr>
          <p:cNvSpPr>
            <a:spLocks noGrp="1"/>
          </p:cNvSpPr>
          <p:nvPr>
            <p:ph type="body" sz="quarter" idx="59" hasCustomPrompt="1"/>
          </p:nvPr>
        </p:nvSpPr>
        <p:spPr>
          <a:xfrm>
            <a:off x="6524455" y="3275733"/>
            <a:ext cx="2385888"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58" name="Text Placeholder 49">
            <a:extLst>
              <a:ext uri="{FF2B5EF4-FFF2-40B4-BE49-F238E27FC236}">
                <a16:creationId xmlns:a16="http://schemas.microsoft.com/office/drawing/2014/main" id="{9EF07A78-E7D1-9CA8-22CF-ECE9C94B9AE2}"/>
              </a:ext>
            </a:extLst>
          </p:cNvPr>
          <p:cNvSpPr>
            <a:spLocks noGrp="1"/>
          </p:cNvSpPr>
          <p:nvPr>
            <p:ph type="body" sz="quarter" idx="60" hasCustomPrompt="1"/>
          </p:nvPr>
        </p:nvSpPr>
        <p:spPr>
          <a:xfrm>
            <a:off x="6524454" y="3023170"/>
            <a:ext cx="2385888" cy="287245"/>
          </a:xfrm>
        </p:spPr>
        <p:txBody>
          <a:bodyPr>
            <a:normAutofit/>
          </a:bodyPr>
          <a:lstStyle>
            <a:lvl1pPr algn="ctr">
              <a:defRPr sz="1400" b="1">
                <a:solidFill>
                  <a:schemeClr val="bg1"/>
                </a:solidFill>
              </a:defRPr>
            </a:lvl1pPr>
          </a:lstStyle>
          <a:p>
            <a:pPr lvl="0"/>
            <a:r>
              <a:rPr lang="en-US"/>
              <a:t>Lorem ipsum dolor</a:t>
            </a:r>
          </a:p>
        </p:txBody>
      </p:sp>
      <p:sp>
        <p:nvSpPr>
          <p:cNvPr id="59" name="Text Placeholder 49">
            <a:extLst>
              <a:ext uri="{FF2B5EF4-FFF2-40B4-BE49-F238E27FC236}">
                <a16:creationId xmlns:a16="http://schemas.microsoft.com/office/drawing/2014/main" id="{FBED0B17-DAA9-B5C8-C44C-9DF24B8DFD6F}"/>
              </a:ext>
            </a:extLst>
          </p:cNvPr>
          <p:cNvSpPr>
            <a:spLocks noGrp="1"/>
          </p:cNvSpPr>
          <p:nvPr>
            <p:ph type="body" sz="quarter" idx="61" hasCustomPrompt="1"/>
          </p:nvPr>
        </p:nvSpPr>
        <p:spPr>
          <a:xfrm>
            <a:off x="9272712" y="3296952"/>
            <a:ext cx="2385888"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60" name="Text Placeholder 49">
            <a:extLst>
              <a:ext uri="{FF2B5EF4-FFF2-40B4-BE49-F238E27FC236}">
                <a16:creationId xmlns:a16="http://schemas.microsoft.com/office/drawing/2014/main" id="{FE6DB75D-E91B-3426-852B-18F98449A508}"/>
              </a:ext>
            </a:extLst>
          </p:cNvPr>
          <p:cNvSpPr>
            <a:spLocks noGrp="1"/>
          </p:cNvSpPr>
          <p:nvPr>
            <p:ph type="body" sz="quarter" idx="62" hasCustomPrompt="1"/>
          </p:nvPr>
        </p:nvSpPr>
        <p:spPr>
          <a:xfrm>
            <a:off x="9272711" y="3044389"/>
            <a:ext cx="2385888" cy="287245"/>
          </a:xfrm>
        </p:spPr>
        <p:txBody>
          <a:bodyPr>
            <a:normAutofit/>
          </a:bodyPr>
          <a:lstStyle>
            <a:lvl1pPr algn="ctr">
              <a:defRPr sz="1400" b="1">
                <a:solidFill>
                  <a:schemeClr val="bg1"/>
                </a:solidFill>
              </a:defRPr>
            </a:lvl1pPr>
          </a:lstStyle>
          <a:p>
            <a:pPr lvl="0"/>
            <a:r>
              <a:rPr lang="en-US"/>
              <a:t>Lorem ipsum dolor</a:t>
            </a:r>
          </a:p>
        </p:txBody>
      </p:sp>
    </p:spTree>
    <p:extLst>
      <p:ext uri="{BB962C8B-B14F-4D97-AF65-F5344CB8AC3E}">
        <p14:creationId xmlns:p14="http://schemas.microsoft.com/office/powerpoint/2010/main" val="142554610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Thank you layout 1">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C1C5AD7-5B65-FE5A-4963-D0EE113592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Text Placeholder 4"/>
          <p:cNvSpPr>
            <a:spLocks noGrp="1"/>
          </p:cNvSpPr>
          <p:nvPr>
            <p:ph type="body" sz="quarter" idx="10" hasCustomPrompt="1"/>
          </p:nvPr>
        </p:nvSpPr>
        <p:spPr>
          <a:xfrm>
            <a:off x="839025" y="2590719"/>
            <a:ext cx="10393300" cy="1015663"/>
          </a:xfrm>
          <a:prstGeom prst="rect">
            <a:avLst/>
          </a:prstGeom>
        </p:spPr>
        <p:txBody>
          <a:bodyPr wrap="square" anchor="ctr">
            <a:spAutoFit/>
          </a:bodyPr>
          <a:lstStyle>
            <a:lvl1pPr>
              <a:defRPr sz="6600" b="0" cap="none" baseline="0">
                <a:solidFill>
                  <a:schemeClr val="bg1"/>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3833685375"/>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hank you layout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579520"/>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isclaimer slide – US">
    <p:bg>
      <p:bgPr>
        <a:solidFill>
          <a:schemeClr val="tx1"/>
        </a:solidFill>
        <a:effectLst/>
      </p:bgPr>
    </p:bg>
    <p:spTree>
      <p:nvGrpSpPr>
        <p:cNvPr id="1" name=""/>
        <p:cNvGrpSpPr/>
        <p:nvPr/>
      </p:nvGrpSpPr>
      <p:grpSpPr>
        <a:xfrm>
          <a:off x="0" y="0"/>
          <a:ext cx="0" cy="0"/>
          <a:chOff x="0" y="0"/>
          <a:chExt cx="0" cy="0"/>
        </a:xfrm>
      </p:grpSpPr>
      <p:sp>
        <p:nvSpPr>
          <p:cNvPr id="2" name="DisclaimerWhite">
            <a:extLst>
              <a:ext uri="{FF2B5EF4-FFF2-40B4-BE49-F238E27FC236}">
                <a16:creationId xmlns:a16="http://schemas.microsoft.com/office/drawing/2014/main" id="{246DB496-EF31-6BCE-489B-902B0C6C802B}"/>
              </a:ext>
            </a:extLst>
          </p:cNvPr>
          <p:cNvSpPr txBox="1">
            <a:spLocks/>
          </p:cNvSpPr>
          <p:nvPr userDrawn="1">
            <p:custDataLst>
              <p:tags r:id="rId1"/>
            </p:custDataLst>
          </p:nvPr>
        </p:nvSpPr>
        <p:spPr bwMode="auto">
          <a:xfrm>
            <a:off x="815975" y="4820955"/>
            <a:ext cx="10685145" cy="1451799"/>
          </a:xfrm>
          <a:prstGeom prst="rect">
            <a:avLst/>
          </a:prstGeom>
          <a:noFill/>
          <a:ln w="9525" algn="ctr">
            <a:noFill/>
            <a:miter lim="800000"/>
            <a:headEnd/>
            <a:tailEnd/>
          </a:ln>
          <a:effectLst/>
        </p:spPr>
        <p:txBody>
          <a:bodyPr vert="horz" wrap="square" lIns="0" tIns="0" rIns="0" bIns="7200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a:spcAft>
                <a:spcPts val="600"/>
              </a:spcAft>
            </a:pPr>
            <a:r>
              <a:rPr lang="en-US" sz="800">
                <a:solidFill>
                  <a:schemeClr val="bg1"/>
                </a:solidFill>
                <a:latin typeface="Arial" panose="020B0604020202020204" pitchFamily="34" charset="0"/>
                <a:cs typeface="Arial" panose="020B0604020202020204" pitchFamily="34" charset="0"/>
              </a:rPr>
              <a:t>This document contains general information, may be based on authorities that are subject to change, and is not a substitute for professional advice or services. This document does not constitute assurance, tax, consulting, business, financial, investment, legal or other professional advice, and you should consult a qualified professional advisor before taking any action based on the information herein. RSM US LLP, its affiliates and related entities are not responsible for any loss resulting from or relating to reliance on this document by any person. Internal Revenue Service rules require us to inform you that this communication may be deemed a solicitation to provide tax services.  This communication is being sent to individuals who have subscribed to receive it or who we believe would have an interest in the topics discussed.</a:t>
            </a:r>
          </a:p>
          <a:p>
            <a:pPr>
              <a:spcAft>
                <a:spcPts val="600"/>
              </a:spcAft>
            </a:pPr>
            <a:r>
              <a:rPr lang="en-US" sz="800">
                <a:solidFill>
                  <a:schemeClr val="bg1"/>
                </a:solidFill>
                <a:latin typeface="Arial" panose="020B0604020202020204" pitchFamily="34" charset="0"/>
                <a:cs typeface="Arial" panose="020B0604020202020204" pitchFamily="34" charset="0"/>
              </a:rPr>
              <a:t>RSM US LLP is a limited liability partnership and the U.S. member firm of RSM International, a global network of independent assurance, tax and consulting firms. The member firms of RSM International collaborate to provide services to global clients, but are separate and distinct legal entities that cannot obligate each other. Each member firm is responsible only for its own acts and omissions, and not those of any other party. Visit </a:t>
            </a:r>
            <a:r>
              <a:rPr lang="en-US" sz="800" err="1">
                <a:solidFill>
                  <a:schemeClr val="bg1"/>
                </a:solidFill>
                <a:latin typeface="Arial" panose="020B0604020202020204" pitchFamily="34" charset="0"/>
                <a:cs typeface="Arial" panose="020B0604020202020204" pitchFamily="34" charset="0"/>
              </a:rPr>
              <a:t>rsmus.com</a:t>
            </a:r>
            <a:r>
              <a:rPr lang="en-US" sz="800">
                <a:solidFill>
                  <a:schemeClr val="bg1"/>
                </a:solidFill>
                <a:latin typeface="Arial" panose="020B0604020202020204" pitchFamily="34" charset="0"/>
                <a:cs typeface="Arial" panose="020B0604020202020204" pitchFamily="34" charset="0"/>
              </a:rPr>
              <a:t>/</a:t>
            </a:r>
            <a:r>
              <a:rPr lang="en-US" sz="800" err="1">
                <a:solidFill>
                  <a:schemeClr val="bg1"/>
                </a:solidFill>
                <a:latin typeface="Arial" panose="020B0604020202020204" pitchFamily="34" charset="0"/>
                <a:cs typeface="Arial" panose="020B0604020202020204" pitchFamily="34" charset="0"/>
              </a:rPr>
              <a:t>aboutus</a:t>
            </a:r>
            <a:r>
              <a:rPr lang="en-US" sz="800">
                <a:solidFill>
                  <a:schemeClr val="bg1"/>
                </a:solidFill>
                <a:latin typeface="Arial" panose="020B0604020202020204" pitchFamily="34" charset="0"/>
                <a:cs typeface="Arial" panose="020B0604020202020204" pitchFamily="34" charset="0"/>
              </a:rPr>
              <a:t> for more information regarding RSM US LLP and RSM International.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800" kern="1200">
                <a:solidFill>
                  <a:schemeClr val="bg1"/>
                </a:solidFill>
                <a:effectLst/>
                <a:latin typeface="+mn-lt"/>
                <a:ea typeface="+mn-ea"/>
                <a:cs typeface="+mn-cs"/>
              </a:rPr>
              <a:t>RSM, the RSM logo and </a:t>
            </a:r>
            <a:r>
              <a:rPr lang="en-US" sz="800" i="1" kern="1200">
                <a:solidFill>
                  <a:schemeClr val="bg1"/>
                </a:solidFill>
                <a:effectLst/>
                <a:latin typeface="+mn-lt"/>
                <a:ea typeface="+mn-ea"/>
                <a:cs typeface="+mn-cs"/>
              </a:rPr>
              <a:t>the power of being understood </a:t>
            </a:r>
            <a:r>
              <a:rPr lang="en-US" sz="800" kern="1200">
                <a:solidFill>
                  <a:schemeClr val="bg1"/>
                </a:solidFill>
                <a:effectLst/>
                <a:latin typeface="+mn-lt"/>
                <a:ea typeface="+mn-ea"/>
                <a:cs typeface="+mn-cs"/>
              </a:rPr>
              <a:t>are registered trademarks of RSM International Association</a:t>
            </a:r>
            <a:r>
              <a:rPr lang="en-US" sz="800">
                <a:solidFill>
                  <a:schemeClr val="bg1"/>
                </a:solidFill>
                <a:latin typeface="Arial" panose="020B0604020202020204" pitchFamily="34" charset="0"/>
                <a:cs typeface="Arial" panose="020B0604020202020204" pitchFamily="34" charset="0"/>
              </a:rPr>
              <a:t>. </a:t>
            </a:r>
          </a:p>
          <a:p>
            <a:pPr>
              <a:spcAft>
                <a:spcPts val="600"/>
              </a:spcAft>
            </a:pPr>
            <a:r>
              <a:rPr lang="en-US" sz="800">
                <a:solidFill>
                  <a:schemeClr val="bg1"/>
                </a:solidFill>
                <a:latin typeface="Arial" panose="020B0604020202020204" pitchFamily="34" charset="0"/>
                <a:cs typeface="Arial" panose="020B0604020202020204" pitchFamily="34" charset="0"/>
              </a:rPr>
              <a:t>© 2024 RSM US LLP. All Rights Reserved.</a:t>
            </a:r>
          </a:p>
        </p:txBody>
      </p:sp>
      <p:pic>
        <p:nvPicPr>
          <p:cNvPr id="3" name="Graphic 2">
            <a:extLst>
              <a:ext uri="{FF2B5EF4-FFF2-40B4-BE49-F238E27FC236}">
                <a16:creationId xmlns:a16="http://schemas.microsoft.com/office/drawing/2014/main" id="{52E601E8-B767-0AE7-3083-9C1B02C9B57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68442" y="650876"/>
            <a:ext cx="1232678" cy="518322"/>
          </a:xfrm>
          <a:prstGeom prst="rect">
            <a:avLst/>
          </a:prstGeom>
        </p:spPr>
      </p:pic>
      <p:pic>
        <p:nvPicPr>
          <p:cNvPr id="4" name="Graphic 3">
            <a:extLst>
              <a:ext uri="{FF2B5EF4-FFF2-40B4-BE49-F238E27FC236}">
                <a16:creationId xmlns:a16="http://schemas.microsoft.com/office/drawing/2014/main" id="{A0D3969D-5BFA-C9B5-8F23-FED16ABD0C7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38200" y="4191000"/>
            <a:ext cx="2264219" cy="273593"/>
          </a:xfrm>
          <a:prstGeom prst="rect">
            <a:avLst/>
          </a:prstGeom>
        </p:spPr>
      </p:pic>
    </p:spTree>
    <p:extLst>
      <p:ext uri="{BB962C8B-B14F-4D97-AF65-F5344CB8AC3E}">
        <p14:creationId xmlns:p14="http://schemas.microsoft.com/office/powerpoint/2010/main" val="2593805996"/>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slide layout">
    <p:spTree>
      <p:nvGrpSpPr>
        <p:cNvPr id="1" name=""/>
        <p:cNvGrpSpPr/>
        <p:nvPr/>
      </p:nvGrpSpPr>
      <p:grpSpPr>
        <a:xfrm>
          <a:off x="0" y="0"/>
          <a:ext cx="0" cy="0"/>
          <a:chOff x="0" y="0"/>
          <a:chExt cx="0" cy="0"/>
        </a:xfrm>
      </p:grpSpPr>
      <p:sp>
        <p:nvSpPr>
          <p:cNvPr id="7" name="Slide Number Placeholder 2">
            <a:extLst>
              <a:ext uri="{FF2B5EF4-FFF2-40B4-BE49-F238E27FC236}">
                <a16:creationId xmlns:a16="http://schemas.microsoft.com/office/drawing/2014/main" id="{E7FCF6E2-32CE-8CCA-6C4F-F9AC1223897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50044560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DE4B1-A760-A160-0E19-EA700FF7708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10EE78-9303-4746-F716-1B92ECB4FA2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17BEA3F-BA06-D2C8-B585-E998DD791139}"/>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367144064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9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E7EDE8-88C1-6D0A-7819-F650D67281B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338"/>
            <a:ext cx="12191999" cy="6855322"/>
          </a:xfrm>
          <a:prstGeom prst="rect">
            <a:avLst/>
          </a:prstGeom>
        </p:spPr>
      </p:pic>
      <p:sp>
        <p:nvSpPr>
          <p:cNvPr id="3" name="Title 1">
            <a:extLst>
              <a:ext uri="{FF2B5EF4-FFF2-40B4-BE49-F238E27FC236}">
                <a16:creationId xmlns:a16="http://schemas.microsoft.com/office/drawing/2014/main" id="{7B4D825C-A4D0-0E8A-6D9B-506653EC219E}"/>
              </a:ext>
            </a:extLst>
          </p:cNvPr>
          <p:cNvSpPr>
            <a:spLocks noGrp="1"/>
          </p:cNvSpPr>
          <p:nvPr>
            <p:ph type="ctrTitle" hasCustomPrompt="1"/>
          </p:nvPr>
        </p:nvSpPr>
        <p:spPr>
          <a:xfrm>
            <a:off x="817562" y="1049200"/>
            <a:ext cx="5218113" cy="1071405"/>
          </a:xfrm>
          <a:noFill/>
        </p:spPr>
        <p:txBody>
          <a:bodyPr lIns="0" tIns="0" rIns="900000" bIns="0" anchor="t" anchorCtr="0"/>
          <a:lstStyle>
            <a:lvl1pPr algn="l">
              <a:lnSpc>
                <a:spcPct val="100000"/>
              </a:lnSpc>
              <a:spcBef>
                <a:spcPts val="0"/>
              </a:spcBef>
              <a:spcAft>
                <a:spcPts val="0"/>
              </a:spcAft>
              <a:defRPr sz="3600">
                <a:solidFill>
                  <a:schemeClr val="bg1"/>
                </a:solidFill>
              </a:defRPr>
            </a:lvl1pPr>
          </a:lstStyle>
          <a:p>
            <a:r>
              <a:rPr lang="en-US"/>
              <a:t>Title</a:t>
            </a:r>
            <a:br>
              <a:rPr lang="en-US"/>
            </a:br>
            <a:endParaRPr lang="en-GB"/>
          </a:p>
        </p:txBody>
      </p:sp>
      <p:sp>
        <p:nvSpPr>
          <p:cNvPr id="4" name="Text Placeholder 3">
            <a:extLst>
              <a:ext uri="{FF2B5EF4-FFF2-40B4-BE49-F238E27FC236}">
                <a16:creationId xmlns:a16="http://schemas.microsoft.com/office/drawing/2014/main" id="{E802F425-6E83-36A9-DE9E-3510D8347355}"/>
              </a:ext>
            </a:extLst>
          </p:cNvPr>
          <p:cNvSpPr>
            <a:spLocks noGrp="1"/>
          </p:cNvSpPr>
          <p:nvPr>
            <p:ph type="body" sz="quarter" idx="11" hasCustomPrompt="1"/>
          </p:nvPr>
        </p:nvSpPr>
        <p:spPr>
          <a:xfrm>
            <a:off x="817564" y="2155660"/>
            <a:ext cx="5218112" cy="715685"/>
          </a:xfrm>
        </p:spPr>
        <p:txBody>
          <a:bodyPr/>
          <a:lstStyle>
            <a:lvl1pPr>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89EEF14-BF33-E89A-8154-00E812BE6542}"/>
              </a:ext>
            </a:extLst>
          </p:cNvPr>
          <p:cNvSpPr>
            <a:spLocks noGrp="1"/>
          </p:cNvSpPr>
          <p:nvPr>
            <p:ph type="body" sz="quarter" idx="14" hasCustomPrompt="1"/>
          </p:nvPr>
        </p:nvSpPr>
        <p:spPr>
          <a:xfrm>
            <a:off x="817562" y="657566"/>
            <a:ext cx="5218113" cy="191478"/>
          </a:xfrm>
        </p:spPr>
        <p:txBody>
          <a:bodyPr/>
          <a:lstStyle>
            <a:lvl1pP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IVATE AND CONFIDENTIAL</a:t>
            </a:r>
          </a:p>
        </p:txBody>
      </p:sp>
      <p:sp>
        <p:nvSpPr>
          <p:cNvPr id="9" name="Text Placeholder 6">
            <a:extLst>
              <a:ext uri="{FF2B5EF4-FFF2-40B4-BE49-F238E27FC236}">
                <a16:creationId xmlns:a16="http://schemas.microsoft.com/office/drawing/2014/main" id="{D69CF34F-E32C-90AC-E655-B79E725803F7}"/>
              </a:ext>
            </a:extLst>
          </p:cNvPr>
          <p:cNvSpPr>
            <a:spLocks noGrp="1"/>
          </p:cNvSpPr>
          <p:nvPr>
            <p:ph type="body" sz="quarter" idx="15" hasCustomPrompt="1"/>
          </p:nvPr>
        </p:nvSpPr>
        <p:spPr>
          <a:xfrm>
            <a:off x="815975" y="2942005"/>
            <a:ext cx="5218113" cy="36699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grpSp>
        <p:nvGrpSpPr>
          <p:cNvPr id="23" name="Group 22">
            <a:extLst>
              <a:ext uri="{FF2B5EF4-FFF2-40B4-BE49-F238E27FC236}">
                <a16:creationId xmlns:a16="http://schemas.microsoft.com/office/drawing/2014/main" id="{A7C9EFBA-F076-546B-5B26-8F8BBE981D71}"/>
              </a:ext>
            </a:extLst>
          </p:cNvPr>
          <p:cNvGrpSpPr/>
          <p:nvPr userDrawn="1"/>
        </p:nvGrpSpPr>
        <p:grpSpPr>
          <a:xfrm>
            <a:off x="10187131" y="687949"/>
            <a:ext cx="1234969" cy="518323"/>
            <a:chOff x="7459170" y="481236"/>
            <a:chExt cx="2697427" cy="1132124"/>
          </a:xfrm>
        </p:grpSpPr>
        <p:sp>
          <p:nvSpPr>
            <p:cNvPr id="16" name="Freeform 15">
              <a:extLst>
                <a:ext uri="{FF2B5EF4-FFF2-40B4-BE49-F238E27FC236}">
                  <a16:creationId xmlns:a16="http://schemas.microsoft.com/office/drawing/2014/main" id="{BAB3935C-469A-5095-24F2-746547A53C6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BBC32F9-3839-2D8F-5D20-E9C9EB29581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68D1485-640E-7140-5D7E-E0EB2896484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306D709-3457-D599-72C6-4FF331E0EA9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DCFADC9-9C91-E539-0DB9-798BEE41BAF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5BBC27A-7182-67B8-3782-4016E3BB6E5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6007A193-9117-A25E-8BF8-EF36CCCBA76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5" name="Picture Placeholder 15">
            <a:extLst>
              <a:ext uri="{FF2B5EF4-FFF2-40B4-BE49-F238E27FC236}">
                <a16:creationId xmlns:a16="http://schemas.microsoft.com/office/drawing/2014/main" id="{A9587BF7-DEF6-7654-86F3-510455AE19AF}"/>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oAutofit/>
          </a:bodyPr>
          <a:lstStyle/>
          <a:p>
            <a:endParaRPr lang="en-GB"/>
          </a:p>
        </p:txBody>
      </p:sp>
    </p:spTree>
    <p:extLst>
      <p:ext uri="{BB962C8B-B14F-4D97-AF65-F5344CB8AC3E}">
        <p14:creationId xmlns:p14="http://schemas.microsoft.com/office/powerpoint/2010/main" val="178879405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0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E7EDE8-88C1-6D0A-7819-F650D67281B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338"/>
            <a:ext cx="12192000" cy="6855322"/>
          </a:xfrm>
          <a:prstGeom prst="rect">
            <a:avLst/>
          </a:prstGeom>
        </p:spPr>
      </p:pic>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89EEF14-BF33-E89A-8154-00E812BE6542}"/>
              </a:ext>
            </a:extLst>
          </p:cNvPr>
          <p:cNvSpPr>
            <a:spLocks noGrp="1"/>
          </p:cNvSpPr>
          <p:nvPr>
            <p:ph type="body" sz="quarter" idx="14" hasCustomPrompt="1"/>
          </p:nvPr>
        </p:nvSpPr>
        <p:spPr>
          <a:xfrm>
            <a:off x="817562" y="657566"/>
            <a:ext cx="5218113" cy="191478"/>
          </a:xfrm>
        </p:spPr>
        <p:txBody>
          <a:bodyPr/>
          <a:lstStyle>
            <a:lvl1pP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IVATE AND CONFIDENTIAL</a:t>
            </a:r>
          </a:p>
        </p:txBody>
      </p:sp>
      <p:sp>
        <p:nvSpPr>
          <p:cNvPr id="5" name="Title 1">
            <a:extLst>
              <a:ext uri="{FF2B5EF4-FFF2-40B4-BE49-F238E27FC236}">
                <a16:creationId xmlns:a16="http://schemas.microsoft.com/office/drawing/2014/main" id="{ADD6B5F9-EA64-00A7-F731-F1BAF6BF0C12}"/>
              </a:ext>
            </a:extLst>
          </p:cNvPr>
          <p:cNvSpPr>
            <a:spLocks noGrp="1"/>
          </p:cNvSpPr>
          <p:nvPr>
            <p:ph type="ctrTitle" hasCustomPrompt="1"/>
          </p:nvPr>
        </p:nvSpPr>
        <p:spPr>
          <a:xfrm>
            <a:off x="817562" y="1049200"/>
            <a:ext cx="5218113" cy="997196"/>
          </a:xfrm>
          <a:noFill/>
        </p:spPr>
        <p:txBody>
          <a:bodyPr lIns="0" tIns="0" rIns="274320" bIns="0" anchor="t" anchorCtr="0">
            <a:noAutofit/>
          </a:bodyPr>
          <a:lstStyle>
            <a:lvl1pPr algn="l">
              <a:lnSpc>
                <a:spcPct val="90000"/>
              </a:lnSpc>
              <a:spcBef>
                <a:spcPts val="0"/>
              </a:spcBef>
              <a:spcAft>
                <a:spcPts val="0"/>
              </a:spcAft>
              <a:defRPr sz="3600">
                <a:solidFill>
                  <a:schemeClr val="bg1"/>
                </a:solidFill>
              </a:defRPr>
            </a:lvl1pPr>
          </a:lstStyle>
          <a:p>
            <a:r>
              <a:rPr lang="en-US"/>
              <a:t>Title</a:t>
            </a:r>
            <a:br>
              <a:rPr lang="en-US"/>
            </a:br>
            <a:endParaRPr lang="en-GB"/>
          </a:p>
        </p:txBody>
      </p:sp>
      <p:sp>
        <p:nvSpPr>
          <p:cNvPr id="6" name="Text Placeholder 3">
            <a:extLst>
              <a:ext uri="{FF2B5EF4-FFF2-40B4-BE49-F238E27FC236}">
                <a16:creationId xmlns:a16="http://schemas.microsoft.com/office/drawing/2014/main" id="{9DD067AA-FC7F-E211-B5E2-28259E7E6AF0}"/>
              </a:ext>
            </a:extLst>
          </p:cNvPr>
          <p:cNvSpPr>
            <a:spLocks noGrp="1"/>
          </p:cNvSpPr>
          <p:nvPr>
            <p:ph type="body" sz="quarter" idx="11" hasCustomPrompt="1"/>
          </p:nvPr>
        </p:nvSpPr>
        <p:spPr>
          <a:xfrm>
            <a:off x="817564" y="2155660"/>
            <a:ext cx="5218112" cy="715685"/>
          </a:xfrm>
        </p:spPr>
        <p:txBody>
          <a:bodyPr/>
          <a:lstStyle>
            <a:lvl1pPr>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endParaRPr lang="en-GB"/>
          </a:p>
        </p:txBody>
      </p:sp>
      <p:sp>
        <p:nvSpPr>
          <p:cNvPr id="10" name="Text Placeholder 6">
            <a:extLst>
              <a:ext uri="{FF2B5EF4-FFF2-40B4-BE49-F238E27FC236}">
                <a16:creationId xmlns:a16="http://schemas.microsoft.com/office/drawing/2014/main" id="{A3508DEC-04E2-86BC-198E-E9DF3D9C627E}"/>
              </a:ext>
            </a:extLst>
          </p:cNvPr>
          <p:cNvSpPr>
            <a:spLocks noGrp="1"/>
          </p:cNvSpPr>
          <p:nvPr>
            <p:ph type="body" sz="quarter" idx="15" hasCustomPrompt="1"/>
          </p:nvPr>
        </p:nvSpPr>
        <p:spPr>
          <a:xfrm>
            <a:off x="815975" y="2942005"/>
            <a:ext cx="5218113" cy="36699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grpSp>
        <p:nvGrpSpPr>
          <p:cNvPr id="3" name="Group 2">
            <a:extLst>
              <a:ext uri="{FF2B5EF4-FFF2-40B4-BE49-F238E27FC236}">
                <a16:creationId xmlns:a16="http://schemas.microsoft.com/office/drawing/2014/main" id="{A7B1296D-F0BF-D9B0-0599-6F9DB2C8BF7E}"/>
              </a:ext>
            </a:extLst>
          </p:cNvPr>
          <p:cNvGrpSpPr/>
          <p:nvPr userDrawn="1"/>
        </p:nvGrpSpPr>
        <p:grpSpPr>
          <a:xfrm>
            <a:off x="10187131" y="687949"/>
            <a:ext cx="1234969" cy="518323"/>
            <a:chOff x="7459170" y="481236"/>
            <a:chExt cx="2697427" cy="1132124"/>
          </a:xfrm>
        </p:grpSpPr>
        <p:sp>
          <p:nvSpPr>
            <p:cNvPr id="4" name="Freeform 3">
              <a:extLst>
                <a:ext uri="{FF2B5EF4-FFF2-40B4-BE49-F238E27FC236}">
                  <a16:creationId xmlns:a16="http://schemas.microsoft.com/office/drawing/2014/main" id="{2427C70E-4392-DDFB-1FFE-83FE8489D70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B1EC52A-D6AE-C40B-43DE-A84FEB4D4E9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6040785-9A72-5C7F-0A40-4A4E90F539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D264648-A1B9-FFEF-3E63-66B47A8243C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77277F7-5E4F-93AA-D1DD-F7D4C38677A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5ABE4D54-99E7-B389-7DAC-8641F10D047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1B8D232-D901-B3FF-9B08-BF5FB937800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8" name="Picture Placeholder 15">
            <a:extLst>
              <a:ext uri="{FF2B5EF4-FFF2-40B4-BE49-F238E27FC236}">
                <a16:creationId xmlns:a16="http://schemas.microsoft.com/office/drawing/2014/main" id="{04405897-9D53-17BF-7D09-7DAFBC0F0222}"/>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chor="ctr">
            <a:noAutofit/>
          </a:bodyPr>
          <a:lstStyle>
            <a:lvl1pPr algn="ctr">
              <a:defRPr>
                <a:solidFill>
                  <a:schemeClr val="bg1"/>
                </a:solidFill>
              </a:defRPr>
            </a:lvl1pPr>
          </a:lstStyle>
          <a:p>
            <a:endParaRPr lang="en-GB"/>
          </a:p>
        </p:txBody>
      </p:sp>
    </p:spTree>
    <p:extLst>
      <p:ext uri="{BB962C8B-B14F-4D97-AF65-F5344CB8AC3E}">
        <p14:creationId xmlns:p14="http://schemas.microsoft.com/office/powerpoint/2010/main" val="12893622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Divider blue PoP">
    <p:bg>
      <p:bgRef idx="1001">
        <a:schemeClr val="bg2"/>
      </p:bgRef>
    </p:bg>
    <p:spTree>
      <p:nvGrpSpPr>
        <p:cNvPr id="1" name=""/>
        <p:cNvGrpSpPr/>
        <p:nvPr/>
      </p:nvGrpSpPr>
      <p:grpSpPr>
        <a:xfrm>
          <a:off x="0" y="0"/>
          <a:ext cx="0" cy="0"/>
          <a:chOff x="0" y="0"/>
          <a:chExt cx="0" cy="0"/>
        </a:xfrm>
      </p:grpSpPr>
      <p:sp>
        <p:nvSpPr>
          <p:cNvPr id="6" name="PoP">
            <a:extLst>
              <a:ext uri="{FF2B5EF4-FFF2-40B4-BE49-F238E27FC236}">
                <a16:creationId xmlns:a16="http://schemas.microsoft.com/office/drawing/2014/main" id="{1959936E-3E0B-E12E-F24B-8A18D051934D}"/>
              </a:ext>
            </a:extLst>
          </p:cNvPr>
          <p:cNvSpPr/>
          <p:nvPr>
            <p:custDataLst>
              <p:tags r:id="rId1"/>
            </p:custDataLst>
          </p:nvPr>
        </p:nvSpPr>
        <p:spPr>
          <a:xfrm>
            <a:off x="-1200" y="0"/>
            <a:ext cx="12193200" cy="6858000"/>
          </a:xfrm>
          <a:custGeom>
            <a:avLst/>
            <a:gdLst>
              <a:gd name="connsiteX0" fmla="*/ 1148287 w 12193200"/>
              <a:gd name="connsiteY0" fmla="*/ 2128273 h 6858000"/>
              <a:gd name="connsiteX1" fmla="*/ 1148287 w 12193200"/>
              <a:gd name="connsiteY1" fmla="*/ 2364952 h 6858000"/>
              <a:gd name="connsiteX2" fmla="*/ 1249720 w 12193200"/>
              <a:gd name="connsiteY2" fmla="*/ 2364952 h 6858000"/>
              <a:gd name="connsiteX3" fmla="*/ 1249720 w 12193200"/>
              <a:gd name="connsiteY3" fmla="*/ 2128273 h 6858000"/>
              <a:gd name="connsiteX4" fmla="*/ 2959359 w 12193200"/>
              <a:gd name="connsiteY4" fmla="*/ 1419521 h 6858000"/>
              <a:gd name="connsiteX5" fmla="*/ 2959359 w 12193200"/>
              <a:gd name="connsiteY5" fmla="*/ 1656317 h 6858000"/>
              <a:gd name="connsiteX6" fmla="*/ 3060792 w 12193200"/>
              <a:gd name="connsiteY6" fmla="*/ 1656317 h 6858000"/>
              <a:gd name="connsiteX7" fmla="*/ 3060792 w 12193200"/>
              <a:gd name="connsiteY7" fmla="*/ 1419521 h 6858000"/>
              <a:gd name="connsiteX8" fmla="*/ 1694416 w 12193200"/>
              <a:gd name="connsiteY8" fmla="*/ 1418235 h 6858000"/>
              <a:gd name="connsiteX9" fmla="*/ 1874821 w 12193200"/>
              <a:gd name="connsiteY9" fmla="*/ 1418235 h 6858000"/>
              <a:gd name="connsiteX10" fmla="*/ 1874821 w 12193200"/>
              <a:gd name="connsiteY10" fmla="*/ 1655031 h 6858000"/>
              <a:gd name="connsiteX11" fmla="*/ 1694416 w 12193200"/>
              <a:gd name="connsiteY11" fmla="*/ 1655031 h 6858000"/>
              <a:gd name="connsiteX12" fmla="*/ 3397151 w 12193200"/>
              <a:gd name="connsiteY12" fmla="*/ 1181438 h 6858000"/>
              <a:gd name="connsiteX13" fmla="*/ 3397151 w 12193200"/>
              <a:gd name="connsiteY13" fmla="*/ 1181672 h 6858000"/>
              <a:gd name="connsiteX14" fmla="*/ 3396917 w 12193200"/>
              <a:gd name="connsiteY14" fmla="*/ 1182023 h 6858000"/>
              <a:gd name="connsiteX15" fmla="*/ 3396917 w 12193200"/>
              <a:gd name="connsiteY15" fmla="*/ 1419521 h 6858000"/>
              <a:gd name="connsiteX16" fmla="*/ 3497532 w 12193200"/>
              <a:gd name="connsiteY16" fmla="*/ 1419521 h 6858000"/>
              <a:gd name="connsiteX17" fmla="*/ 3497532 w 12193200"/>
              <a:gd name="connsiteY17" fmla="*/ 1181438 h 6858000"/>
              <a:gd name="connsiteX18" fmla="*/ 3997448 w 12193200"/>
              <a:gd name="connsiteY18" fmla="*/ 1181320 h 6858000"/>
              <a:gd name="connsiteX19" fmla="*/ 3997448 w 12193200"/>
              <a:gd name="connsiteY19" fmla="*/ 1418117 h 6858000"/>
              <a:gd name="connsiteX20" fmla="*/ 4177853 w 12193200"/>
              <a:gd name="connsiteY20" fmla="*/ 1418117 h 6858000"/>
              <a:gd name="connsiteX21" fmla="*/ 4177853 w 12193200"/>
              <a:gd name="connsiteY21" fmla="*/ 1181320 h 6858000"/>
              <a:gd name="connsiteX22" fmla="*/ 5869826 w 12193200"/>
              <a:gd name="connsiteY22" fmla="*/ 470580 h 6858000"/>
              <a:gd name="connsiteX23" fmla="*/ 5869826 w 12193200"/>
              <a:gd name="connsiteY23" fmla="*/ 707377 h 6858000"/>
              <a:gd name="connsiteX24" fmla="*/ 5971259 w 12193200"/>
              <a:gd name="connsiteY24" fmla="*/ 707377 h 6858000"/>
              <a:gd name="connsiteX25" fmla="*/ 5971259 w 12193200"/>
              <a:gd name="connsiteY25" fmla="*/ 470580 h 6858000"/>
              <a:gd name="connsiteX26" fmla="*/ 4750308 w 12193200"/>
              <a:gd name="connsiteY26" fmla="*/ 234369 h 6858000"/>
              <a:gd name="connsiteX27" fmla="*/ 5201320 w 12193200"/>
              <a:gd name="connsiteY27" fmla="*/ 234369 h 6858000"/>
              <a:gd name="connsiteX28" fmla="*/ 5201320 w 12193200"/>
              <a:gd name="connsiteY28" fmla="*/ 471165 h 6858000"/>
              <a:gd name="connsiteX29" fmla="*/ 4750308 w 12193200"/>
              <a:gd name="connsiteY29" fmla="*/ 471165 h 6858000"/>
              <a:gd name="connsiteX30" fmla="*/ 4468468 w 12193200"/>
              <a:gd name="connsiteY30" fmla="*/ 234369 h 6858000"/>
              <a:gd name="connsiteX31" fmla="*/ 4648874 w 12193200"/>
              <a:gd name="connsiteY31" fmla="*/ 234369 h 6858000"/>
              <a:gd name="connsiteX32" fmla="*/ 4648874 w 12193200"/>
              <a:gd name="connsiteY32" fmla="*/ 471165 h 6858000"/>
              <a:gd name="connsiteX33" fmla="*/ 4468468 w 12193200"/>
              <a:gd name="connsiteY33" fmla="*/ 471165 h 6858000"/>
              <a:gd name="connsiteX34" fmla="*/ 6042859 w 12193200"/>
              <a:gd name="connsiteY34" fmla="*/ 0 h 6858000"/>
              <a:gd name="connsiteX35" fmla="*/ 7423510 w 12193200"/>
              <a:gd name="connsiteY35" fmla="*/ 0 h 6858000"/>
              <a:gd name="connsiteX36" fmla="*/ 7423510 w 12193200"/>
              <a:gd name="connsiteY36" fmla="*/ 234369 h 6858000"/>
              <a:gd name="connsiteX37" fmla="*/ 7524943 w 12193200"/>
              <a:gd name="connsiteY37" fmla="*/ 234369 h 6858000"/>
              <a:gd name="connsiteX38" fmla="*/ 7524943 w 12193200"/>
              <a:gd name="connsiteY38" fmla="*/ 0 h 6858000"/>
              <a:gd name="connsiteX39" fmla="*/ 12193200 w 12193200"/>
              <a:gd name="connsiteY39" fmla="*/ 0 h 6858000"/>
              <a:gd name="connsiteX40" fmla="*/ 12193200 w 12193200"/>
              <a:gd name="connsiteY40" fmla="*/ 6858000 h 6858000"/>
              <a:gd name="connsiteX41" fmla="*/ 0 w 12193200"/>
              <a:gd name="connsiteY41" fmla="*/ 6858000 h 6858000"/>
              <a:gd name="connsiteX42" fmla="*/ 0 w 12193200"/>
              <a:gd name="connsiteY42" fmla="*/ 2364601 h 6858000"/>
              <a:gd name="connsiteX43" fmla="*/ 133594 w 12193200"/>
              <a:gd name="connsiteY43" fmla="*/ 2364601 h 6858000"/>
              <a:gd name="connsiteX44" fmla="*/ 133594 w 12193200"/>
              <a:gd name="connsiteY44" fmla="*/ 2127805 h 6858000"/>
              <a:gd name="connsiteX45" fmla="*/ 231284 w 12193200"/>
              <a:gd name="connsiteY45" fmla="*/ 2127805 h 6858000"/>
              <a:gd name="connsiteX46" fmla="*/ 231284 w 12193200"/>
              <a:gd name="connsiteY46" fmla="*/ 2364601 h 6858000"/>
              <a:gd name="connsiteX47" fmla="*/ 415668 w 12193200"/>
              <a:gd name="connsiteY47" fmla="*/ 2364601 h 6858000"/>
              <a:gd name="connsiteX48" fmla="*/ 415668 w 12193200"/>
              <a:gd name="connsiteY48" fmla="*/ 2601046 h 6858000"/>
              <a:gd name="connsiteX49" fmla="*/ 517102 w 12193200"/>
              <a:gd name="connsiteY49" fmla="*/ 2601046 h 6858000"/>
              <a:gd name="connsiteX50" fmla="*/ 517102 w 12193200"/>
              <a:gd name="connsiteY50" fmla="*/ 2364601 h 6858000"/>
              <a:gd name="connsiteX51" fmla="*/ 697507 w 12193200"/>
              <a:gd name="connsiteY51" fmla="*/ 2364601 h 6858000"/>
              <a:gd name="connsiteX52" fmla="*/ 697507 w 12193200"/>
              <a:gd name="connsiteY52" fmla="*/ 2127921 h 6858000"/>
              <a:gd name="connsiteX53" fmla="*/ 517102 w 12193200"/>
              <a:gd name="connsiteY53" fmla="*/ 2127921 h 6858000"/>
              <a:gd name="connsiteX54" fmla="*/ 517102 w 12193200"/>
              <a:gd name="connsiteY54" fmla="*/ 1891125 h 6858000"/>
              <a:gd name="connsiteX55" fmla="*/ 1353611 w 12193200"/>
              <a:gd name="connsiteY55" fmla="*/ 1891125 h 6858000"/>
              <a:gd name="connsiteX56" fmla="*/ 1353611 w 12193200"/>
              <a:gd name="connsiteY56" fmla="*/ 1655031 h 6858000"/>
              <a:gd name="connsiteX57" fmla="*/ 1694416 w 12193200"/>
              <a:gd name="connsiteY57" fmla="*/ 1655031 h 6858000"/>
              <a:gd name="connsiteX58" fmla="*/ 1694416 w 12193200"/>
              <a:gd name="connsiteY58" fmla="*/ 1891360 h 6858000"/>
              <a:gd name="connsiteX59" fmla="*/ 1976255 w 12193200"/>
              <a:gd name="connsiteY59" fmla="*/ 1891360 h 6858000"/>
              <a:gd name="connsiteX60" fmla="*/ 1976255 w 12193200"/>
              <a:gd name="connsiteY60" fmla="*/ 1418235 h 6858000"/>
              <a:gd name="connsiteX61" fmla="*/ 2427268 w 12193200"/>
              <a:gd name="connsiteY61" fmla="*/ 1418235 h 6858000"/>
              <a:gd name="connsiteX62" fmla="*/ 2523204 w 12193200"/>
              <a:gd name="connsiteY62" fmla="*/ 1418235 h 6858000"/>
              <a:gd name="connsiteX63" fmla="*/ 2523204 w 12193200"/>
              <a:gd name="connsiteY63" fmla="*/ 1180970 h 6858000"/>
              <a:gd name="connsiteX64" fmla="*/ 2940171 w 12193200"/>
              <a:gd name="connsiteY64" fmla="*/ 1180970 h 6858000"/>
              <a:gd name="connsiteX65" fmla="*/ 2940171 w 12193200"/>
              <a:gd name="connsiteY65" fmla="*/ 944174 h 6858000"/>
              <a:gd name="connsiteX66" fmla="*/ 3126426 w 12193200"/>
              <a:gd name="connsiteY66" fmla="*/ 944174 h 6858000"/>
              <a:gd name="connsiteX67" fmla="*/ 3126426 w 12193200"/>
              <a:gd name="connsiteY67" fmla="*/ 706909 h 6858000"/>
              <a:gd name="connsiteX68" fmla="*/ 3227977 w 12193200"/>
              <a:gd name="connsiteY68" fmla="*/ 706909 h 6858000"/>
              <a:gd name="connsiteX69" fmla="*/ 3227977 w 12193200"/>
              <a:gd name="connsiteY69" fmla="*/ 944174 h 6858000"/>
              <a:gd name="connsiteX70" fmla="*/ 3677938 w 12193200"/>
              <a:gd name="connsiteY70" fmla="*/ 944174 h 6858000"/>
              <a:gd name="connsiteX71" fmla="*/ 3677938 w 12193200"/>
              <a:gd name="connsiteY71" fmla="*/ 1180970 h 6858000"/>
              <a:gd name="connsiteX72" fmla="*/ 3778553 w 12193200"/>
              <a:gd name="connsiteY72" fmla="*/ 1180970 h 6858000"/>
              <a:gd name="connsiteX73" fmla="*/ 3778553 w 12193200"/>
              <a:gd name="connsiteY73" fmla="*/ 944174 h 6858000"/>
              <a:gd name="connsiteX74" fmla="*/ 3987855 w 12193200"/>
              <a:gd name="connsiteY74" fmla="*/ 944174 h 6858000"/>
              <a:gd name="connsiteX75" fmla="*/ 3987855 w 12193200"/>
              <a:gd name="connsiteY75" fmla="*/ 706909 h 6858000"/>
              <a:gd name="connsiteX76" fmla="*/ 4569902 w 12193200"/>
              <a:gd name="connsiteY76" fmla="*/ 706909 h 6858000"/>
              <a:gd name="connsiteX77" fmla="*/ 4569902 w 12193200"/>
              <a:gd name="connsiteY77" fmla="*/ 944174 h 6858000"/>
              <a:gd name="connsiteX78" fmla="*/ 5039400 w 12193200"/>
              <a:gd name="connsiteY78" fmla="*/ 944174 h 6858000"/>
              <a:gd name="connsiteX79" fmla="*/ 5039400 w 12193200"/>
              <a:gd name="connsiteY79" fmla="*/ 707377 h 6858000"/>
              <a:gd name="connsiteX80" fmla="*/ 5496262 w 12193200"/>
              <a:gd name="connsiteY80" fmla="*/ 707377 h 6858000"/>
              <a:gd name="connsiteX81" fmla="*/ 5496262 w 12193200"/>
              <a:gd name="connsiteY81" fmla="*/ 470580 h 6858000"/>
              <a:gd name="connsiteX82" fmla="*/ 5302755 w 12193200"/>
              <a:gd name="connsiteY82" fmla="*/ 470580 h 6858000"/>
              <a:gd name="connsiteX83" fmla="*/ 5302755 w 12193200"/>
              <a:gd name="connsiteY83" fmla="*/ 233784 h 6858000"/>
              <a:gd name="connsiteX84" fmla="*/ 6042859 w 12193200"/>
              <a:gd name="connsiteY84" fmla="*/ 2337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193200" h="6858000">
                <a:moveTo>
                  <a:pt x="1148287" y="2128273"/>
                </a:moveTo>
                <a:lnTo>
                  <a:pt x="1148287" y="2364952"/>
                </a:lnTo>
                <a:lnTo>
                  <a:pt x="1249720" y="2364952"/>
                </a:lnTo>
                <a:lnTo>
                  <a:pt x="1249720" y="2128273"/>
                </a:lnTo>
                <a:close/>
                <a:moveTo>
                  <a:pt x="2959359" y="1419521"/>
                </a:moveTo>
                <a:lnTo>
                  <a:pt x="2959359" y="1656317"/>
                </a:lnTo>
                <a:lnTo>
                  <a:pt x="3060792" y="1656317"/>
                </a:lnTo>
                <a:lnTo>
                  <a:pt x="3060792" y="1419521"/>
                </a:lnTo>
                <a:close/>
                <a:moveTo>
                  <a:pt x="1694416" y="1418235"/>
                </a:moveTo>
                <a:lnTo>
                  <a:pt x="1874821" y="1418235"/>
                </a:lnTo>
                <a:lnTo>
                  <a:pt x="1874821" y="1655031"/>
                </a:lnTo>
                <a:lnTo>
                  <a:pt x="1694416" y="1655031"/>
                </a:lnTo>
                <a:close/>
                <a:moveTo>
                  <a:pt x="3397151" y="1181438"/>
                </a:moveTo>
                <a:lnTo>
                  <a:pt x="3397151" y="1181672"/>
                </a:lnTo>
                <a:cubicBezTo>
                  <a:pt x="3397151" y="1181672"/>
                  <a:pt x="3396917" y="1182023"/>
                  <a:pt x="3396917" y="1182023"/>
                </a:cubicBezTo>
                <a:lnTo>
                  <a:pt x="3396917" y="1419521"/>
                </a:lnTo>
                <a:lnTo>
                  <a:pt x="3497532" y="1419521"/>
                </a:lnTo>
                <a:lnTo>
                  <a:pt x="3497532" y="1181438"/>
                </a:lnTo>
                <a:close/>
                <a:moveTo>
                  <a:pt x="3997448" y="1181320"/>
                </a:moveTo>
                <a:lnTo>
                  <a:pt x="3997448" y="1418117"/>
                </a:lnTo>
                <a:lnTo>
                  <a:pt x="4177853" y="1418117"/>
                </a:lnTo>
                <a:lnTo>
                  <a:pt x="4177853" y="1181320"/>
                </a:lnTo>
                <a:close/>
                <a:moveTo>
                  <a:pt x="5869826" y="470580"/>
                </a:moveTo>
                <a:lnTo>
                  <a:pt x="5869826" y="707377"/>
                </a:lnTo>
                <a:lnTo>
                  <a:pt x="5971259" y="707377"/>
                </a:lnTo>
                <a:lnTo>
                  <a:pt x="5971259" y="470580"/>
                </a:lnTo>
                <a:close/>
                <a:moveTo>
                  <a:pt x="4750308" y="234369"/>
                </a:moveTo>
                <a:lnTo>
                  <a:pt x="5201320" y="234369"/>
                </a:lnTo>
                <a:lnTo>
                  <a:pt x="5201320" y="471165"/>
                </a:lnTo>
                <a:lnTo>
                  <a:pt x="4750308" y="471165"/>
                </a:lnTo>
                <a:close/>
                <a:moveTo>
                  <a:pt x="4468468" y="234369"/>
                </a:moveTo>
                <a:lnTo>
                  <a:pt x="4648874" y="234369"/>
                </a:lnTo>
                <a:lnTo>
                  <a:pt x="4648874" y="471165"/>
                </a:lnTo>
                <a:lnTo>
                  <a:pt x="4468468" y="471165"/>
                </a:lnTo>
                <a:close/>
                <a:moveTo>
                  <a:pt x="6042859" y="0"/>
                </a:moveTo>
                <a:lnTo>
                  <a:pt x="7423510" y="0"/>
                </a:lnTo>
                <a:lnTo>
                  <a:pt x="7423510" y="234369"/>
                </a:lnTo>
                <a:lnTo>
                  <a:pt x="7524943" y="234369"/>
                </a:lnTo>
                <a:lnTo>
                  <a:pt x="7524943" y="0"/>
                </a:lnTo>
                <a:lnTo>
                  <a:pt x="12193200" y="0"/>
                </a:lnTo>
                <a:lnTo>
                  <a:pt x="12193200" y="6858000"/>
                </a:lnTo>
                <a:lnTo>
                  <a:pt x="0" y="6858000"/>
                </a:lnTo>
                <a:lnTo>
                  <a:pt x="0" y="2364601"/>
                </a:lnTo>
                <a:lnTo>
                  <a:pt x="133594" y="2364601"/>
                </a:lnTo>
                <a:lnTo>
                  <a:pt x="133594" y="2127805"/>
                </a:lnTo>
                <a:lnTo>
                  <a:pt x="231284" y="2127805"/>
                </a:lnTo>
                <a:lnTo>
                  <a:pt x="231284" y="2364601"/>
                </a:lnTo>
                <a:lnTo>
                  <a:pt x="415668" y="2364601"/>
                </a:lnTo>
                <a:lnTo>
                  <a:pt x="415668" y="2601046"/>
                </a:lnTo>
                <a:lnTo>
                  <a:pt x="517102" y="2601046"/>
                </a:lnTo>
                <a:lnTo>
                  <a:pt x="517102" y="2364601"/>
                </a:lnTo>
                <a:lnTo>
                  <a:pt x="697507" y="2364601"/>
                </a:lnTo>
                <a:lnTo>
                  <a:pt x="697507" y="2127921"/>
                </a:lnTo>
                <a:lnTo>
                  <a:pt x="517102" y="2127921"/>
                </a:lnTo>
                <a:lnTo>
                  <a:pt x="517102" y="1891125"/>
                </a:lnTo>
                <a:lnTo>
                  <a:pt x="1353611" y="1891125"/>
                </a:lnTo>
                <a:lnTo>
                  <a:pt x="1353611" y="1655031"/>
                </a:lnTo>
                <a:lnTo>
                  <a:pt x="1694416" y="1655031"/>
                </a:lnTo>
                <a:lnTo>
                  <a:pt x="1694416" y="1891360"/>
                </a:lnTo>
                <a:lnTo>
                  <a:pt x="1976255" y="1891360"/>
                </a:lnTo>
                <a:lnTo>
                  <a:pt x="1976255" y="1418235"/>
                </a:lnTo>
                <a:cubicBezTo>
                  <a:pt x="1976255" y="1418235"/>
                  <a:pt x="2427268" y="1418235"/>
                  <a:pt x="2427268" y="1418235"/>
                </a:cubicBezTo>
                <a:lnTo>
                  <a:pt x="2523204" y="1418235"/>
                </a:lnTo>
                <a:lnTo>
                  <a:pt x="2523204" y="1180970"/>
                </a:lnTo>
                <a:lnTo>
                  <a:pt x="2940171" y="1180970"/>
                </a:lnTo>
                <a:lnTo>
                  <a:pt x="2940171" y="944174"/>
                </a:lnTo>
                <a:lnTo>
                  <a:pt x="3126426" y="944174"/>
                </a:lnTo>
                <a:lnTo>
                  <a:pt x="3126426" y="706909"/>
                </a:lnTo>
                <a:lnTo>
                  <a:pt x="3227977" y="706909"/>
                </a:lnTo>
                <a:lnTo>
                  <a:pt x="3227977" y="944174"/>
                </a:lnTo>
                <a:lnTo>
                  <a:pt x="3677938" y="944174"/>
                </a:lnTo>
                <a:lnTo>
                  <a:pt x="3677938" y="1180970"/>
                </a:lnTo>
                <a:lnTo>
                  <a:pt x="3778553" y="1180970"/>
                </a:lnTo>
                <a:lnTo>
                  <a:pt x="3778553" y="944174"/>
                </a:lnTo>
                <a:lnTo>
                  <a:pt x="3987855" y="944174"/>
                </a:lnTo>
                <a:lnTo>
                  <a:pt x="3987855" y="706909"/>
                </a:lnTo>
                <a:lnTo>
                  <a:pt x="4569902" y="706909"/>
                </a:lnTo>
                <a:lnTo>
                  <a:pt x="4569902" y="944174"/>
                </a:lnTo>
                <a:lnTo>
                  <a:pt x="5039400" y="944174"/>
                </a:lnTo>
                <a:lnTo>
                  <a:pt x="5039400" y="707377"/>
                </a:lnTo>
                <a:lnTo>
                  <a:pt x="5496262" y="707377"/>
                </a:lnTo>
                <a:lnTo>
                  <a:pt x="5496262" y="470580"/>
                </a:lnTo>
                <a:lnTo>
                  <a:pt x="5302755" y="470580"/>
                </a:lnTo>
                <a:lnTo>
                  <a:pt x="5302755" y="233784"/>
                </a:lnTo>
                <a:lnTo>
                  <a:pt x="6042859" y="233784"/>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Text Placeholder 2">
            <a:extLst>
              <a:ext uri="{FF2B5EF4-FFF2-40B4-BE49-F238E27FC236}">
                <a16:creationId xmlns:a16="http://schemas.microsoft.com/office/drawing/2014/main" id="{61B2ABDA-DDAF-9A77-BDC2-22003E3AAD92}"/>
              </a:ext>
            </a:extLst>
          </p:cNvPr>
          <p:cNvSpPr>
            <a:spLocks noGrp="1"/>
          </p:cNvSpPr>
          <p:nvPr>
            <p:ph type="body" idx="1"/>
          </p:nvPr>
        </p:nvSpPr>
        <p:spPr>
          <a:xfrm>
            <a:off x="2586038" y="3789005"/>
            <a:ext cx="4319587" cy="1590188"/>
          </a:xfrm>
        </p:spPr>
        <p:txBody>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Section Title">
            <a:extLst>
              <a:ext uri="{FF2B5EF4-FFF2-40B4-BE49-F238E27FC236}">
                <a16:creationId xmlns:a16="http://schemas.microsoft.com/office/drawing/2014/main" id="{2251077D-1245-F768-6D1A-DF5DA28DC78D}"/>
              </a:ext>
            </a:extLst>
          </p:cNvPr>
          <p:cNvSpPr>
            <a:spLocks noGrp="1"/>
          </p:cNvSpPr>
          <p:nvPr>
            <p:ph type="title"/>
          </p:nvPr>
        </p:nvSpPr>
        <p:spPr>
          <a:xfrm>
            <a:off x="2586038" y="2429999"/>
            <a:ext cx="4319587" cy="1260000"/>
          </a:xfrm>
        </p:spPr>
        <p:txBody>
          <a:bodyPr anchor="t" anchorCtr="0"/>
          <a:lstStyle>
            <a:lvl1pPr>
              <a:defRPr sz="4000">
                <a:solidFill>
                  <a:schemeClr val="tx1"/>
                </a:solidFill>
              </a:defRPr>
            </a:lvl1pPr>
          </a:lstStyle>
          <a:p>
            <a:r>
              <a:rPr lang="en-US"/>
              <a:t>Click to edit Master title style</a:t>
            </a:r>
            <a:endParaRPr lang="en-GB" dirty="0"/>
          </a:p>
        </p:txBody>
      </p:sp>
      <p:pic>
        <p:nvPicPr>
          <p:cNvPr id="8" name="Logo">
            <a:extLst>
              <a:ext uri="{FF2B5EF4-FFF2-40B4-BE49-F238E27FC236}">
                <a16:creationId xmlns:a16="http://schemas.microsoft.com/office/drawing/2014/main" id="{405ED556-94E1-A715-9091-DBEEB77B26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71388" y="684213"/>
            <a:ext cx="1232421" cy="518400"/>
          </a:xfrm>
          <a:prstGeom prst="rect">
            <a:avLst/>
          </a:prstGeom>
        </p:spPr>
      </p:pic>
    </p:spTree>
    <p:extLst>
      <p:ext uri="{BB962C8B-B14F-4D97-AF65-F5344CB8AC3E}">
        <p14:creationId xmlns:p14="http://schemas.microsoft.com/office/powerpoint/2010/main" val="2421592565"/>
      </p:ext>
    </p:extLst>
  </p:cSld>
  <p:clrMapOvr>
    <a:overrideClrMapping bg1="dk1" tx1="lt1" bg2="dk2" tx2="lt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21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E7EDE8-88C1-6D0A-7819-F650D67281B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338"/>
            <a:ext cx="12191999" cy="6855322"/>
          </a:xfrm>
          <a:prstGeom prst="rect">
            <a:avLst/>
          </a:prstGeom>
        </p:spPr>
      </p:pic>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89EEF14-BF33-E89A-8154-00E812BE6542}"/>
              </a:ext>
            </a:extLst>
          </p:cNvPr>
          <p:cNvSpPr>
            <a:spLocks noGrp="1"/>
          </p:cNvSpPr>
          <p:nvPr>
            <p:ph type="body" sz="quarter" idx="14" hasCustomPrompt="1"/>
          </p:nvPr>
        </p:nvSpPr>
        <p:spPr>
          <a:xfrm>
            <a:off x="817562" y="657566"/>
            <a:ext cx="5218113" cy="191478"/>
          </a:xfrm>
        </p:spPr>
        <p:txBody>
          <a:bodyPr/>
          <a:lstStyle>
            <a:lvl1pP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IVATE AND CONFIDENTIAL</a:t>
            </a:r>
          </a:p>
        </p:txBody>
      </p:sp>
      <p:sp>
        <p:nvSpPr>
          <p:cNvPr id="5" name="Title 1">
            <a:extLst>
              <a:ext uri="{FF2B5EF4-FFF2-40B4-BE49-F238E27FC236}">
                <a16:creationId xmlns:a16="http://schemas.microsoft.com/office/drawing/2014/main" id="{ADD6B5F9-EA64-00A7-F731-F1BAF6BF0C12}"/>
              </a:ext>
            </a:extLst>
          </p:cNvPr>
          <p:cNvSpPr>
            <a:spLocks noGrp="1"/>
          </p:cNvSpPr>
          <p:nvPr>
            <p:ph type="ctrTitle" hasCustomPrompt="1"/>
          </p:nvPr>
        </p:nvSpPr>
        <p:spPr>
          <a:xfrm>
            <a:off x="817562" y="1049200"/>
            <a:ext cx="5218113" cy="1107996"/>
          </a:xfrm>
          <a:noFill/>
        </p:spPr>
        <p:txBody>
          <a:bodyPr lIns="0" tIns="0" rIns="900000" bIns="0" anchor="t" anchorCtr="0"/>
          <a:lstStyle>
            <a:lvl1pPr algn="l">
              <a:lnSpc>
                <a:spcPct val="100000"/>
              </a:lnSpc>
              <a:spcBef>
                <a:spcPts val="0"/>
              </a:spcBef>
              <a:spcAft>
                <a:spcPts val="0"/>
              </a:spcAft>
              <a:defRPr sz="3600">
                <a:solidFill>
                  <a:schemeClr val="accent1"/>
                </a:solidFill>
              </a:defRPr>
            </a:lvl1pPr>
          </a:lstStyle>
          <a:p>
            <a:r>
              <a:rPr lang="en-US"/>
              <a:t>Title</a:t>
            </a:r>
            <a:br>
              <a:rPr lang="en-US"/>
            </a:br>
            <a:endParaRPr lang="en-GB"/>
          </a:p>
        </p:txBody>
      </p:sp>
      <p:sp>
        <p:nvSpPr>
          <p:cNvPr id="6" name="Text Placeholder 3">
            <a:extLst>
              <a:ext uri="{FF2B5EF4-FFF2-40B4-BE49-F238E27FC236}">
                <a16:creationId xmlns:a16="http://schemas.microsoft.com/office/drawing/2014/main" id="{9DD067AA-FC7F-E211-B5E2-28259E7E6AF0}"/>
              </a:ext>
            </a:extLst>
          </p:cNvPr>
          <p:cNvSpPr>
            <a:spLocks noGrp="1"/>
          </p:cNvSpPr>
          <p:nvPr>
            <p:ph type="body" sz="quarter" idx="11" hasCustomPrompt="1"/>
          </p:nvPr>
        </p:nvSpPr>
        <p:spPr>
          <a:xfrm>
            <a:off x="817564" y="2155660"/>
            <a:ext cx="5218112" cy="715685"/>
          </a:xfrm>
        </p:spPr>
        <p:txBody>
          <a:bodyPr/>
          <a:lstStyle>
            <a:lvl1pPr>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endParaRPr lang="en-GB"/>
          </a:p>
        </p:txBody>
      </p:sp>
      <p:sp>
        <p:nvSpPr>
          <p:cNvPr id="10" name="Text Placeholder 6">
            <a:extLst>
              <a:ext uri="{FF2B5EF4-FFF2-40B4-BE49-F238E27FC236}">
                <a16:creationId xmlns:a16="http://schemas.microsoft.com/office/drawing/2014/main" id="{A3508DEC-04E2-86BC-198E-E9DF3D9C627E}"/>
              </a:ext>
            </a:extLst>
          </p:cNvPr>
          <p:cNvSpPr>
            <a:spLocks noGrp="1"/>
          </p:cNvSpPr>
          <p:nvPr>
            <p:ph type="body" sz="quarter" idx="15" hasCustomPrompt="1"/>
          </p:nvPr>
        </p:nvSpPr>
        <p:spPr>
          <a:xfrm>
            <a:off x="815975" y="2942005"/>
            <a:ext cx="5218113" cy="36699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grpSp>
        <p:nvGrpSpPr>
          <p:cNvPr id="3" name="Group 2">
            <a:extLst>
              <a:ext uri="{FF2B5EF4-FFF2-40B4-BE49-F238E27FC236}">
                <a16:creationId xmlns:a16="http://schemas.microsoft.com/office/drawing/2014/main" id="{A7B1296D-F0BF-D9B0-0599-6F9DB2C8BF7E}"/>
              </a:ext>
            </a:extLst>
          </p:cNvPr>
          <p:cNvGrpSpPr/>
          <p:nvPr userDrawn="1"/>
        </p:nvGrpSpPr>
        <p:grpSpPr>
          <a:xfrm>
            <a:off x="10187131" y="687949"/>
            <a:ext cx="1234969" cy="518323"/>
            <a:chOff x="7459170" y="481236"/>
            <a:chExt cx="2697427" cy="1132124"/>
          </a:xfrm>
        </p:grpSpPr>
        <p:sp>
          <p:nvSpPr>
            <p:cNvPr id="4" name="Freeform 3">
              <a:extLst>
                <a:ext uri="{FF2B5EF4-FFF2-40B4-BE49-F238E27FC236}">
                  <a16:creationId xmlns:a16="http://schemas.microsoft.com/office/drawing/2014/main" id="{2427C70E-4392-DDFB-1FFE-83FE8489D70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B1EC52A-D6AE-C40B-43DE-A84FEB4D4E9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6040785-9A72-5C7F-0A40-4A4E90F539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D264648-A1B9-FFEF-3E63-66B47A8243C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77277F7-5E4F-93AA-D1DD-F7D4C38677A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5ABE4D54-99E7-B389-7DAC-8641F10D047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1B8D232-D901-B3FF-9B08-BF5FB937800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8" name="Picture Placeholder 15">
            <a:extLst>
              <a:ext uri="{FF2B5EF4-FFF2-40B4-BE49-F238E27FC236}">
                <a16:creationId xmlns:a16="http://schemas.microsoft.com/office/drawing/2014/main" id="{04405897-9D53-17BF-7D09-7DAFBC0F0222}"/>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oAutofit/>
          </a:bodyPr>
          <a:lstStyle/>
          <a:p>
            <a:endParaRPr lang="en-GB"/>
          </a:p>
        </p:txBody>
      </p:sp>
    </p:spTree>
    <p:extLst>
      <p:ext uri="{BB962C8B-B14F-4D97-AF65-F5344CB8AC3E}">
        <p14:creationId xmlns:p14="http://schemas.microsoft.com/office/powerpoint/2010/main" val="207804510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3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132559-6A21-44C8-202B-B5161F3773C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339"/>
            <a:ext cx="12191999" cy="6855321"/>
          </a:xfrm>
          <a:prstGeom prst="rect">
            <a:avLst/>
          </a:prstGeom>
        </p:spPr>
      </p:pic>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71544BD-F321-635C-03B7-D81EE32DFA93}"/>
              </a:ext>
            </a:extLst>
          </p:cNvPr>
          <p:cNvSpPr>
            <a:spLocks noGrp="1"/>
          </p:cNvSpPr>
          <p:nvPr>
            <p:ph type="ctrTitle" hasCustomPrompt="1"/>
          </p:nvPr>
        </p:nvSpPr>
        <p:spPr>
          <a:xfrm>
            <a:off x="6216650" y="4772455"/>
            <a:ext cx="5219700" cy="1225290"/>
          </a:xfrm>
          <a:solidFill>
            <a:schemeClr val="accent1"/>
          </a:solidFill>
        </p:spPr>
        <p:txBody>
          <a:bodyPr lIns="180000" tIns="180000" rIns="180000" bIns="180000" anchor="ctr" anchorCtr="0"/>
          <a:lstStyle>
            <a:lvl1pPr algn="l">
              <a:lnSpc>
                <a:spcPct val="100000"/>
              </a:lnSpc>
              <a:spcBef>
                <a:spcPts val="0"/>
              </a:spcBef>
              <a:spcAft>
                <a:spcPts val="0"/>
              </a:spcAft>
              <a:defRPr sz="2800" cap="none">
                <a:solidFill>
                  <a:schemeClr val="bg1"/>
                </a:solidFill>
              </a:defRPr>
            </a:lvl1pPr>
          </a:lstStyle>
          <a:p>
            <a:r>
              <a:rPr lang="en-US"/>
              <a:t>Empowering you to take the next step in your career</a:t>
            </a:r>
            <a:endParaRPr lang="en-GB"/>
          </a:p>
        </p:txBody>
      </p:sp>
      <p:grpSp>
        <p:nvGrpSpPr>
          <p:cNvPr id="5" name="Group 4">
            <a:extLst>
              <a:ext uri="{FF2B5EF4-FFF2-40B4-BE49-F238E27FC236}">
                <a16:creationId xmlns:a16="http://schemas.microsoft.com/office/drawing/2014/main" id="{0E61AC88-24D2-C626-F173-6701AD633AB3}"/>
              </a:ext>
            </a:extLst>
          </p:cNvPr>
          <p:cNvGrpSpPr/>
          <p:nvPr userDrawn="1"/>
        </p:nvGrpSpPr>
        <p:grpSpPr>
          <a:xfrm>
            <a:off x="10187131" y="687949"/>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452295" y="1680103"/>
            <a:ext cx="2264219" cy="273593"/>
          </a:xfrm>
          <a:prstGeom prst="rect">
            <a:avLst/>
          </a:prstGeom>
        </p:spPr>
      </p:pic>
    </p:spTree>
    <p:extLst>
      <p:ext uri="{BB962C8B-B14F-4D97-AF65-F5344CB8AC3E}">
        <p14:creationId xmlns:p14="http://schemas.microsoft.com/office/powerpoint/2010/main" val="197707532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14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132559-6A21-44C8-202B-B5161F3773C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339"/>
            <a:ext cx="12191997" cy="6855321"/>
          </a:xfrm>
          <a:prstGeom prst="rect">
            <a:avLst/>
          </a:prstGeom>
        </p:spPr>
      </p:pic>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71544BD-F321-635C-03B7-D81EE32DFA93}"/>
              </a:ext>
            </a:extLst>
          </p:cNvPr>
          <p:cNvSpPr>
            <a:spLocks noGrp="1"/>
          </p:cNvSpPr>
          <p:nvPr>
            <p:ph type="ctrTitle" hasCustomPrompt="1"/>
          </p:nvPr>
        </p:nvSpPr>
        <p:spPr>
          <a:xfrm>
            <a:off x="6216650" y="4772455"/>
            <a:ext cx="5219700" cy="1225290"/>
          </a:xfrm>
          <a:solidFill>
            <a:schemeClr val="accent1"/>
          </a:solidFill>
        </p:spPr>
        <p:txBody>
          <a:bodyPr lIns="180000" tIns="180000" rIns="180000" bIns="180000" anchor="ctr" anchorCtr="0"/>
          <a:lstStyle>
            <a:lvl1pPr algn="l">
              <a:lnSpc>
                <a:spcPct val="100000"/>
              </a:lnSpc>
              <a:spcBef>
                <a:spcPts val="0"/>
              </a:spcBef>
              <a:spcAft>
                <a:spcPts val="0"/>
              </a:spcAft>
              <a:defRPr sz="2800" cap="none">
                <a:solidFill>
                  <a:schemeClr val="bg1"/>
                </a:solidFill>
              </a:defRPr>
            </a:lvl1pPr>
          </a:lstStyle>
          <a:p>
            <a:r>
              <a:rPr lang="en-US"/>
              <a:t>Empowering you to take the next step in your career</a:t>
            </a:r>
            <a:endParaRPr lang="en-GB"/>
          </a:p>
        </p:txBody>
      </p:sp>
      <p:grpSp>
        <p:nvGrpSpPr>
          <p:cNvPr id="5" name="Group 4">
            <a:extLst>
              <a:ext uri="{FF2B5EF4-FFF2-40B4-BE49-F238E27FC236}">
                <a16:creationId xmlns:a16="http://schemas.microsoft.com/office/drawing/2014/main" id="{0E61AC88-24D2-C626-F173-6701AD633AB3}"/>
              </a:ext>
            </a:extLst>
          </p:cNvPr>
          <p:cNvGrpSpPr/>
          <p:nvPr userDrawn="1"/>
        </p:nvGrpSpPr>
        <p:grpSpPr>
          <a:xfrm>
            <a:off x="10187131" y="687949"/>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452295" y="1680103"/>
            <a:ext cx="2264219" cy="273593"/>
          </a:xfrm>
          <a:prstGeom prst="rect">
            <a:avLst/>
          </a:prstGeom>
        </p:spPr>
      </p:pic>
    </p:spTree>
    <p:extLst>
      <p:ext uri="{BB962C8B-B14F-4D97-AF65-F5344CB8AC3E}">
        <p14:creationId xmlns:p14="http://schemas.microsoft.com/office/powerpoint/2010/main" val="56346597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5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132559-6A21-44C8-202B-B5161F3773C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339"/>
            <a:ext cx="12191997" cy="6855320"/>
          </a:xfrm>
          <a:prstGeom prst="rect">
            <a:avLst/>
          </a:prstGeom>
        </p:spPr>
      </p:pic>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71544BD-F321-635C-03B7-D81EE32DFA93}"/>
              </a:ext>
            </a:extLst>
          </p:cNvPr>
          <p:cNvSpPr>
            <a:spLocks noGrp="1"/>
          </p:cNvSpPr>
          <p:nvPr>
            <p:ph type="ctrTitle" hasCustomPrompt="1"/>
          </p:nvPr>
        </p:nvSpPr>
        <p:spPr>
          <a:xfrm>
            <a:off x="6216650" y="4772455"/>
            <a:ext cx="5219700" cy="1225290"/>
          </a:xfrm>
          <a:solidFill>
            <a:schemeClr val="accent1"/>
          </a:solidFill>
        </p:spPr>
        <p:txBody>
          <a:bodyPr lIns="180000" tIns="180000" rIns="180000" bIns="180000" anchor="ctr" anchorCtr="0"/>
          <a:lstStyle>
            <a:lvl1pPr algn="l">
              <a:lnSpc>
                <a:spcPct val="100000"/>
              </a:lnSpc>
              <a:spcBef>
                <a:spcPts val="0"/>
              </a:spcBef>
              <a:spcAft>
                <a:spcPts val="0"/>
              </a:spcAft>
              <a:defRPr sz="2800" cap="none">
                <a:solidFill>
                  <a:schemeClr val="bg1"/>
                </a:solidFill>
              </a:defRPr>
            </a:lvl1pPr>
          </a:lstStyle>
          <a:p>
            <a:r>
              <a:rPr lang="en-US"/>
              <a:t>Empowering you to take the next step in your career</a:t>
            </a:r>
            <a:endParaRPr lang="en-GB"/>
          </a:p>
        </p:txBody>
      </p:sp>
      <p:grpSp>
        <p:nvGrpSpPr>
          <p:cNvPr id="5" name="Group 4">
            <a:extLst>
              <a:ext uri="{FF2B5EF4-FFF2-40B4-BE49-F238E27FC236}">
                <a16:creationId xmlns:a16="http://schemas.microsoft.com/office/drawing/2014/main" id="{0E61AC88-24D2-C626-F173-6701AD633AB3}"/>
              </a:ext>
            </a:extLst>
          </p:cNvPr>
          <p:cNvGrpSpPr/>
          <p:nvPr userDrawn="1"/>
        </p:nvGrpSpPr>
        <p:grpSpPr>
          <a:xfrm>
            <a:off x="10187131" y="687949"/>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452295" y="1680103"/>
            <a:ext cx="2264219" cy="273593"/>
          </a:xfrm>
          <a:prstGeom prst="rect">
            <a:avLst/>
          </a:prstGeom>
        </p:spPr>
      </p:pic>
    </p:spTree>
    <p:extLst>
      <p:ext uri="{BB962C8B-B14F-4D97-AF65-F5344CB8AC3E}">
        <p14:creationId xmlns:p14="http://schemas.microsoft.com/office/powerpoint/2010/main" val="146746538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ivider 1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4061A3F-47F8-A84F-7E6F-93933D518E51}"/>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12629"/>
            <a:ext cx="12217901" cy="6870629"/>
          </a:xfrm>
          <a:prstGeom prst="rect">
            <a:avLst/>
          </a:prstGeom>
        </p:spPr>
      </p:pic>
      <p:sp>
        <p:nvSpPr>
          <p:cNvPr id="6" name="Text Placeholder 5">
            <a:extLst>
              <a:ext uri="{FF2B5EF4-FFF2-40B4-BE49-F238E27FC236}">
                <a16:creationId xmlns:a16="http://schemas.microsoft.com/office/drawing/2014/main" id="{41C67C17-03F0-336A-F782-185E8314E532}"/>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7" name="Title Placeholder 13">
            <a:extLst>
              <a:ext uri="{FF2B5EF4-FFF2-40B4-BE49-F238E27FC236}">
                <a16:creationId xmlns:a16="http://schemas.microsoft.com/office/drawing/2014/main" id="{05C4F7E3-76F2-8816-1FEE-EB1E510A2B6E}"/>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grpSp>
        <p:nvGrpSpPr>
          <p:cNvPr id="2" name="Group 1">
            <a:extLst>
              <a:ext uri="{FF2B5EF4-FFF2-40B4-BE49-F238E27FC236}">
                <a16:creationId xmlns:a16="http://schemas.microsoft.com/office/drawing/2014/main" id="{D1EBE406-CC0A-D855-C047-B83B6A274921}"/>
              </a:ext>
            </a:extLst>
          </p:cNvPr>
          <p:cNvGrpSpPr/>
          <p:nvPr userDrawn="1"/>
        </p:nvGrpSpPr>
        <p:grpSpPr>
          <a:xfrm>
            <a:off x="10187131" y="687949"/>
            <a:ext cx="1234969" cy="518323"/>
            <a:chOff x="7459170" y="481236"/>
            <a:chExt cx="2697427" cy="1132124"/>
          </a:xfrm>
          <a:solidFill>
            <a:schemeClr val="bg1"/>
          </a:solidFill>
        </p:grpSpPr>
        <p:sp>
          <p:nvSpPr>
            <p:cNvPr id="3" name="Freeform 2">
              <a:extLst>
                <a:ext uri="{FF2B5EF4-FFF2-40B4-BE49-F238E27FC236}">
                  <a16:creationId xmlns:a16="http://schemas.microsoft.com/office/drawing/2014/main" id="{3535458D-D6F2-0DEB-240C-566B71330F6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D64F59B7-6AEE-E93C-A00A-7CF6CCE1B23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673062BC-F597-285A-CA5D-04928CFD3E4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6AF880-3E36-D43A-44CB-A2926D722A7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54938477-1B85-CE55-650E-1724595150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483D60A-F0CF-6D77-FD8B-291D9E4D7B0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80B5A102-87DA-0B8A-AACB-E55C56CA80F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77417754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vider 2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2F83B54-B05C-80E7-8D47-42A33486414C}"/>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1" y="0"/>
            <a:ext cx="12192000" cy="6858000"/>
          </a:xfrm>
          <a:prstGeom prst="rect">
            <a:avLst/>
          </a:prstGeom>
        </p:spPr>
      </p:pic>
      <p:sp>
        <p:nvSpPr>
          <p:cNvPr id="32" name="Text Placeholder 5">
            <a:extLst>
              <a:ext uri="{FF2B5EF4-FFF2-40B4-BE49-F238E27FC236}">
                <a16:creationId xmlns:a16="http://schemas.microsoft.com/office/drawing/2014/main" id="{15476F96-96A3-F297-64CD-A68870CAC866}"/>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33" name="Title Placeholder 13">
            <a:extLst>
              <a:ext uri="{FF2B5EF4-FFF2-40B4-BE49-F238E27FC236}">
                <a16:creationId xmlns:a16="http://schemas.microsoft.com/office/drawing/2014/main" id="{DE6F7B1F-9D95-A8F7-0ED8-1168DA523D50}"/>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grpSp>
        <p:nvGrpSpPr>
          <p:cNvPr id="2" name="Group 1">
            <a:extLst>
              <a:ext uri="{FF2B5EF4-FFF2-40B4-BE49-F238E27FC236}">
                <a16:creationId xmlns:a16="http://schemas.microsoft.com/office/drawing/2014/main" id="{5D909BBB-7393-91AF-9975-D542656D6ECE}"/>
              </a:ext>
            </a:extLst>
          </p:cNvPr>
          <p:cNvGrpSpPr/>
          <p:nvPr userDrawn="1"/>
        </p:nvGrpSpPr>
        <p:grpSpPr>
          <a:xfrm>
            <a:off x="10187131" y="687949"/>
            <a:ext cx="1234969" cy="518323"/>
            <a:chOff x="7459170" y="481236"/>
            <a:chExt cx="2697427" cy="1132124"/>
          </a:xfrm>
          <a:solidFill>
            <a:schemeClr val="bg1"/>
          </a:solidFill>
        </p:grpSpPr>
        <p:sp>
          <p:nvSpPr>
            <p:cNvPr id="4" name="Freeform 3">
              <a:extLst>
                <a:ext uri="{FF2B5EF4-FFF2-40B4-BE49-F238E27FC236}">
                  <a16:creationId xmlns:a16="http://schemas.microsoft.com/office/drawing/2014/main" id="{9CBAD812-D47B-E299-C0B0-45EF8E5E89D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29E921A1-FB68-C466-981B-ACDA000F042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E03F9F8E-2F94-8F27-82A8-419F1504F5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4D16A74-A79E-AE32-EAAB-203ED726613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1ED56139-80CA-E8F6-65FD-653898A66C2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E04BB3A7-941D-BCDB-84FD-043F3284B70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EF7D6C70-8C06-4722-3FE4-EF324DC78E2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69870946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ivider Photo layout">
    <p:bg>
      <p:bgPr>
        <a:solidFill>
          <a:srgbClr val="141439"/>
        </a:solidFill>
        <a:effectLst/>
      </p:bgPr>
    </p:bg>
    <p:spTree>
      <p:nvGrpSpPr>
        <p:cNvPr id="1" name=""/>
        <p:cNvGrpSpPr/>
        <p:nvPr/>
      </p:nvGrpSpPr>
      <p:grpSpPr>
        <a:xfrm>
          <a:off x="0" y="0"/>
          <a:ext cx="0" cy="0"/>
          <a:chOff x="0" y="0"/>
          <a:chExt cx="0" cy="0"/>
        </a:xfrm>
      </p:grpSpPr>
      <p:sp>
        <p:nvSpPr>
          <p:cNvPr id="75" name="Picture Placeholder 74">
            <a:extLst>
              <a:ext uri="{FF2B5EF4-FFF2-40B4-BE49-F238E27FC236}">
                <a16:creationId xmlns:a16="http://schemas.microsoft.com/office/drawing/2014/main" id="{7ABE470B-D022-CBA9-71C5-445BC6D34583}"/>
              </a:ext>
            </a:extLst>
          </p:cNvPr>
          <p:cNvSpPr>
            <a:spLocks noGrp="1"/>
          </p:cNvSpPr>
          <p:nvPr>
            <p:ph type="pic" sz="quarter" idx="11"/>
          </p:nvPr>
        </p:nvSpPr>
        <p:spPr>
          <a:xfrm>
            <a:off x="0" y="-1461"/>
            <a:ext cx="12192000" cy="6859461"/>
          </a:xfrm>
          <a:custGeom>
            <a:avLst/>
            <a:gdLst>
              <a:gd name="connsiteX0" fmla="*/ 1417002 w 12192000"/>
              <a:gd name="connsiteY0" fmla="*/ 2153159 h 6859461"/>
              <a:gd name="connsiteX1" fmla="*/ 1417002 w 12192000"/>
              <a:gd name="connsiteY1" fmla="*/ 2392364 h 6859461"/>
              <a:gd name="connsiteX2" fmla="*/ 1519301 w 12192000"/>
              <a:gd name="connsiteY2" fmla="*/ 2392364 h 6859461"/>
              <a:gd name="connsiteX3" fmla="*/ 1519301 w 12192000"/>
              <a:gd name="connsiteY3" fmla="*/ 2153159 h 6859461"/>
              <a:gd name="connsiteX4" fmla="*/ 3242565 w 12192000"/>
              <a:gd name="connsiteY4" fmla="*/ 1437006 h 6859461"/>
              <a:gd name="connsiteX5" fmla="*/ 3242565 w 12192000"/>
              <a:gd name="connsiteY5" fmla="*/ 1676274 h 6859461"/>
              <a:gd name="connsiteX6" fmla="*/ 3344862 w 12192000"/>
              <a:gd name="connsiteY6" fmla="*/ 1676274 h 6859461"/>
              <a:gd name="connsiteX7" fmla="*/ 3344862 w 12192000"/>
              <a:gd name="connsiteY7" fmla="*/ 1437006 h 6859461"/>
              <a:gd name="connsiteX8" fmla="*/ 3683953 w 12192000"/>
              <a:gd name="connsiteY8" fmla="*/ 1196405 h 6859461"/>
              <a:gd name="connsiteX9" fmla="*/ 3684144 w 12192000"/>
              <a:gd name="connsiteY9" fmla="*/ 1196595 h 6859461"/>
              <a:gd name="connsiteX10" fmla="*/ 3683699 w 12192000"/>
              <a:gd name="connsiteY10" fmla="*/ 1196976 h 6859461"/>
              <a:gd name="connsiteX11" fmla="*/ 3683699 w 12192000"/>
              <a:gd name="connsiteY11" fmla="*/ 1437006 h 6859461"/>
              <a:gd name="connsiteX12" fmla="*/ 3785172 w 12192000"/>
              <a:gd name="connsiteY12" fmla="*/ 1437006 h 6859461"/>
              <a:gd name="connsiteX13" fmla="*/ 3785172 w 12192000"/>
              <a:gd name="connsiteY13" fmla="*/ 1196405 h 6859461"/>
              <a:gd name="connsiteX14" fmla="*/ 4288980 w 12192000"/>
              <a:gd name="connsiteY14" fmla="*/ 1196341 h 6859461"/>
              <a:gd name="connsiteX15" fmla="*/ 4288980 w 12192000"/>
              <a:gd name="connsiteY15" fmla="*/ 1435609 h 6859461"/>
              <a:gd name="connsiteX16" fmla="*/ 4470844 w 12192000"/>
              <a:gd name="connsiteY16" fmla="*/ 1435609 h 6859461"/>
              <a:gd name="connsiteX17" fmla="*/ 4470844 w 12192000"/>
              <a:gd name="connsiteY17" fmla="*/ 1196341 h 6859461"/>
              <a:gd name="connsiteX18" fmla="*/ 6176327 w 12192000"/>
              <a:gd name="connsiteY18" fmla="*/ 478029 h 6859461"/>
              <a:gd name="connsiteX19" fmla="*/ 6176327 w 12192000"/>
              <a:gd name="connsiteY19" fmla="*/ 717297 h 6859461"/>
              <a:gd name="connsiteX20" fmla="*/ 6278626 w 12192000"/>
              <a:gd name="connsiteY20" fmla="*/ 717297 h 6859461"/>
              <a:gd name="connsiteX21" fmla="*/ 6278626 w 12192000"/>
              <a:gd name="connsiteY21" fmla="*/ 478029 h 6859461"/>
              <a:gd name="connsiteX22" fmla="*/ 5047933 w 12192000"/>
              <a:gd name="connsiteY22" fmla="*/ 239268 h 6859461"/>
              <a:gd name="connsiteX23" fmla="*/ 5502529 w 12192000"/>
              <a:gd name="connsiteY23" fmla="*/ 239268 h 6859461"/>
              <a:gd name="connsiteX24" fmla="*/ 5502529 w 12192000"/>
              <a:gd name="connsiteY24" fmla="*/ 478536 h 6859461"/>
              <a:gd name="connsiteX25" fmla="*/ 5047933 w 12192000"/>
              <a:gd name="connsiteY25" fmla="*/ 478536 h 6859461"/>
              <a:gd name="connsiteX26" fmla="*/ 4763833 w 12192000"/>
              <a:gd name="connsiteY26" fmla="*/ 239268 h 6859461"/>
              <a:gd name="connsiteX27" fmla="*/ 4945698 w 12192000"/>
              <a:gd name="connsiteY27" fmla="*/ 239268 h 6859461"/>
              <a:gd name="connsiteX28" fmla="*/ 4945698 w 12192000"/>
              <a:gd name="connsiteY28" fmla="*/ 478536 h 6859461"/>
              <a:gd name="connsiteX29" fmla="*/ 4763833 w 12192000"/>
              <a:gd name="connsiteY29" fmla="*/ 478536 h 6859461"/>
              <a:gd name="connsiteX30" fmla="*/ 12184380 w 12192000"/>
              <a:gd name="connsiteY30" fmla="*/ 1461 h 6859461"/>
              <a:gd name="connsiteX31" fmla="*/ 12192000 w 12192000"/>
              <a:gd name="connsiteY31" fmla="*/ 1461 h 6859461"/>
              <a:gd name="connsiteX32" fmla="*/ 12192000 w 12192000"/>
              <a:gd name="connsiteY32" fmla="*/ 6859461 h 6859461"/>
              <a:gd name="connsiteX33" fmla="*/ 12184379 w 12192000"/>
              <a:gd name="connsiteY33" fmla="*/ 6859461 h 6859461"/>
              <a:gd name="connsiteX34" fmla="*/ 12184379 w 12192000"/>
              <a:gd name="connsiteY34" fmla="*/ 14187 h 6859461"/>
              <a:gd name="connsiteX35" fmla="*/ 6399149 w 12192000"/>
              <a:gd name="connsiteY35" fmla="*/ 1461 h 6859461"/>
              <a:gd name="connsiteX36" fmla="*/ 7742555 w 12192000"/>
              <a:gd name="connsiteY36" fmla="*/ 1461 h 6859461"/>
              <a:gd name="connsiteX37" fmla="*/ 7742555 w 12192000"/>
              <a:gd name="connsiteY37" fmla="*/ 239269 h 6859461"/>
              <a:gd name="connsiteX38" fmla="*/ 7844853 w 12192000"/>
              <a:gd name="connsiteY38" fmla="*/ 239269 h 6859461"/>
              <a:gd name="connsiteX39" fmla="*/ 7844853 w 12192000"/>
              <a:gd name="connsiteY39" fmla="*/ 1461 h 6859461"/>
              <a:gd name="connsiteX40" fmla="*/ 12184379 w 12192000"/>
              <a:gd name="connsiteY40" fmla="*/ 1461 h 6859461"/>
              <a:gd name="connsiteX41" fmla="*/ 12184379 w 12192000"/>
              <a:gd name="connsiteY41" fmla="*/ 14187 h 6859461"/>
              <a:gd name="connsiteX42" fmla="*/ 12184062 w 12192000"/>
              <a:gd name="connsiteY42" fmla="*/ 4121342 h 6859461"/>
              <a:gd name="connsiteX43" fmla="*/ 12179807 w 12192000"/>
              <a:gd name="connsiteY43" fmla="*/ 4121342 h 6859461"/>
              <a:gd name="connsiteX44" fmla="*/ 12179807 w 12192000"/>
              <a:gd name="connsiteY44" fmla="*/ 6855398 h 6859461"/>
              <a:gd name="connsiteX45" fmla="*/ 5270 w 12192000"/>
              <a:gd name="connsiteY45" fmla="*/ 6855398 h 6859461"/>
              <a:gd name="connsiteX46" fmla="*/ 5270 w 12192000"/>
              <a:gd name="connsiteY46" fmla="*/ 6849048 h 6859461"/>
              <a:gd name="connsiteX47" fmla="*/ 2095 w 12192000"/>
              <a:gd name="connsiteY47" fmla="*/ 6849048 h 6859461"/>
              <a:gd name="connsiteX48" fmla="*/ 2095 w 12192000"/>
              <a:gd name="connsiteY48" fmla="*/ 3780410 h 6859461"/>
              <a:gd name="connsiteX49" fmla="*/ 5270 w 12192000"/>
              <a:gd name="connsiteY49" fmla="*/ 3780410 h 6859461"/>
              <a:gd name="connsiteX50" fmla="*/ 5270 w 12192000"/>
              <a:gd name="connsiteY50" fmla="*/ 2631314 h 6859461"/>
              <a:gd name="connsiteX51" fmla="*/ 322770 w 12192000"/>
              <a:gd name="connsiteY51" fmla="*/ 2631314 h 6859461"/>
              <a:gd name="connsiteX52" fmla="*/ 322770 w 12192000"/>
              <a:gd name="connsiteY52" fmla="*/ 2392427 h 6859461"/>
              <a:gd name="connsiteX53" fmla="*/ 491680 w 12192000"/>
              <a:gd name="connsiteY53" fmla="*/ 2392427 h 6859461"/>
              <a:gd name="connsiteX54" fmla="*/ 491680 w 12192000"/>
              <a:gd name="connsiteY54" fmla="*/ 2153159 h 6859461"/>
              <a:gd name="connsiteX55" fmla="*/ 589343 w 12192000"/>
              <a:gd name="connsiteY55" fmla="*/ 2153159 h 6859461"/>
              <a:gd name="connsiteX56" fmla="*/ 589343 w 12192000"/>
              <a:gd name="connsiteY56" fmla="*/ 2392427 h 6859461"/>
              <a:gd name="connsiteX57" fmla="*/ 773620 w 12192000"/>
              <a:gd name="connsiteY57" fmla="*/ 2392427 h 6859461"/>
              <a:gd name="connsiteX58" fmla="*/ 773620 w 12192000"/>
              <a:gd name="connsiteY58" fmla="*/ 2631314 h 6859461"/>
              <a:gd name="connsiteX59" fmla="*/ 875030 w 12192000"/>
              <a:gd name="connsiteY59" fmla="*/ 2631314 h 6859461"/>
              <a:gd name="connsiteX60" fmla="*/ 875030 w 12192000"/>
              <a:gd name="connsiteY60" fmla="*/ 2392427 h 6859461"/>
              <a:gd name="connsiteX61" fmla="*/ 1055306 w 12192000"/>
              <a:gd name="connsiteY61" fmla="*/ 2392427 h 6859461"/>
              <a:gd name="connsiteX62" fmla="*/ 1055306 w 12192000"/>
              <a:gd name="connsiteY62" fmla="*/ 2153223 h 6859461"/>
              <a:gd name="connsiteX63" fmla="*/ 874903 w 12192000"/>
              <a:gd name="connsiteY63" fmla="*/ 2153223 h 6859461"/>
              <a:gd name="connsiteX64" fmla="*/ 874903 w 12192000"/>
              <a:gd name="connsiteY64" fmla="*/ 1913955 h 6859461"/>
              <a:gd name="connsiteX65" fmla="*/ 1711388 w 12192000"/>
              <a:gd name="connsiteY65" fmla="*/ 1913955 h 6859461"/>
              <a:gd name="connsiteX66" fmla="*/ 1711388 w 12192000"/>
              <a:gd name="connsiteY66" fmla="*/ 1675385 h 6859461"/>
              <a:gd name="connsiteX67" fmla="*/ 1967484 w 12192000"/>
              <a:gd name="connsiteY67" fmla="*/ 1675385 h 6859461"/>
              <a:gd name="connsiteX68" fmla="*/ 1967484 w 12192000"/>
              <a:gd name="connsiteY68" fmla="*/ 1436117 h 6859461"/>
              <a:gd name="connsiteX69" fmla="*/ 2149348 w 12192000"/>
              <a:gd name="connsiteY69" fmla="*/ 1436117 h 6859461"/>
              <a:gd name="connsiteX70" fmla="*/ 2149348 w 12192000"/>
              <a:gd name="connsiteY70" fmla="*/ 1675385 h 6859461"/>
              <a:gd name="connsiteX71" fmla="*/ 2052193 w 12192000"/>
              <a:gd name="connsiteY71" fmla="*/ 1675385 h 6859461"/>
              <a:gd name="connsiteX72" fmla="*/ 2052193 w 12192000"/>
              <a:gd name="connsiteY72" fmla="*/ 1914209 h 6859461"/>
              <a:gd name="connsiteX73" fmla="*/ 2333942 w 12192000"/>
              <a:gd name="connsiteY73" fmla="*/ 1914209 h 6859461"/>
              <a:gd name="connsiteX74" fmla="*/ 2333942 w 12192000"/>
              <a:gd name="connsiteY74" fmla="*/ 1436117 h 6859461"/>
              <a:gd name="connsiteX75" fmla="*/ 2880742 w 12192000"/>
              <a:gd name="connsiteY75" fmla="*/ 1436117 h 6859461"/>
              <a:gd name="connsiteX76" fmla="*/ 2880742 w 12192000"/>
              <a:gd name="connsiteY76" fmla="*/ 1196341 h 6859461"/>
              <a:gd name="connsiteX77" fmla="*/ 3297556 w 12192000"/>
              <a:gd name="connsiteY77" fmla="*/ 1196341 h 6859461"/>
              <a:gd name="connsiteX78" fmla="*/ 3297556 w 12192000"/>
              <a:gd name="connsiteY78" fmla="*/ 957073 h 6859461"/>
              <a:gd name="connsiteX79" fmla="*/ 3483737 w 12192000"/>
              <a:gd name="connsiteY79" fmla="*/ 957073 h 6859461"/>
              <a:gd name="connsiteX80" fmla="*/ 3483737 w 12192000"/>
              <a:gd name="connsiteY80" fmla="*/ 717297 h 6859461"/>
              <a:gd name="connsiteX81" fmla="*/ 3585146 w 12192000"/>
              <a:gd name="connsiteY81" fmla="*/ 717297 h 6859461"/>
              <a:gd name="connsiteX82" fmla="*/ 3585146 w 12192000"/>
              <a:gd name="connsiteY82" fmla="*/ 940563 h 6859461"/>
              <a:gd name="connsiteX83" fmla="*/ 3585146 w 12192000"/>
              <a:gd name="connsiteY83" fmla="*/ 957073 h 6859461"/>
              <a:gd name="connsiteX84" fmla="*/ 4034980 w 12192000"/>
              <a:gd name="connsiteY84" fmla="*/ 957073 h 6859461"/>
              <a:gd name="connsiteX85" fmla="*/ 4034980 w 12192000"/>
              <a:gd name="connsiteY85" fmla="*/ 1196341 h 6859461"/>
              <a:gd name="connsiteX86" fmla="*/ 4135629 w 12192000"/>
              <a:gd name="connsiteY86" fmla="*/ 1196341 h 6859461"/>
              <a:gd name="connsiteX87" fmla="*/ 4135629 w 12192000"/>
              <a:gd name="connsiteY87" fmla="*/ 957073 h 6859461"/>
              <a:gd name="connsiteX88" fmla="*/ 4344925 w 12192000"/>
              <a:gd name="connsiteY88" fmla="*/ 957073 h 6859461"/>
              <a:gd name="connsiteX89" fmla="*/ 4344925 w 12192000"/>
              <a:gd name="connsiteY89" fmla="*/ 717297 h 6859461"/>
              <a:gd name="connsiteX90" fmla="*/ 4926774 w 12192000"/>
              <a:gd name="connsiteY90" fmla="*/ 717297 h 6859461"/>
              <a:gd name="connsiteX91" fmla="*/ 4926774 w 12192000"/>
              <a:gd name="connsiteY91" fmla="*/ 956565 h 6859461"/>
              <a:gd name="connsiteX92" fmla="*/ 4926774 w 12192000"/>
              <a:gd name="connsiteY92" fmla="*/ 957073 h 6859461"/>
              <a:gd name="connsiteX93" fmla="*/ 5396104 w 12192000"/>
              <a:gd name="connsiteY93" fmla="*/ 957073 h 6859461"/>
              <a:gd name="connsiteX94" fmla="*/ 5396104 w 12192000"/>
              <a:gd name="connsiteY94" fmla="*/ 717805 h 6859461"/>
              <a:gd name="connsiteX95" fmla="*/ 5852795 w 12192000"/>
              <a:gd name="connsiteY95" fmla="*/ 717805 h 6859461"/>
              <a:gd name="connsiteX96" fmla="*/ 5852795 w 12192000"/>
              <a:gd name="connsiteY96" fmla="*/ 478537 h 6859461"/>
              <a:gd name="connsiteX97" fmla="*/ 5659311 w 12192000"/>
              <a:gd name="connsiteY97" fmla="*/ 478537 h 6859461"/>
              <a:gd name="connsiteX98" fmla="*/ 5659311 w 12192000"/>
              <a:gd name="connsiteY98" fmla="*/ 239269 h 6859461"/>
              <a:gd name="connsiteX99" fmla="*/ 6399149 w 12192000"/>
              <a:gd name="connsiteY99" fmla="*/ 239269 h 6859461"/>
              <a:gd name="connsiteX100" fmla="*/ 0 w 12192000"/>
              <a:gd name="connsiteY100" fmla="*/ 1461 h 6859461"/>
              <a:gd name="connsiteX101" fmla="*/ 1 w 12192000"/>
              <a:gd name="connsiteY101" fmla="*/ 1461 h 6859461"/>
              <a:gd name="connsiteX102" fmla="*/ 1 w 12192000"/>
              <a:gd name="connsiteY102" fmla="*/ 6859461 h 6859461"/>
              <a:gd name="connsiteX103" fmla="*/ 0 w 12192000"/>
              <a:gd name="connsiteY103" fmla="*/ 6859461 h 6859461"/>
              <a:gd name="connsiteX104" fmla="*/ 12184379 w 12192000"/>
              <a:gd name="connsiteY104" fmla="*/ 65 h 6859461"/>
              <a:gd name="connsiteX105" fmla="*/ 12184380 w 12192000"/>
              <a:gd name="connsiteY105" fmla="*/ 65 h 6859461"/>
              <a:gd name="connsiteX106" fmla="*/ 12184380 w 12192000"/>
              <a:gd name="connsiteY106" fmla="*/ 1461 h 6859461"/>
              <a:gd name="connsiteX107" fmla="*/ 12184379 w 12192000"/>
              <a:gd name="connsiteY107" fmla="*/ 1461 h 6859461"/>
              <a:gd name="connsiteX108" fmla="*/ 1 w 12192000"/>
              <a:gd name="connsiteY108" fmla="*/ 0 h 6859461"/>
              <a:gd name="connsiteX109" fmla="*/ 12184379 w 12192000"/>
              <a:gd name="connsiteY109" fmla="*/ 0 h 6859461"/>
              <a:gd name="connsiteX110" fmla="*/ 12184379 w 12192000"/>
              <a:gd name="connsiteY110" fmla="*/ 65 h 6859461"/>
              <a:gd name="connsiteX111" fmla="*/ 7844853 w 12192000"/>
              <a:gd name="connsiteY111" fmla="*/ 65 h 6859461"/>
              <a:gd name="connsiteX112" fmla="*/ 7844853 w 12192000"/>
              <a:gd name="connsiteY112" fmla="*/ 1461 h 6859461"/>
              <a:gd name="connsiteX113" fmla="*/ 7742555 w 12192000"/>
              <a:gd name="connsiteY113" fmla="*/ 1461 h 6859461"/>
              <a:gd name="connsiteX114" fmla="*/ 7742555 w 12192000"/>
              <a:gd name="connsiteY114" fmla="*/ 1 h 6859461"/>
              <a:gd name="connsiteX115" fmla="*/ 6399149 w 12192000"/>
              <a:gd name="connsiteY115" fmla="*/ 1 h 6859461"/>
              <a:gd name="connsiteX116" fmla="*/ 6399149 w 12192000"/>
              <a:gd name="connsiteY116" fmla="*/ 1461 h 6859461"/>
              <a:gd name="connsiteX117" fmla="*/ 1 w 12192000"/>
              <a:gd name="connsiteY117" fmla="*/ 1461 h 6859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12192000" h="6859461">
                <a:moveTo>
                  <a:pt x="1417002" y="2153159"/>
                </a:moveTo>
                <a:lnTo>
                  <a:pt x="1417002" y="2392364"/>
                </a:lnTo>
                <a:lnTo>
                  <a:pt x="1519301" y="2392364"/>
                </a:lnTo>
                <a:lnTo>
                  <a:pt x="1519301" y="2153159"/>
                </a:lnTo>
                <a:close/>
                <a:moveTo>
                  <a:pt x="3242565" y="1437006"/>
                </a:moveTo>
                <a:lnTo>
                  <a:pt x="3242565" y="1676274"/>
                </a:lnTo>
                <a:lnTo>
                  <a:pt x="3344862" y="1676274"/>
                </a:lnTo>
                <a:lnTo>
                  <a:pt x="3344862" y="1437006"/>
                </a:lnTo>
                <a:close/>
                <a:moveTo>
                  <a:pt x="3683953" y="1196405"/>
                </a:moveTo>
                <a:lnTo>
                  <a:pt x="3684144" y="1196595"/>
                </a:lnTo>
                <a:lnTo>
                  <a:pt x="3683699" y="1196976"/>
                </a:lnTo>
                <a:lnTo>
                  <a:pt x="3683699" y="1437006"/>
                </a:lnTo>
                <a:lnTo>
                  <a:pt x="3785172" y="1437006"/>
                </a:lnTo>
                <a:lnTo>
                  <a:pt x="3785172" y="1196405"/>
                </a:lnTo>
                <a:close/>
                <a:moveTo>
                  <a:pt x="4288980" y="1196341"/>
                </a:moveTo>
                <a:lnTo>
                  <a:pt x="4288980" y="1435609"/>
                </a:lnTo>
                <a:lnTo>
                  <a:pt x="4470844" y="1435609"/>
                </a:lnTo>
                <a:lnTo>
                  <a:pt x="4470844" y="1196341"/>
                </a:lnTo>
                <a:close/>
                <a:moveTo>
                  <a:pt x="6176327" y="478029"/>
                </a:moveTo>
                <a:lnTo>
                  <a:pt x="6176327" y="717297"/>
                </a:lnTo>
                <a:lnTo>
                  <a:pt x="6278626" y="717297"/>
                </a:lnTo>
                <a:lnTo>
                  <a:pt x="6278626" y="478029"/>
                </a:lnTo>
                <a:close/>
                <a:moveTo>
                  <a:pt x="5047933" y="239268"/>
                </a:moveTo>
                <a:lnTo>
                  <a:pt x="5502529" y="239268"/>
                </a:lnTo>
                <a:lnTo>
                  <a:pt x="5502529" y="478536"/>
                </a:lnTo>
                <a:lnTo>
                  <a:pt x="5047933" y="478536"/>
                </a:lnTo>
                <a:close/>
                <a:moveTo>
                  <a:pt x="4763833" y="239268"/>
                </a:moveTo>
                <a:lnTo>
                  <a:pt x="4945698" y="239268"/>
                </a:lnTo>
                <a:lnTo>
                  <a:pt x="4945698" y="478536"/>
                </a:lnTo>
                <a:lnTo>
                  <a:pt x="4763833" y="478536"/>
                </a:lnTo>
                <a:close/>
                <a:moveTo>
                  <a:pt x="12184380" y="1461"/>
                </a:moveTo>
                <a:lnTo>
                  <a:pt x="12192000" y="1461"/>
                </a:lnTo>
                <a:lnTo>
                  <a:pt x="12192000" y="6859461"/>
                </a:lnTo>
                <a:lnTo>
                  <a:pt x="12184379" y="6859461"/>
                </a:lnTo>
                <a:lnTo>
                  <a:pt x="12184379" y="14187"/>
                </a:lnTo>
                <a:close/>
                <a:moveTo>
                  <a:pt x="6399149" y="1461"/>
                </a:moveTo>
                <a:lnTo>
                  <a:pt x="7742555" y="1461"/>
                </a:lnTo>
                <a:lnTo>
                  <a:pt x="7742555" y="239269"/>
                </a:lnTo>
                <a:lnTo>
                  <a:pt x="7844853" y="239269"/>
                </a:lnTo>
                <a:lnTo>
                  <a:pt x="7844853" y="1461"/>
                </a:lnTo>
                <a:lnTo>
                  <a:pt x="12184379" y="1461"/>
                </a:lnTo>
                <a:lnTo>
                  <a:pt x="12184379" y="14187"/>
                </a:lnTo>
                <a:lnTo>
                  <a:pt x="12184062" y="4121342"/>
                </a:lnTo>
                <a:lnTo>
                  <a:pt x="12179807" y="4121342"/>
                </a:lnTo>
                <a:lnTo>
                  <a:pt x="12179807" y="6855398"/>
                </a:lnTo>
                <a:lnTo>
                  <a:pt x="5270" y="6855398"/>
                </a:lnTo>
                <a:lnTo>
                  <a:pt x="5270" y="6849048"/>
                </a:lnTo>
                <a:lnTo>
                  <a:pt x="2095" y="6849048"/>
                </a:lnTo>
                <a:lnTo>
                  <a:pt x="2095" y="3780410"/>
                </a:lnTo>
                <a:lnTo>
                  <a:pt x="5270" y="3780410"/>
                </a:lnTo>
                <a:lnTo>
                  <a:pt x="5270" y="2631314"/>
                </a:lnTo>
                <a:lnTo>
                  <a:pt x="322770" y="2631314"/>
                </a:lnTo>
                <a:lnTo>
                  <a:pt x="322770" y="2392427"/>
                </a:lnTo>
                <a:lnTo>
                  <a:pt x="491680" y="2392427"/>
                </a:lnTo>
                <a:lnTo>
                  <a:pt x="491680" y="2153159"/>
                </a:lnTo>
                <a:lnTo>
                  <a:pt x="589343" y="2153159"/>
                </a:lnTo>
                <a:lnTo>
                  <a:pt x="589343" y="2392427"/>
                </a:lnTo>
                <a:lnTo>
                  <a:pt x="773620" y="2392427"/>
                </a:lnTo>
                <a:lnTo>
                  <a:pt x="773620" y="2631314"/>
                </a:lnTo>
                <a:lnTo>
                  <a:pt x="875030" y="2631314"/>
                </a:lnTo>
                <a:lnTo>
                  <a:pt x="875030" y="2392427"/>
                </a:lnTo>
                <a:lnTo>
                  <a:pt x="1055306" y="2392427"/>
                </a:lnTo>
                <a:lnTo>
                  <a:pt x="1055306" y="2153223"/>
                </a:lnTo>
                <a:lnTo>
                  <a:pt x="874903" y="2153223"/>
                </a:lnTo>
                <a:lnTo>
                  <a:pt x="874903" y="1913955"/>
                </a:lnTo>
                <a:lnTo>
                  <a:pt x="1711388" y="1913955"/>
                </a:lnTo>
                <a:lnTo>
                  <a:pt x="1711388" y="1675385"/>
                </a:lnTo>
                <a:lnTo>
                  <a:pt x="1967484" y="1675385"/>
                </a:lnTo>
                <a:lnTo>
                  <a:pt x="1967484" y="1436117"/>
                </a:lnTo>
                <a:lnTo>
                  <a:pt x="2149348" y="1436117"/>
                </a:lnTo>
                <a:lnTo>
                  <a:pt x="2149348" y="1675385"/>
                </a:lnTo>
                <a:lnTo>
                  <a:pt x="2052193" y="1675385"/>
                </a:lnTo>
                <a:lnTo>
                  <a:pt x="2052193" y="1914209"/>
                </a:lnTo>
                <a:cubicBezTo>
                  <a:pt x="2052193" y="1914209"/>
                  <a:pt x="2333942" y="1914209"/>
                  <a:pt x="2333942" y="1914209"/>
                </a:cubicBezTo>
                <a:lnTo>
                  <a:pt x="2333942" y="1436117"/>
                </a:lnTo>
                <a:lnTo>
                  <a:pt x="2880742" y="1436117"/>
                </a:lnTo>
                <a:lnTo>
                  <a:pt x="2880742" y="1196341"/>
                </a:lnTo>
                <a:lnTo>
                  <a:pt x="3297556" y="1196341"/>
                </a:lnTo>
                <a:lnTo>
                  <a:pt x="3297556" y="957073"/>
                </a:lnTo>
                <a:lnTo>
                  <a:pt x="3483737" y="957073"/>
                </a:lnTo>
                <a:lnTo>
                  <a:pt x="3483737" y="717297"/>
                </a:lnTo>
                <a:lnTo>
                  <a:pt x="3585146" y="717297"/>
                </a:lnTo>
                <a:lnTo>
                  <a:pt x="3585146" y="940563"/>
                </a:lnTo>
                <a:lnTo>
                  <a:pt x="3585146" y="957073"/>
                </a:lnTo>
                <a:lnTo>
                  <a:pt x="4034980" y="957073"/>
                </a:lnTo>
                <a:lnTo>
                  <a:pt x="4034980" y="1196341"/>
                </a:lnTo>
                <a:lnTo>
                  <a:pt x="4135629" y="1196341"/>
                </a:lnTo>
                <a:lnTo>
                  <a:pt x="4135629" y="957073"/>
                </a:lnTo>
                <a:lnTo>
                  <a:pt x="4344925" y="957073"/>
                </a:lnTo>
                <a:lnTo>
                  <a:pt x="4344925" y="717297"/>
                </a:lnTo>
                <a:lnTo>
                  <a:pt x="4926774" y="717297"/>
                </a:lnTo>
                <a:lnTo>
                  <a:pt x="4926774" y="956565"/>
                </a:lnTo>
                <a:lnTo>
                  <a:pt x="4926774" y="957073"/>
                </a:lnTo>
                <a:lnTo>
                  <a:pt x="5396104" y="957073"/>
                </a:lnTo>
                <a:lnTo>
                  <a:pt x="5396104" y="717805"/>
                </a:lnTo>
                <a:lnTo>
                  <a:pt x="5852795" y="717805"/>
                </a:lnTo>
                <a:lnTo>
                  <a:pt x="5852795" y="478537"/>
                </a:lnTo>
                <a:lnTo>
                  <a:pt x="5659311" y="478537"/>
                </a:lnTo>
                <a:lnTo>
                  <a:pt x="5659311" y="239269"/>
                </a:lnTo>
                <a:lnTo>
                  <a:pt x="6399149" y="239269"/>
                </a:lnTo>
                <a:close/>
                <a:moveTo>
                  <a:pt x="0" y="1461"/>
                </a:moveTo>
                <a:lnTo>
                  <a:pt x="1" y="1461"/>
                </a:lnTo>
                <a:lnTo>
                  <a:pt x="1" y="6859461"/>
                </a:lnTo>
                <a:lnTo>
                  <a:pt x="0" y="6859461"/>
                </a:lnTo>
                <a:close/>
                <a:moveTo>
                  <a:pt x="12184379" y="65"/>
                </a:moveTo>
                <a:lnTo>
                  <a:pt x="12184380" y="65"/>
                </a:lnTo>
                <a:lnTo>
                  <a:pt x="12184380" y="1461"/>
                </a:lnTo>
                <a:lnTo>
                  <a:pt x="12184379" y="1461"/>
                </a:lnTo>
                <a:close/>
                <a:moveTo>
                  <a:pt x="1" y="0"/>
                </a:moveTo>
                <a:lnTo>
                  <a:pt x="12184379" y="0"/>
                </a:lnTo>
                <a:lnTo>
                  <a:pt x="12184379" y="65"/>
                </a:lnTo>
                <a:lnTo>
                  <a:pt x="7844853" y="65"/>
                </a:lnTo>
                <a:lnTo>
                  <a:pt x="7844853" y="1461"/>
                </a:lnTo>
                <a:lnTo>
                  <a:pt x="7742555" y="1461"/>
                </a:lnTo>
                <a:lnTo>
                  <a:pt x="7742555" y="1"/>
                </a:lnTo>
                <a:lnTo>
                  <a:pt x="6399149" y="1"/>
                </a:lnTo>
                <a:lnTo>
                  <a:pt x="6399149" y="1461"/>
                </a:lnTo>
                <a:lnTo>
                  <a:pt x="1" y="1461"/>
                </a:lnTo>
                <a:close/>
              </a:path>
            </a:pathLst>
          </a:custGeom>
          <a:solidFill>
            <a:schemeClr val="tx1"/>
          </a:solidFill>
        </p:spPr>
        <p:txBody>
          <a:bodyPr wrap="square">
            <a:noAutofit/>
          </a:bodyPr>
          <a:lstStyle/>
          <a:p>
            <a:endParaRPr lang="en-US"/>
          </a:p>
        </p:txBody>
      </p:sp>
      <p:sp>
        <p:nvSpPr>
          <p:cNvPr id="3" name="Title Placeholder 13">
            <a:extLst>
              <a:ext uri="{FF2B5EF4-FFF2-40B4-BE49-F238E27FC236}">
                <a16:creationId xmlns:a16="http://schemas.microsoft.com/office/drawing/2014/main" id="{5175FC80-210B-5A2B-F6D8-D7C75DA4C1A6}"/>
              </a:ext>
            </a:extLst>
          </p:cNvPr>
          <p:cNvSpPr>
            <a:spLocks noGrp="1"/>
          </p:cNvSpPr>
          <p:nvPr>
            <p:ph type="title" hasCustomPrompt="1"/>
          </p:nvPr>
        </p:nvSpPr>
        <p:spPr>
          <a:xfrm>
            <a:off x="2616058" y="3024247"/>
            <a:ext cx="4319587" cy="1231106"/>
          </a:xfrm>
          <a:prstGeom prst="rect">
            <a:avLst/>
          </a:prstGeom>
        </p:spPr>
        <p:txBody>
          <a:bodyPr vert="horz" wrap="square" lIns="0" tIns="0" rIns="0" bIns="0" rtlCol="0" anchor="ctr" anchorCtr="0">
            <a:noAutofit/>
          </a:bodyPr>
          <a:lstStyle>
            <a:lvl1pPr>
              <a:lnSpc>
                <a:spcPct val="100000"/>
              </a:lnSpc>
              <a:defRPr sz="4400" b="1">
                <a:solidFill>
                  <a:schemeClr val="bg1"/>
                </a:solidFill>
              </a:defRPr>
            </a:lvl1pPr>
          </a:lstStyle>
          <a:p>
            <a:r>
              <a:rPr lang="en-US"/>
              <a:t>Title slide</a:t>
            </a:r>
            <a:br>
              <a:rPr lang="en-US"/>
            </a:br>
            <a:r>
              <a:rPr lang="en-US"/>
              <a:t>Max. two lines</a:t>
            </a:r>
            <a:endParaRPr lang="en-GB"/>
          </a:p>
        </p:txBody>
      </p:sp>
    </p:spTree>
    <p:extLst>
      <p:ext uri="{BB962C8B-B14F-4D97-AF65-F5344CB8AC3E}">
        <p14:creationId xmlns:p14="http://schemas.microsoft.com/office/powerpoint/2010/main" val="168774194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6BE8D818-BF4A-6255-2C9D-8D2A2D00690E}"/>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3" name="Date Placeholder 10">
            <a:extLst>
              <a:ext uri="{FF2B5EF4-FFF2-40B4-BE49-F238E27FC236}">
                <a16:creationId xmlns:a16="http://schemas.microsoft.com/office/drawing/2014/main" id="{4B0CCC5E-25FF-00F9-4506-EC525EF7CB07}"/>
              </a:ext>
            </a:extLst>
          </p:cNvPr>
          <p:cNvSpPr txBox="1">
            <a:spLocks/>
          </p:cNvSpPr>
          <p:nvPr userDrawn="1"/>
        </p:nvSpPr>
        <p:spPr>
          <a:xfrm>
            <a:off x="815975" y="6338527"/>
            <a:ext cx="1155446" cy="161223"/>
          </a:xfrm>
          <a:prstGeom prst="rect">
            <a:avLst/>
          </a:prstGeom>
        </p:spPr>
        <p:txBody>
          <a:bodyPr vert="horz" lIns="0" tIns="45720" rIns="0" bIns="45720" rtlCol="0" anchor="ctr"/>
          <a:lstStyle>
            <a:defPPr>
              <a:defRPr lang="en-US"/>
            </a:defPPr>
            <a:lvl1pPr marL="0" algn="l"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1CCD1D-71E8-1349-854F-81097F3F287F}" type="datetime4">
              <a:rPr lang="en-GB" smtClean="0">
                <a:solidFill>
                  <a:schemeClr val="bg1"/>
                </a:solidFill>
              </a:rPr>
              <a:pPr/>
              <a:t>17 July 2024</a:t>
            </a:fld>
            <a:endParaRPr lang="en-US">
              <a:solidFill>
                <a:schemeClr val="bg1"/>
              </a:solidFill>
            </a:endParaRPr>
          </a:p>
        </p:txBody>
      </p:sp>
      <p:sp>
        <p:nvSpPr>
          <p:cNvPr id="7" name="Title Placeholder 13">
            <a:extLst>
              <a:ext uri="{FF2B5EF4-FFF2-40B4-BE49-F238E27FC236}">
                <a16:creationId xmlns:a16="http://schemas.microsoft.com/office/drawing/2014/main" id="{104D388C-C8C9-153D-E99E-4E8009911BD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6" name="Rectangle 5">
            <a:extLst>
              <a:ext uri="{FF2B5EF4-FFF2-40B4-BE49-F238E27FC236}">
                <a16:creationId xmlns:a16="http://schemas.microsoft.com/office/drawing/2014/main" id="{EC46EC70-B8F1-8496-9C2F-8EE6ADB5246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0" indent="0" algn="l">
              <a:buFont typeface="+mj-lt"/>
              <a:buNone/>
            </a:pPr>
            <a:r>
              <a:rPr lang="en-US" sz="1400" b="0">
                <a:solidFill>
                  <a:srgbClr val="E40046"/>
                </a:solidFill>
              </a:rPr>
              <a:t>xxx</a:t>
            </a:r>
          </a:p>
          <a:p>
            <a:pPr marL="0" indent="0" algn="l">
              <a:buFont typeface="+mj-lt"/>
              <a:buNone/>
            </a:pPr>
            <a:endParaRPr lang="en-US" sz="1800" b="0">
              <a:solidFill>
                <a:srgbClr val="E40046"/>
              </a:solidFill>
            </a:endParaRPr>
          </a:p>
        </p:txBody>
      </p:sp>
      <p:sp>
        <p:nvSpPr>
          <p:cNvPr id="9" name="Slide Number Placeholder 2">
            <a:extLst>
              <a:ext uri="{FF2B5EF4-FFF2-40B4-BE49-F238E27FC236}">
                <a16:creationId xmlns:a16="http://schemas.microsoft.com/office/drawing/2014/main" id="{A3A49431-06D5-AE22-11F4-C7FE14BF169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4" name="Group 23">
            <a:extLst>
              <a:ext uri="{FF2B5EF4-FFF2-40B4-BE49-F238E27FC236}">
                <a16:creationId xmlns:a16="http://schemas.microsoft.com/office/drawing/2014/main" id="{0A0D3B85-ED5B-1E3D-DFC6-A1D7FF6706C3}"/>
              </a:ext>
            </a:extLst>
          </p:cNvPr>
          <p:cNvGrpSpPr/>
          <p:nvPr userDrawn="1"/>
        </p:nvGrpSpPr>
        <p:grpSpPr>
          <a:xfrm>
            <a:off x="10863102" y="309052"/>
            <a:ext cx="911847" cy="382707"/>
            <a:chOff x="7459170" y="481236"/>
            <a:chExt cx="2697427" cy="1132124"/>
          </a:xfrm>
          <a:solidFill>
            <a:schemeClr val="bg1"/>
          </a:solidFill>
        </p:grpSpPr>
        <p:sp>
          <p:nvSpPr>
            <p:cNvPr id="25" name="Freeform 24">
              <a:extLst>
                <a:ext uri="{FF2B5EF4-FFF2-40B4-BE49-F238E27FC236}">
                  <a16:creationId xmlns:a16="http://schemas.microsoft.com/office/drawing/2014/main" id="{B580446A-1135-33B9-3FAD-2870149BBF3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C26B99C1-1718-1756-8D39-8FEFE2C8793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E66819A6-6CA6-261D-3477-D0DA1E11900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8BF64F8-020F-932B-8EC5-818FBB297D0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4AA0F19-F799-C1C5-BB29-45EC36C8A9A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3489BCCD-110C-3447-0F8C-8E6174676DA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7FFDC9A-C4BA-580D-027F-A202C844C3F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26883526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3" name="Date Placeholder 10">
            <a:extLst>
              <a:ext uri="{FF2B5EF4-FFF2-40B4-BE49-F238E27FC236}">
                <a16:creationId xmlns:a16="http://schemas.microsoft.com/office/drawing/2014/main" id="{ED482B0F-3661-2C0E-F2AE-25C6D5D94EF8}"/>
              </a:ext>
            </a:extLst>
          </p:cNvPr>
          <p:cNvSpPr txBox="1">
            <a:spLocks/>
          </p:cNvSpPr>
          <p:nvPr userDrawn="1"/>
        </p:nvSpPr>
        <p:spPr>
          <a:xfrm>
            <a:off x="815975" y="6338527"/>
            <a:ext cx="1155446" cy="161223"/>
          </a:xfrm>
          <a:prstGeom prst="rect">
            <a:avLst/>
          </a:prstGeom>
        </p:spPr>
        <p:txBody>
          <a:bodyPr vert="horz" lIns="0" tIns="45720" rIns="0" bIns="45720" rtlCol="0" anchor="ctr"/>
          <a:lstStyle>
            <a:defPPr>
              <a:defRPr lang="en-US"/>
            </a:defPPr>
            <a:lvl1pPr marL="0" algn="l"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1CCD1D-71E8-1349-854F-81097F3F287F}" type="datetime4">
              <a:rPr lang="en-GB" smtClean="0">
                <a:solidFill>
                  <a:schemeClr val="bg1"/>
                </a:solidFill>
              </a:rPr>
              <a:pPr/>
              <a:t>17 July 2024</a:t>
            </a:fld>
            <a:endParaRPr lang="en-US">
              <a:solidFill>
                <a:schemeClr val="bg1"/>
              </a:solidFill>
            </a:endParaRPr>
          </a:p>
        </p:txBody>
      </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51212899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3" name="Date Placeholder 10">
            <a:extLst>
              <a:ext uri="{FF2B5EF4-FFF2-40B4-BE49-F238E27FC236}">
                <a16:creationId xmlns:a16="http://schemas.microsoft.com/office/drawing/2014/main" id="{4F4CAD7C-FF45-3678-AFC5-82865E35A9BC}"/>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D3EDD9C2-5D0E-5D47-8559-EB435D292311}" type="datetime4">
              <a:rPr lang="en-GB" smtClean="0"/>
              <a:t>17 July 2024</a:t>
            </a:fld>
            <a:endParaRPr lang="en-US"/>
          </a:p>
        </p:txBody>
      </p:sp>
      <p:sp>
        <p:nvSpPr>
          <p:cNvPr id="9" name="Title Placeholder 13">
            <a:extLst>
              <a:ext uri="{FF2B5EF4-FFF2-40B4-BE49-F238E27FC236}">
                <a16:creationId xmlns:a16="http://schemas.microsoft.com/office/drawing/2014/main" id="{79DE4726-69C5-555D-D13D-0397913A2D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473868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Divider green PoP">
    <p:bg>
      <p:bgRef idx="1001">
        <a:schemeClr val="bg2"/>
      </p:bgRef>
    </p:bg>
    <p:spTree>
      <p:nvGrpSpPr>
        <p:cNvPr id="1" name=""/>
        <p:cNvGrpSpPr/>
        <p:nvPr/>
      </p:nvGrpSpPr>
      <p:grpSpPr>
        <a:xfrm>
          <a:off x="0" y="0"/>
          <a:ext cx="0" cy="0"/>
          <a:chOff x="0" y="0"/>
          <a:chExt cx="0" cy="0"/>
        </a:xfrm>
      </p:grpSpPr>
      <p:sp>
        <p:nvSpPr>
          <p:cNvPr id="6" name="PoP">
            <a:extLst>
              <a:ext uri="{FF2B5EF4-FFF2-40B4-BE49-F238E27FC236}">
                <a16:creationId xmlns:a16="http://schemas.microsoft.com/office/drawing/2014/main" id="{3C85F80A-028E-C256-4277-46CD9C05A03F}"/>
              </a:ext>
            </a:extLst>
          </p:cNvPr>
          <p:cNvSpPr/>
          <p:nvPr>
            <p:custDataLst>
              <p:tags r:id="rId1"/>
            </p:custDataLst>
          </p:nvPr>
        </p:nvSpPr>
        <p:spPr>
          <a:xfrm>
            <a:off x="-1200" y="0"/>
            <a:ext cx="12193200" cy="6858000"/>
          </a:xfrm>
          <a:custGeom>
            <a:avLst/>
            <a:gdLst>
              <a:gd name="connsiteX0" fmla="*/ 1148287 w 12193200"/>
              <a:gd name="connsiteY0" fmla="*/ 2128273 h 6858000"/>
              <a:gd name="connsiteX1" fmla="*/ 1148287 w 12193200"/>
              <a:gd name="connsiteY1" fmla="*/ 2364952 h 6858000"/>
              <a:gd name="connsiteX2" fmla="*/ 1249720 w 12193200"/>
              <a:gd name="connsiteY2" fmla="*/ 2364952 h 6858000"/>
              <a:gd name="connsiteX3" fmla="*/ 1249720 w 12193200"/>
              <a:gd name="connsiteY3" fmla="*/ 2128273 h 6858000"/>
              <a:gd name="connsiteX4" fmla="*/ 2959359 w 12193200"/>
              <a:gd name="connsiteY4" fmla="*/ 1419521 h 6858000"/>
              <a:gd name="connsiteX5" fmla="*/ 2959359 w 12193200"/>
              <a:gd name="connsiteY5" fmla="*/ 1656317 h 6858000"/>
              <a:gd name="connsiteX6" fmla="*/ 3060792 w 12193200"/>
              <a:gd name="connsiteY6" fmla="*/ 1656317 h 6858000"/>
              <a:gd name="connsiteX7" fmla="*/ 3060792 w 12193200"/>
              <a:gd name="connsiteY7" fmla="*/ 1419521 h 6858000"/>
              <a:gd name="connsiteX8" fmla="*/ 1694416 w 12193200"/>
              <a:gd name="connsiteY8" fmla="*/ 1418235 h 6858000"/>
              <a:gd name="connsiteX9" fmla="*/ 1874821 w 12193200"/>
              <a:gd name="connsiteY9" fmla="*/ 1418235 h 6858000"/>
              <a:gd name="connsiteX10" fmla="*/ 1874821 w 12193200"/>
              <a:gd name="connsiteY10" fmla="*/ 1655031 h 6858000"/>
              <a:gd name="connsiteX11" fmla="*/ 1694416 w 12193200"/>
              <a:gd name="connsiteY11" fmla="*/ 1655031 h 6858000"/>
              <a:gd name="connsiteX12" fmla="*/ 3397151 w 12193200"/>
              <a:gd name="connsiteY12" fmla="*/ 1181438 h 6858000"/>
              <a:gd name="connsiteX13" fmla="*/ 3397151 w 12193200"/>
              <a:gd name="connsiteY13" fmla="*/ 1181672 h 6858000"/>
              <a:gd name="connsiteX14" fmla="*/ 3396917 w 12193200"/>
              <a:gd name="connsiteY14" fmla="*/ 1182023 h 6858000"/>
              <a:gd name="connsiteX15" fmla="*/ 3396917 w 12193200"/>
              <a:gd name="connsiteY15" fmla="*/ 1419521 h 6858000"/>
              <a:gd name="connsiteX16" fmla="*/ 3497532 w 12193200"/>
              <a:gd name="connsiteY16" fmla="*/ 1419521 h 6858000"/>
              <a:gd name="connsiteX17" fmla="*/ 3497532 w 12193200"/>
              <a:gd name="connsiteY17" fmla="*/ 1181438 h 6858000"/>
              <a:gd name="connsiteX18" fmla="*/ 3997448 w 12193200"/>
              <a:gd name="connsiteY18" fmla="*/ 1181320 h 6858000"/>
              <a:gd name="connsiteX19" fmla="*/ 3997448 w 12193200"/>
              <a:gd name="connsiteY19" fmla="*/ 1418117 h 6858000"/>
              <a:gd name="connsiteX20" fmla="*/ 4177853 w 12193200"/>
              <a:gd name="connsiteY20" fmla="*/ 1418117 h 6858000"/>
              <a:gd name="connsiteX21" fmla="*/ 4177853 w 12193200"/>
              <a:gd name="connsiteY21" fmla="*/ 1181320 h 6858000"/>
              <a:gd name="connsiteX22" fmla="*/ 5869826 w 12193200"/>
              <a:gd name="connsiteY22" fmla="*/ 470580 h 6858000"/>
              <a:gd name="connsiteX23" fmla="*/ 5869826 w 12193200"/>
              <a:gd name="connsiteY23" fmla="*/ 707377 h 6858000"/>
              <a:gd name="connsiteX24" fmla="*/ 5971259 w 12193200"/>
              <a:gd name="connsiteY24" fmla="*/ 707377 h 6858000"/>
              <a:gd name="connsiteX25" fmla="*/ 5971259 w 12193200"/>
              <a:gd name="connsiteY25" fmla="*/ 470580 h 6858000"/>
              <a:gd name="connsiteX26" fmla="*/ 4750308 w 12193200"/>
              <a:gd name="connsiteY26" fmla="*/ 234369 h 6858000"/>
              <a:gd name="connsiteX27" fmla="*/ 5201320 w 12193200"/>
              <a:gd name="connsiteY27" fmla="*/ 234369 h 6858000"/>
              <a:gd name="connsiteX28" fmla="*/ 5201320 w 12193200"/>
              <a:gd name="connsiteY28" fmla="*/ 471165 h 6858000"/>
              <a:gd name="connsiteX29" fmla="*/ 4750308 w 12193200"/>
              <a:gd name="connsiteY29" fmla="*/ 471165 h 6858000"/>
              <a:gd name="connsiteX30" fmla="*/ 4468468 w 12193200"/>
              <a:gd name="connsiteY30" fmla="*/ 234369 h 6858000"/>
              <a:gd name="connsiteX31" fmla="*/ 4648874 w 12193200"/>
              <a:gd name="connsiteY31" fmla="*/ 234369 h 6858000"/>
              <a:gd name="connsiteX32" fmla="*/ 4648874 w 12193200"/>
              <a:gd name="connsiteY32" fmla="*/ 471165 h 6858000"/>
              <a:gd name="connsiteX33" fmla="*/ 4468468 w 12193200"/>
              <a:gd name="connsiteY33" fmla="*/ 471165 h 6858000"/>
              <a:gd name="connsiteX34" fmla="*/ 6042859 w 12193200"/>
              <a:gd name="connsiteY34" fmla="*/ 0 h 6858000"/>
              <a:gd name="connsiteX35" fmla="*/ 7423510 w 12193200"/>
              <a:gd name="connsiteY35" fmla="*/ 0 h 6858000"/>
              <a:gd name="connsiteX36" fmla="*/ 7423510 w 12193200"/>
              <a:gd name="connsiteY36" fmla="*/ 234369 h 6858000"/>
              <a:gd name="connsiteX37" fmla="*/ 7524943 w 12193200"/>
              <a:gd name="connsiteY37" fmla="*/ 234369 h 6858000"/>
              <a:gd name="connsiteX38" fmla="*/ 7524943 w 12193200"/>
              <a:gd name="connsiteY38" fmla="*/ 0 h 6858000"/>
              <a:gd name="connsiteX39" fmla="*/ 12193200 w 12193200"/>
              <a:gd name="connsiteY39" fmla="*/ 0 h 6858000"/>
              <a:gd name="connsiteX40" fmla="*/ 12193200 w 12193200"/>
              <a:gd name="connsiteY40" fmla="*/ 6858000 h 6858000"/>
              <a:gd name="connsiteX41" fmla="*/ 0 w 12193200"/>
              <a:gd name="connsiteY41" fmla="*/ 6858000 h 6858000"/>
              <a:gd name="connsiteX42" fmla="*/ 0 w 12193200"/>
              <a:gd name="connsiteY42" fmla="*/ 2364601 h 6858000"/>
              <a:gd name="connsiteX43" fmla="*/ 133594 w 12193200"/>
              <a:gd name="connsiteY43" fmla="*/ 2364601 h 6858000"/>
              <a:gd name="connsiteX44" fmla="*/ 133594 w 12193200"/>
              <a:gd name="connsiteY44" fmla="*/ 2127805 h 6858000"/>
              <a:gd name="connsiteX45" fmla="*/ 231284 w 12193200"/>
              <a:gd name="connsiteY45" fmla="*/ 2127805 h 6858000"/>
              <a:gd name="connsiteX46" fmla="*/ 231284 w 12193200"/>
              <a:gd name="connsiteY46" fmla="*/ 2364601 h 6858000"/>
              <a:gd name="connsiteX47" fmla="*/ 415668 w 12193200"/>
              <a:gd name="connsiteY47" fmla="*/ 2364601 h 6858000"/>
              <a:gd name="connsiteX48" fmla="*/ 415668 w 12193200"/>
              <a:gd name="connsiteY48" fmla="*/ 2601046 h 6858000"/>
              <a:gd name="connsiteX49" fmla="*/ 517102 w 12193200"/>
              <a:gd name="connsiteY49" fmla="*/ 2601046 h 6858000"/>
              <a:gd name="connsiteX50" fmla="*/ 517102 w 12193200"/>
              <a:gd name="connsiteY50" fmla="*/ 2364601 h 6858000"/>
              <a:gd name="connsiteX51" fmla="*/ 697507 w 12193200"/>
              <a:gd name="connsiteY51" fmla="*/ 2364601 h 6858000"/>
              <a:gd name="connsiteX52" fmla="*/ 697507 w 12193200"/>
              <a:gd name="connsiteY52" fmla="*/ 2127921 h 6858000"/>
              <a:gd name="connsiteX53" fmla="*/ 517102 w 12193200"/>
              <a:gd name="connsiteY53" fmla="*/ 2127921 h 6858000"/>
              <a:gd name="connsiteX54" fmla="*/ 517102 w 12193200"/>
              <a:gd name="connsiteY54" fmla="*/ 1891125 h 6858000"/>
              <a:gd name="connsiteX55" fmla="*/ 1353611 w 12193200"/>
              <a:gd name="connsiteY55" fmla="*/ 1891125 h 6858000"/>
              <a:gd name="connsiteX56" fmla="*/ 1353611 w 12193200"/>
              <a:gd name="connsiteY56" fmla="*/ 1655031 h 6858000"/>
              <a:gd name="connsiteX57" fmla="*/ 1694416 w 12193200"/>
              <a:gd name="connsiteY57" fmla="*/ 1655031 h 6858000"/>
              <a:gd name="connsiteX58" fmla="*/ 1694416 w 12193200"/>
              <a:gd name="connsiteY58" fmla="*/ 1891360 h 6858000"/>
              <a:gd name="connsiteX59" fmla="*/ 1976255 w 12193200"/>
              <a:gd name="connsiteY59" fmla="*/ 1891360 h 6858000"/>
              <a:gd name="connsiteX60" fmla="*/ 1976255 w 12193200"/>
              <a:gd name="connsiteY60" fmla="*/ 1418235 h 6858000"/>
              <a:gd name="connsiteX61" fmla="*/ 2427268 w 12193200"/>
              <a:gd name="connsiteY61" fmla="*/ 1418235 h 6858000"/>
              <a:gd name="connsiteX62" fmla="*/ 2523204 w 12193200"/>
              <a:gd name="connsiteY62" fmla="*/ 1418235 h 6858000"/>
              <a:gd name="connsiteX63" fmla="*/ 2523204 w 12193200"/>
              <a:gd name="connsiteY63" fmla="*/ 1180970 h 6858000"/>
              <a:gd name="connsiteX64" fmla="*/ 2940171 w 12193200"/>
              <a:gd name="connsiteY64" fmla="*/ 1180970 h 6858000"/>
              <a:gd name="connsiteX65" fmla="*/ 2940171 w 12193200"/>
              <a:gd name="connsiteY65" fmla="*/ 944174 h 6858000"/>
              <a:gd name="connsiteX66" fmla="*/ 3126426 w 12193200"/>
              <a:gd name="connsiteY66" fmla="*/ 944174 h 6858000"/>
              <a:gd name="connsiteX67" fmla="*/ 3126426 w 12193200"/>
              <a:gd name="connsiteY67" fmla="*/ 706909 h 6858000"/>
              <a:gd name="connsiteX68" fmla="*/ 3227977 w 12193200"/>
              <a:gd name="connsiteY68" fmla="*/ 706909 h 6858000"/>
              <a:gd name="connsiteX69" fmla="*/ 3227977 w 12193200"/>
              <a:gd name="connsiteY69" fmla="*/ 944174 h 6858000"/>
              <a:gd name="connsiteX70" fmla="*/ 3677938 w 12193200"/>
              <a:gd name="connsiteY70" fmla="*/ 944174 h 6858000"/>
              <a:gd name="connsiteX71" fmla="*/ 3677938 w 12193200"/>
              <a:gd name="connsiteY71" fmla="*/ 1180970 h 6858000"/>
              <a:gd name="connsiteX72" fmla="*/ 3778553 w 12193200"/>
              <a:gd name="connsiteY72" fmla="*/ 1180970 h 6858000"/>
              <a:gd name="connsiteX73" fmla="*/ 3778553 w 12193200"/>
              <a:gd name="connsiteY73" fmla="*/ 944174 h 6858000"/>
              <a:gd name="connsiteX74" fmla="*/ 3987855 w 12193200"/>
              <a:gd name="connsiteY74" fmla="*/ 944174 h 6858000"/>
              <a:gd name="connsiteX75" fmla="*/ 3987855 w 12193200"/>
              <a:gd name="connsiteY75" fmla="*/ 706909 h 6858000"/>
              <a:gd name="connsiteX76" fmla="*/ 4569902 w 12193200"/>
              <a:gd name="connsiteY76" fmla="*/ 706909 h 6858000"/>
              <a:gd name="connsiteX77" fmla="*/ 4569902 w 12193200"/>
              <a:gd name="connsiteY77" fmla="*/ 944174 h 6858000"/>
              <a:gd name="connsiteX78" fmla="*/ 5039400 w 12193200"/>
              <a:gd name="connsiteY78" fmla="*/ 944174 h 6858000"/>
              <a:gd name="connsiteX79" fmla="*/ 5039400 w 12193200"/>
              <a:gd name="connsiteY79" fmla="*/ 707377 h 6858000"/>
              <a:gd name="connsiteX80" fmla="*/ 5496262 w 12193200"/>
              <a:gd name="connsiteY80" fmla="*/ 707377 h 6858000"/>
              <a:gd name="connsiteX81" fmla="*/ 5496262 w 12193200"/>
              <a:gd name="connsiteY81" fmla="*/ 470580 h 6858000"/>
              <a:gd name="connsiteX82" fmla="*/ 5302755 w 12193200"/>
              <a:gd name="connsiteY82" fmla="*/ 470580 h 6858000"/>
              <a:gd name="connsiteX83" fmla="*/ 5302755 w 12193200"/>
              <a:gd name="connsiteY83" fmla="*/ 233784 h 6858000"/>
              <a:gd name="connsiteX84" fmla="*/ 6042859 w 12193200"/>
              <a:gd name="connsiteY84" fmla="*/ 2337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193200" h="6858000">
                <a:moveTo>
                  <a:pt x="1148287" y="2128273"/>
                </a:moveTo>
                <a:lnTo>
                  <a:pt x="1148287" y="2364952"/>
                </a:lnTo>
                <a:lnTo>
                  <a:pt x="1249720" y="2364952"/>
                </a:lnTo>
                <a:lnTo>
                  <a:pt x="1249720" y="2128273"/>
                </a:lnTo>
                <a:close/>
                <a:moveTo>
                  <a:pt x="2959359" y="1419521"/>
                </a:moveTo>
                <a:lnTo>
                  <a:pt x="2959359" y="1656317"/>
                </a:lnTo>
                <a:lnTo>
                  <a:pt x="3060792" y="1656317"/>
                </a:lnTo>
                <a:lnTo>
                  <a:pt x="3060792" y="1419521"/>
                </a:lnTo>
                <a:close/>
                <a:moveTo>
                  <a:pt x="1694416" y="1418235"/>
                </a:moveTo>
                <a:lnTo>
                  <a:pt x="1874821" y="1418235"/>
                </a:lnTo>
                <a:lnTo>
                  <a:pt x="1874821" y="1655031"/>
                </a:lnTo>
                <a:lnTo>
                  <a:pt x="1694416" y="1655031"/>
                </a:lnTo>
                <a:close/>
                <a:moveTo>
                  <a:pt x="3397151" y="1181438"/>
                </a:moveTo>
                <a:lnTo>
                  <a:pt x="3397151" y="1181672"/>
                </a:lnTo>
                <a:cubicBezTo>
                  <a:pt x="3397151" y="1181672"/>
                  <a:pt x="3396917" y="1182023"/>
                  <a:pt x="3396917" y="1182023"/>
                </a:cubicBezTo>
                <a:lnTo>
                  <a:pt x="3396917" y="1419521"/>
                </a:lnTo>
                <a:lnTo>
                  <a:pt x="3497532" y="1419521"/>
                </a:lnTo>
                <a:lnTo>
                  <a:pt x="3497532" y="1181438"/>
                </a:lnTo>
                <a:close/>
                <a:moveTo>
                  <a:pt x="3997448" y="1181320"/>
                </a:moveTo>
                <a:lnTo>
                  <a:pt x="3997448" y="1418117"/>
                </a:lnTo>
                <a:lnTo>
                  <a:pt x="4177853" y="1418117"/>
                </a:lnTo>
                <a:lnTo>
                  <a:pt x="4177853" y="1181320"/>
                </a:lnTo>
                <a:close/>
                <a:moveTo>
                  <a:pt x="5869826" y="470580"/>
                </a:moveTo>
                <a:lnTo>
                  <a:pt x="5869826" y="707377"/>
                </a:lnTo>
                <a:lnTo>
                  <a:pt x="5971259" y="707377"/>
                </a:lnTo>
                <a:lnTo>
                  <a:pt x="5971259" y="470580"/>
                </a:lnTo>
                <a:close/>
                <a:moveTo>
                  <a:pt x="4750308" y="234369"/>
                </a:moveTo>
                <a:lnTo>
                  <a:pt x="5201320" y="234369"/>
                </a:lnTo>
                <a:lnTo>
                  <a:pt x="5201320" y="471165"/>
                </a:lnTo>
                <a:lnTo>
                  <a:pt x="4750308" y="471165"/>
                </a:lnTo>
                <a:close/>
                <a:moveTo>
                  <a:pt x="4468468" y="234369"/>
                </a:moveTo>
                <a:lnTo>
                  <a:pt x="4648874" y="234369"/>
                </a:lnTo>
                <a:lnTo>
                  <a:pt x="4648874" y="471165"/>
                </a:lnTo>
                <a:lnTo>
                  <a:pt x="4468468" y="471165"/>
                </a:lnTo>
                <a:close/>
                <a:moveTo>
                  <a:pt x="6042859" y="0"/>
                </a:moveTo>
                <a:lnTo>
                  <a:pt x="7423510" y="0"/>
                </a:lnTo>
                <a:lnTo>
                  <a:pt x="7423510" y="234369"/>
                </a:lnTo>
                <a:lnTo>
                  <a:pt x="7524943" y="234369"/>
                </a:lnTo>
                <a:lnTo>
                  <a:pt x="7524943" y="0"/>
                </a:lnTo>
                <a:lnTo>
                  <a:pt x="12193200" y="0"/>
                </a:lnTo>
                <a:lnTo>
                  <a:pt x="12193200" y="6858000"/>
                </a:lnTo>
                <a:lnTo>
                  <a:pt x="0" y="6858000"/>
                </a:lnTo>
                <a:lnTo>
                  <a:pt x="0" y="2364601"/>
                </a:lnTo>
                <a:lnTo>
                  <a:pt x="133594" y="2364601"/>
                </a:lnTo>
                <a:lnTo>
                  <a:pt x="133594" y="2127805"/>
                </a:lnTo>
                <a:lnTo>
                  <a:pt x="231284" y="2127805"/>
                </a:lnTo>
                <a:lnTo>
                  <a:pt x="231284" y="2364601"/>
                </a:lnTo>
                <a:lnTo>
                  <a:pt x="415668" y="2364601"/>
                </a:lnTo>
                <a:lnTo>
                  <a:pt x="415668" y="2601046"/>
                </a:lnTo>
                <a:lnTo>
                  <a:pt x="517102" y="2601046"/>
                </a:lnTo>
                <a:lnTo>
                  <a:pt x="517102" y="2364601"/>
                </a:lnTo>
                <a:lnTo>
                  <a:pt x="697507" y="2364601"/>
                </a:lnTo>
                <a:lnTo>
                  <a:pt x="697507" y="2127921"/>
                </a:lnTo>
                <a:lnTo>
                  <a:pt x="517102" y="2127921"/>
                </a:lnTo>
                <a:lnTo>
                  <a:pt x="517102" y="1891125"/>
                </a:lnTo>
                <a:lnTo>
                  <a:pt x="1353611" y="1891125"/>
                </a:lnTo>
                <a:lnTo>
                  <a:pt x="1353611" y="1655031"/>
                </a:lnTo>
                <a:lnTo>
                  <a:pt x="1694416" y="1655031"/>
                </a:lnTo>
                <a:lnTo>
                  <a:pt x="1694416" y="1891360"/>
                </a:lnTo>
                <a:lnTo>
                  <a:pt x="1976255" y="1891360"/>
                </a:lnTo>
                <a:lnTo>
                  <a:pt x="1976255" y="1418235"/>
                </a:lnTo>
                <a:cubicBezTo>
                  <a:pt x="1976255" y="1418235"/>
                  <a:pt x="2427268" y="1418235"/>
                  <a:pt x="2427268" y="1418235"/>
                </a:cubicBezTo>
                <a:lnTo>
                  <a:pt x="2523204" y="1418235"/>
                </a:lnTo>
                <a:lnTo>
                  <a:pt x="2523204" y="1180970"/>
                </a:lnTo>
                <a:lnTo>
                  <a:pt x="2940171" y="1180970"/>
                </a:lnTo>
                <a:lnTo>
                  <a:pt x="2940171" y="944174"/>
                </a:lnTo>
                <a:lnTo>
                  <a:pt x="3126426" y="944174"/>
                </a:lnTo>
                <a:lnTo>
                  <a:pt x="3126426" y="706909"/>
                </a:lnTo>
                <a:lnTo>
                  <a:pt x="3227977" y="706909"/>
                </a:lnTo>
                <a:lnTo>
                  <a:pt x="3227977" y="944174"/>
                </a:lnTo>
                <a:lnTo>
                  <a:pt x="3677938" y="944174"/>
                </a:lnTo>
                <a:lnTo>
                  <a:pt x="3677938" y="1180970"/>
                </a:lnTo>
                <a:lnTo>
                  <a:pt x="3778553" y="1180970"/>
                </a:lnTo>
                <a:lnTo>
                  <a:pt x="3778553" y="944174"/>
                </a:lnTo>
                <a:lnTo>
                  <a:pt x="3987855" y="944174"/>
                </a:lnTo>
                <a:lnTo>
                  <a:pt x="3987855" y="706909"/>
                </a:lnTo>
                <a:lnTo>
                  <a:pt x="4569902" y="706909"/>
                </a:lnTo>
                <a:lnTo>
                  <a:pt x="4569902" y="944174"/>
                </a:lnTo>
                <a:lnTo>
                  <a:pt x="5039400" y="944174"/>
                </a:lnTo>
                <a:lnTo>
                  <a:pt x="5039400" y="707377"/>
                </a:lnTo>
                <a:lnTo>
                  <a:pt x="5496262" y="707377"/>
                </a:lnTo>
                <a:lnTo>
                  <a:pt x="5496262" y="470580"/>
                </a:lnTo>
                <a:lnTo>
                  <a:pt x="5302755" y="470580"/>
                </a:lnTo>
                <a:lnTo>
                  <a:pt x="5302755" y="233784"/>
                </a:lnTo>
                <a:lnTo>
                  <a:pt x="6042859" y="233784"/>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Text Placeholder 2">
            <a:extLst>
              <a:ext uri="{FF2B5EF4-FFF2-40B4-BE49-F238E27FC236}">
                <a16:creationId xmlns:a16="http://schemas.microsoft.com/office/drawing/2014/main" id="{61B2ABDA-DDAF-9A77-BDC2-22003E3AAD92}"/>
              </a:ext>
            </a:extLst>
          </p:cNvPr>
          <p:cNvSpPr>
            <a:spLocks noGrp="1"/>
          </p:cNvSpPr>
          <p:nvPr>
            <p:ph type="body" idx="1"/>
          </p:nvPr>
        </p:nvSpPr>
        <p:spPr>
          <a:xfrm>
            <a:off x="2586038" y="3789005"/>
            <a:ext cx="4319587" cy="1590188"/>
          </a:xfrm>
        </p:spPr>
        <p:txBody>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Section Title">
            <a:extLst>
              <a:ext uri="{FF2B5EF4-FFF2-40B4-BE49-F238E27FC236}">
                <a16:creationId xmlns:a16="http://schemas.microsoft.com/office/drawing/2014/main" id="{2251077D-1245-F768-6D1A-DF5DA28DC78D}"/>
              </a:ext>
            </a:extLst>
          </p:cNvPr>
          <p:cNvSpPr>
            <a:spLocks noGrp="1"/>
          </p:cNvSpPr>
          <p:nvPr>
            <p:ph type="title"/>
          </p:nvPr>
        </p:nvSpPr>
        <p:spPr>
          <a:xfrm>
            <a:off x="2586038" y="2429999"/>
            <a:ext cx="4319587" cy="1260000"/>
          </a:xfrm>
        </p:spPr>
        <p:txBody>
          <a:bodyPr anchor="t" anchorCtr="0"/>
          <a:lstStyle>
            <a:lvl1pPr>
              <a:defRPr sz="4000">
                <a:solidFill>
                  <a:schemeClr val="tx1"/>
                </a:solidFill>
              </a:defRPr>
            </a:lvl1pPr>
          </a:lstStyle>
          <a:p>
            <a:r>
              <a:rPr lang="en-US"/>
              <a:t>Click to edit Master title style</a:t>
            </a:r>
            <a:endParaRPr lang="en-GB" dirty="0"/>
          </a:p>
        </p:txBody>
      </p:sp>
      <p:pic>
        <p:nvPicPr>
          <p:cNvPr id="4" name="Logo">
            <a:extLst>
              <a:ext uri="{FF2B5EF4-FFF2-40B4-BE49-F238E27FC236}">
                <a16:creationId xmlns:a16="http://schemas.microsoft.com/office/drawing/2014/main" id="{8E8AD914-0C21-90CD-ED7A-DD6881D6C8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71388" y="684213"/>
            <a:ext cx="1232421" cy="518400"/>
          </a:xfrm>
          <a:prstGeom prst="rect">
            <a:avLst/>
          </a:prstGeom>
        </p:spPr>
      </p:pic>
    </p:spTree>
    <p:extLst>
      <p:ext uri="{BB962C8B-B14F-4D97-AF65-F5344CB8AC3E}">
        <p14:creationId xmlns:p14="http://schemas.microsoft.com/office/powerpoint/2010/main" val="1086680366"/>
      </p:ext>
    </p:extLst>
  </p:cSld>
  <p:clrMapOvr>
    <a:overrideClrMapping bg1="dk1" tx1="lt1" bg2="dk2" tx2="lt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3" name="Date Placeholder 10">
            <a:extLst>
              <a:ext uri="{FF2B5EF4-FFF2-40B4-BE49-F238E27FC236}">
                <a16:creationId xmlns:a16="http://schemas.microsoft.com/office/drawing/2014/main" id="{4F4CAD7C-FF45-3678-AFC5-82865E35A9BC}"/>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D3EDD9C2-5D0E-5D47-8559-EB435D292311}" type="datetime4">
              <a:rPr lang="en-GB" smtClean="0"/>
              <a:t>17 July 2024</a:t>
            </a:fld>
            <a:endParaRPr lang="en-US"/>
          </a:p>
        </p:txBody>
      </p:sp>
      <p:sp>
        <p:nvSpPr>
          <p:cNvPr id="9" name="Title Placeholder 13">
            <a:extLst>
              <a:ext uri="{FF2B5EF4-FFF2-40B4-BE49-F238E27FC236}">
                <a16:creationId xmlns:a16="http://schemas.microsoft.com/office/drawing/2014/main" id="{79DE4726-69C5-555D-D13D-0397913A2D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24942804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4_Title Only">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pic>
        <p:nvPicPr>
          <p:cNvPr id="7" name="Graphic 6">
            <a:extLst>
              <a:ext uri="{FF2B5EF4-FFF2-40B4-BE49-F238E27FC236}">
                <a16:creationId xmlns:a16="http://schemas.microsoft.com/office/drawing/2014/main" id="{CE6FFEB1-D53E-7F13-D1AC-68619E6876F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3" name="Date Placeholder 10">
            <a:extLst>
              <a:ext uri="{FF2B5EF4-FFF2-40B4-BE49-F238E27FC236}">
                <a16:creationId xmlns:a16="http://schemas.microsoft.com/office/drawing/2014/main" id="{ED482B0F-3661-2C0E-F2AE-25C6D5D94EF8}"/>
              </a:ext>
            </a:extLst>
          </p:cNvPr>
          <p:cNvSpPr txBox="1">
            <a:spLocks/>
          </p:cNvSpPr>
          <p:nvPr userDrawn="1"/>
        </p:nvSpPr>
        <p:spPr>
          <a:xfrm>
            <a:off x="815975" y="6338527"/>
            <a:ext cx="1155446" cy="161223"/>
          </a:xfrm>
          <a:prstGeom prst="rect">
            <a:avLst/>
          </a:prstGeom>
        </p:spPr>
        <p:txBody>
          <a:bodyPr vert="horz" lIns="0" tIns="45720" rIns="0" bIns="45720" rtlCol="0" anchor="ctr"/>
          <a:lstStyle>
            <a:defPPr>
              <a:defRPr lang="en-US"/>
            </a:defPPr>
            <a:lvl1pPr marL="0" algn="l"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1CCD1D-71E8-1349-854F-81097F3F287F}" type="datetime4">
              <a:rPr lang="en-GB" smtClean="0">
                <a:solidFill>
                  <a:schemeClr val="bg1"/>
                </a:solidFill>
              </a:rPr>
              <a:pPr/>
              <a:t>17 July 2024</a:t>
            </a:fld>
            <a:endParaRPr lang="en-US">
              <a:solidFill>
                <a:schemeClr val="bg1"/>
              </a:solidFill>
            </a:endParaRPr>
          </a:p>
        </p:txBody>
      </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6" name="Title 5">
            <a:extLst>
              <a:ext uri="{FF2B5EF4-FFF2-40B4-BE49-F238E27FC236}">
                <a16:creationId xmlns:a16="http://schemas.microsoft.com/office/drawing/2014/main" id="{26A360D9-EFD9-9B5E-7F83-63254BC499E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48457925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6_Title Only">
    <p:bg>
      <p:bgPr>
        <a:solidFill>
          <a:schemeClr val="accent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9243993-DCF4-918A-43FA-C47318EEBEC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3" name="Date Placeholder 10">
            <a:extLst>
              <a:ext uri="{FF2B5EF4-FFF2-40B4-BE49-F238E27FC236}">
                <a16:creationId xmlns:a16="http://schemas.microsoft.com/office/drawing/2014/main" id="{ED482B0F-3661-2C0E-F2AE-25C6D5D94EF8}"/>
              </a:ext>
            </a:extLst>
          </p:cNvPr>
          <p:cNvSpPr txBox="1">
            <a:spLocks/>
          </p:cNvSpPr>
          <p:nvPr userDrawn="1"/>
        </p:nvSpPr>
        <p:spPr>
          <a:xfrm>
            <a:off x="815975" y="6338527"/>
            <a:ext cx="1155446" cy="161223"/>
          </a:xfrm>
          <a:prstGeom prst="rect">
            <a:avLst/>
          </a:prstGeom>
        </p:spPr>
        <p:txBody>
          <a:bodyPr vert="horz" lIns="0" tIns="45720" rIns="0" bIns="45720" rtlCol="0" anchor="ctr"/>
          <a:lstStyle>
            <a:defPPr>
              <a:defRPr lang="en-US"/>
            </a:defPPr>
            <a:lvl1pPr marL="0" algn="l"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1CCD1D-71E8-1349-854F-81097F3F287F}" type="datetime4">
              <a:rPr lang="en-GB" smtClean="0">
                <a:solidFill>
                  <a:schemeClr val="bg1"/>
                </a:solidFill>
              </a:rPr>
              <a:pPr/>
              <a:t>17 July 2024</a:t>
            </a:fld>
            <a:endParaRPr lang="en-US">
              <a:solidFill>
                <a:schemeClr val="bg1"/>
              </a:solidFill>
            </a:endParaRPr>
          </a:p>
        </p:txBody>
      </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spTree>
    <p:extLst>
      <p:ext uri="{BB962C8B-B14F-4D97-AF65-F5344CB8AC3E}">
        <p14:creationId xmlns:p14="http://schemas.microsoft.com/office/powerpoint/2010/main" val="63984906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7_Title Only">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3" name="Date Placeholder 10">
            <a:extLst>
              <a:ext uri="{FF2B5EF4-FFF2-40B4-BE49-F238E27FC236}">
                <a16:creationId xmlns:a16="http://schemas.microsoft.com/office/drawing/2014/main" id="{ED482B0F-3661-2C0E-F2AE-25C6D5D94EF8}"/>
              </a:ext>
            </a:extLst>
          </p:cNvPr>
          <p:cNvSpPr txBox="1">
            <a:spLocks/>
          </p:cNvSpPr>
          <p:nvPr userDrawn="1"/>
        </p:nvSpPr>
        <p:spPr>
          <a:xfrm>
            <a:off x="815975" y="6338527"/>
            <a:ext cx="1155446" cy="161223"/>
          </a:xfrm>
          <a:prstGeom prst="rect">
            <a:avLst/>
          </a:prstGeom>
        </p:spPr>
        <p:txBody>
          <a:bodyPr vert="horz" lIns="0" tIns="45720" rIns="0" bIns="45720" rtlCol="0" anchor="ctr"/>
          <a:lstStyle>
            <a:defPPr>
              <a:defRPr lang="en-US"/>
            </a:defPPr>
            <a:lvl1pPr marL="0" algn="l"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1CCD1D-71E8-1349-854F-81097F3F287F}" type="datetime4">
              <a:rPr lang="en-GB" smtClean="0">
                <a:solidFill>
                  <a:schemeClr val="bg1"/>
                </a:solidFill>
              </a:rPr>
              <a:pPr/>
              <a:t>17 July 2024</a:t>
            </a:fld>
            <a:endParaRPr lang="en-US">
              <a:solidFill>
                <a:schemeClr val="bg1"/>
              </a:solidFill>
            </a:endParaRPr>
          </a:p>
        </p:txBody>
      </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04323521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9_Title Only">
    <p:bg>
      <p:bgPr>
        <a:solidFill>
          <a:schemeClr val="accent4"/>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4058A20-5A6B-F5DB-969D-CC8F3EEF2EF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3" name="Date Placeholder 10">
            <a:extLst>
              <a:ext uri="{FF2B5EF4-FFF2-40B4-BE49-F238E27FC236}">
                <a16:creationId xmlns:a16="http://schemas.microsoft.com/office/drawing/2014/main" id="{ED482B0F-3661-2C0E-F2AE-25C6D5D94EF8}"/>
              </a:ext>
            </a:extLst>
          </p:cNvPr>
          <p:cNvSpPr txBox="1">
            <a:spLocks/>
          </p:cNvSpPr>
          <p:nvPr userDrawn="1"/>
        </p:nvSpPr>
        <p:spPr>
          <a:xfrm>
            <a:off x="815975" y="6338527"/>
            <a:ext cx="1155446" cy="161223"/>
          </a:xfrm>
          <a:prstGeom prst="rect">
            <a:avLst/>
          </a:prstGeom>
        </p:spPr>
        <p:txBody>
          <a:bodyPr vert="horz" lIns="0" tIns="45720" rIns="0" bIns="45720" rtlCol="0" anchor="ctr"/>
          <a:lstStyle>
            <a:defPPr>
              <a:defRPr lang="en-US"/>
            </a:defPPr>
            <a:lvl1pPr marL="0" algn="l"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1CCD1D-71E8-1349-854F-81097F3F287F}" type="datetime4">
              <a:rPr lang="en-GB" smtClean="0">
                <a:solidFill>
                  <a:schemeClr val="bg1"/>
                </a:solidFill>
              </a:rPr>
              <a:pPr/>
              <a:t>17 July 2024</a:t>
            </a:fld>
            <a:endParaRPr lang="en-US">
              <a:solidFill>
                <a:schemeClr val="bg1"/>
              </a:solidFill>
            </a:endParaRPr>
          </a:p>
        </p:txBody>
      </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spTree>
    <p:extLst>
      <p:ext uri="{BB962C8B-B14F-4D97-AF65-F5344CB8AC3E}">
        <p14:creationId xmlns:p14="http://schemas.microsoft.com/office/powerpoint/2010/main" val="131329608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subtitle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3" name="Date Placeholder 10">
            <a:extLst>
              <a:ext uri="{FF2B5EF4-FFF2-40B4-BE49-F238E27FC236}">
                <a16:creationId xmlns:a16="http://schemas.microsoft.com/office/drawing/2014/main" id="{A1570B55-DE74-4FF0-775C-B3FE9F98D743}"/>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1C19681E-5E6D-B842-976F-D0AB59396AF7}" type="datetime4">
              <a:rPr lang="en-GB" smtClean="0"/>
              <a:t>17 July 2024</a:t>
            </a:fld>
            <a:endParaRPr lang="en-US"/>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7" name="Title 16">
            <a:extLst>
              <a:ext uri="{FF2B5EF4-FFF2-40B4-BE49-F238E27FC236}">
                <a16:creationId xmlns:a16="http://schemas.microsoft.com/office/drawing/2014/main" id="{5DF6B9C9-0AE9-2A18-C084-2AFC20A760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057307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itle and subtitle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3" name="Date Placeholder 10">
            <a:extLst>
              <a:ext uri="{FF2B5EF4-FFF2-40B4-BE49-F238E27FC236}">
                <a16:creationId xmlns:a16="http://schemas.microsoft.com/office/drawing/2014/main" id="{A1570B55-DE74-4FF0-775C-B3FE9F98D743}"/>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1C19681E-5E6D-B842-976F-D0AB59396AF7}" type="datetime4">
              <a:rPr lang="en-GB" smtClean="0"/>
              <a:t>17 July 2024</a:t>
            </a:fld>
            <a:endParaRPr lang="en-US"/>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6" name="Title 15">
            <a:extLst>
              <a:ext uri="{FF2B5EF4-FFF2-40B4-BE49-F238E27FC236}">
                <a16:creationId xmlns:a16="http://schemas.microsoft.com/office/drawing/2014/main" id="{7BD26D02-9863-857D-0434-CEAC679F981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490009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815975" y="1881188"/>
            <a:ext cx="10620375" cy="4367211"/>
          </a:xfrm>
          <a:prstGeom prst="rect">
            <a:avLst/>
          </a:prstGeom>
        </p:spPr>
        <p:txBody>
          <a:bodyPr vert="horz" lIns="0" tIns="0" rIns="0" bIns="0" rtlCol="0">
            <a:noAutofit/>
          </a:bodyPr>
          <a:lstStyle>
            <a:lvl1pPr>
              <a:defRPr sz="1600">
                <a:solidFill>
                  <a:srgbClr val="141439"/>
                </a:solidFill>
              </a:defRPr>
            </a:lvl1pPr>
            <a:lvl2pPr>
              <a:defRPr sz="1600">
                <a:solidFill>
                  <a:srgbClr val="141439"/>
                </a:solidFill>
              </a:defRPr>
            </a:lvl2pPr>
            <a:lvl3pPr>
              <a:defRPr sz="1600">
                <a:solidFill>
                  <a:srgbClr val="141439"/>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DC952079-1E2F-0B08-76F8-AE69C542713F}"/>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rgbClr val="828487"/>
                </a:solidFill>
              </a:defRPr>
            </a:lvl1pPr>
          </a:lstStyle>
          <a:p>
            <a:fld id="{636A8E5E-54AC-6044-98CB-3FD40F10A202}" type="datetime4">
              <a:rPr lang="en-GB" smtClean="0"/>
              <a:pPr/>
              <a:t>17 July 2024</a:t>
            </a:fld>
            <a:endParaRPr lang="en-US"/>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rgbClr val="828487"/>
                </a:solidFill>
              </a:defRPr>
            </a:lvl1pPr>
          </a:lstStyle>
          <a:p>
            <a:pPr algn="r"/>
            <a:r>
              <a:rPr lang="en-US"/>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 name="Title 7">
            <a:extLst>
              <a:ext uri="{FF2B5EF4-FFF2-40B4-BE49-F238E27FC236}">
                <a16:creationId xmlns:a16="http://schemas.microsoft.com/office/drawing/2014/main" id="{2ACA7871-E42D-38D3-417E-2C6FC0F0E82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315374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BC6A8791-C311-B541-CEB8-D91A6AF4B3BE}"/>
              </a:ext>
            </a:extLst>
          </p:cNvPr>
          <p:cNvSpPr>
            <a:spLocks noGrp="1"/>
          </p:cNvSpPr>
          <p:nvPr>
            <p:ph type="pic" sz="quarter" idx="15" hasCustomPrompt="1"/>
          </p:nvPr>
        </p:nvSpPr>
        <p:spPr>
          <a:xfrm>
            <a:off x="0" y="0"/>
            <a:ext cx="3335338" cy="6248400"/>
          </a:xfrm>
        </p:spPr>
        <p:txBody>
          <a:bodyPr anchor="ctr"/>
          <a:lstStyle>
            <a:lvl1pPr algn="ctr">
              <a:defRPr/>
            </a:lvl1pPr>
          </a:lstStyle>
          <a:p>
            <a:r>
              <a:rPr lang="en-US"/>
              <a:t> </a:t>
            </a:r>
          </a:p>
        </p:txBody>
      </p:sp>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3503612" y="709937"/>
            <a:ext cx="7932737" cy="4985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and subtitle</a:t>
            </a:r>
            <a:endParaRPr lang="en-GB"/>
          </a:p>
        </p:txBody>
      </p:sp>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3503613" y="1881188"/>
            <a:ext cx="7932737" cy="4367211"/>
          </a:xfrm>
          <a:prstGeom prst="rect">
            <a:avLst/>
          </a:prstGeom>
        </p:spPr>
        <p:txBody>
          <a:bodyPr vert="horz" lIns="0" tIns="0" rIns="0" bIns="0" rtlCol="0">
            <a:noAutofit/>
          </a:bodyPr>
          <a:lstStyle>
            <a:lvl1pPr>
              <a:defRPr sz="1600">
                <a:solidFill>
                  <a:srgbClr val="141439"/>
                </a:solidFill>
              </a:defRPr>
            </a:lvl1pPr>
            <a:lvl2pPr>
              <a:defRPr sz="1600">
                <a:solidFill>
                  <a:srgbClr val="141439"/>
                </a:solidFill>
              </a:defRPr>
            </a:lvl2pPr>
            <a:lvl3pPr>
              <a:defRPr sz="1600">
                <a:solidFill>
                  <a:srgbClr val="141439"/>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3503612" y="1341437"/>
            <a:ext cx="7932737"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DC952079-1E2F-0B08-76F8-AE69C542713F}"/>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636A8E5E-54AC-6044-98CB-3FD40F10A202}" type="datetime4">
              <a:rPr lang="en-GB" smtClean="0"/>
              <a:t>17 July 2024</a:t>
            </a:fld>
            <a:endParaRPr lang="en-US"/>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10445271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3503612" y="709937"/>
            <a:ext cx="7932737" cy="4985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and subtitle</a:t>
            </a:r>
            <a:endParaRPr lang="en-GB"/>
          </a:p>
        </p:txBody>
      </p:sp>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3503613" y="1881188"/>
            <a:ext cx="7932737" cy="4367211"/>
          </a:xfrm>
          <a:prstGeom prst="rect">
            <a:avLst/>
          </a:prstGeom>
        </p:spPr>
        <p:txBody>
          <a:bodyPr vert="horz" lIns="0" tIns="0" rIns="0" bIns="0" rtlCol="0">
            <a:noAutofit/>
          </a:bodyPr>
          <a:lstStyle>
            <a:lvl1pPr>
              <a:defRPr sz="1600">
                <a:solidFill>
                  <a:srgbClr val="141439"/>
                </a:solidFill>
              </a:defRPr>
            </a:lvl1pPr>
            <a:lvl2pPr>
              <a:defRPr sz="1600">
                <a:solidFill>
                  <a:srgbClr val="141439"/>
                </a:solidFill>
              </a:defRPr>
            </a:lvl2pPr>
            <a:lvl3pPr marL="365125" indent="-177800">
              <a:defRPr sz="1600">
                <a:solidFill>
                  <a:srgbClr val="141439"/>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3503612" y="1341437"/>
            <a:ext cx="7932737"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DC952079-1E2F-0B08-76F8-AE69C542713F}"/>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636A8E5E-54AC-6044-98CB-3FD40F10A202}" type="datetime4">
              <a:rPr lang="en-GB" smtClean="0"/>
              <a:t>17 July 2024</a:t>
            </a:fld>
            <a:endParaRPr lang="en-US"/>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572763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with message container">
    <p:bg>
      <p:bgRef idx="1001">
        <a:schemeClr val="bg2"/>
      </p:bgRef>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BF2C6C35-F716-BA99-3DF4-BED7E07AAA5F}"/>
              </a:ext>
            </a:extLst>
          </p:cNvPr>
          <p:cNvSpPr>
            <a:spLocks noGrp="1"/>
          </p:cNvSpPr>
          <p:nvPr>
            <p:ph type="title"/>
          </p:nvPr>
        </p:nvSpPr>
        <p:spPr>
          <a:xfrm>
            <a:off x="2584800" y="2430000"/>
            <a:ext cx="4320000" cy="1594622"/>
          </a:xfrm>
          <a:solidFill>
            <a:srgbClr val="3F9C35"/>
          </a:solidFill>
        </p:spPr>
        <p:txBody>
          <a:bodyPr lIns="180000" tIns="180000" rIns="180000" bIns="180000"/>
          <a:lstStyle>
            <a:lvl1pPr>
              <a:defRPr sz="4000">
                <a:solidFill>
                  <a:schemeClr val="tx1"/>
                </a:solidFill>
              </a:defRPr>
            </a:lvl1pPr>
          </a:lstStyle>
          <a:p>
            <a:r>
              <a:rPr lang="en-US"/>
              <a:t>Click to edit Master title style</a:t>
            </a:r>
            <a:endParaRPr lang="en-GB" dirty="0"/>
          </a:p>
        </p:txBody>
      </p:sp>
    </p:spTree>
    <p:extLst>
      <p:ext uri="{BB962C8B-B14F-4D97-AF65-F5344CB8AC3E}">
        <p14:creationId xmlns:p14="http://schemas.microsoft.com/office/powerpoint/2010/main" val="3022974804"/>
      </p:ext>
    </p:extLst>
  </p:cSld>
  <p:clrMapOvr>
    <a:overrideClrMapping bg1="dk1" tx1="lt1" bg2="dk2" tx2="lt2" accent1="accent1" accent2="accent2" accent3="accent3" accent4="accent4" accent5="accent5" accent6="accent6" hlink="hlink" folHlink="folHlink"/>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Title text two column">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DC952079-1E2F-0B08-76F8-AE69C542713F}"/>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636A8E5E-54AC-6044-98CB-3FD40F10A202}" type="datetime4">
              <a:rPr lang="en-GB" smtClean="0"/>
              <a:t>17 July 2024</a:t>
            </a:fld>
            <a:endParaRPr lang="en-US"/>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1" name="Text Placeholder 10">
            <a:extLst>
              <a:ext uri="{FF2B5EF4-FFF2-40B4-BE49-F238E27FC236}">
                <a16:creationId xmlns:a16="http://schemas.microsoft.com/office/drawing/2014/main" id="{5B8A6343-438E-6D02-7C28-8A784E5A1D9F}"/>
              </a:ext>
            </a:extLst>
          </p:cNvPr>
          <p:cNvSpPr>
            <a:spLocks noGrp="1"/>
          </p:cNvSpPr>
          <p:nvPr>
            <p:ph type="body" sz="quarter" idx="15"/>
          </p:nvPr>
        </p:nvSpPr>
        <p:spPr>
          <a:xfrm>
            <a:off x="6216650" y="1877114"/>
            <a:ext cx="5219700" cy="4379912"/>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a:extLst>
              <a:ext uri="{FF2B5EF4-FFF2-40B4-BE49-F238E27FC236}">
                <a16:creationId xmlns:a16="http://schemas.microsoft.com/office/drawing/2014/main" id="{E6B32083-D551-7704-F043-93EC7AF68640}"/>
              </a:ext>
            </a:extLst>
          </p:cNvPr>
          <p:cNvSpPr>
            <a:spLocks noGrp="1"/>
          </p:cNvSpPr>
          <p:nvPr>
            <p:ph type="body" sz="quarter" idx="16"/>
          </p:nvPr>
        </p:nvSpPr>
        <p:spPr>
          <a:xfrm>
            <a:off x="815975" y="1877114"/>
            <a:ext cx="5219700" cy="4379912"/>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44136151-DD36-3E39-3EF5-CBD3A120FA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92566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and subtitle</a:t>
            </a:r>
            <a:endParaRPr lang="en-GB"/>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DC952079-1E2F-0B08-76F8-AE69C542713F}"/>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636A8E5E-54AC-6044-98CB-3FD40F10A202}" type="datetime4">
              <a:rPr lang="en-GB" smtClean="0"/>
              <a:t>17 July 2024</a:t>
            </a:fld>
            <a:endParaRPr lang="en-US"/>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34444990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5" name="Date Placeholder 10">
            <a:extLst>
              <a:ext uri="{FF2B5EF4-FFF2-40B4-BE49-F238E27FC236}">
                <a16:creationId xmlns:a16="http://schemas.microsoft.com/office/drawing/2014/main" id="{DC952079-1E2F-0B08-76F8-AE69C542713F}"/>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636A8E5E-54AC-6044-98CB-3FD40F10A202}" type="datetime4">
              <a:rPr lang="en-GB" smtClean="0"/>
              <a:t>17 July 2024</a:t>
            </a:fld>
            <a:endParaRPr lang="en-US"/>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88956293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pic>
        <p:nvPicPr>
          <p:cNvPr id="37" name="Graphic 36">
            <a:extLst>
              <a:ext uri="{FF2B5EF4-FFF2-40B4-BE49-F238E27FC236}">
                <a16:creationId xmlns:a16="http://schemas.microsoft.com/office/drawing/2014/main" id="{51739BCC-B01A-1378-F0E4-53D9BC65464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hasCustomPrompt="1"/>
          </p:nvPr>
        </p:nvSpPr>
        <p:spPr>
          <a:xfrm>
            <a:off x="815974" y="2276389"/>
            <a:ext cx="5218377" cy="3924386"/>
          </a:xfrm>
          <a:prstGeom prst="rect">
            <a:avLst/>
          </a:prstGeom>
          <a:noFill/>
        </p:spPr>
        <p:txBody>
          <a:bodyPr lIns="0" tIns="72000" rIns="108000" bIns="0"/>
          <a:lstStyle>
            <a:lvl1pPr>
              <a:spcBef>
                <a:spcPts val="600"/>
              </a:spcBef>
              <a:spcAft>
                <a:spcPts val="0"/>
              </a:spcAft>
              <a:defRPr sz="1400">
                <a:solidFill>
                  <a:srgbClr val="141439"/>
                </a:solidFill>
              </a:defRPr>
            </a:lvl1pPr>
            <a:lvl2pPr marL="180000" indent="-180000">
              <a:spcBef>
                <a:spcPts val="600"/>
              </a:spcBef>
              <a:spcAft>
                <a:spcPts val="0"/>
              </a:spcAft>
              <a:buFont typeface="Wingdings" panose="05000000000000000000" pitchFamily="2" charset="2"/>
              <a:buChar char="§"/>
              <a:defRPr sz="1400">
                <a:solidFill>
                  <a:srgbClr val="141439"/>
                </a:solidFill>
              </a:defRPr>
            </a:lvl2pPr>
            <a:lvl3pPr>
              <a:spcBef>
                <a:spcPts val="600"/>
              </a:spcBef>
              <a:spcAft>
                <a:spcPts val="0"/>
              </a:spcAft>
              <a:defRPr sz="1400">
                <a:solidFill>
                  <a:srgbClr val="141439"/>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15975" y="1893801"/>
            <a:ext cx="5208588" cy="382587"/>
          </a:xfrm>
        </p:spPr>
        <p:txBody>
          <a:bodyPr/>
          <a:lstStyle>
            <a:lvl1pPr>
              <a:defRPr sz="2000" b="1">
                <a:solidFill>
                  <a:schemeClr val="tx2"/>
                </a:solidFill>
                <a:latin typeface="+mn-lt"/>
              </a:defRPr>
            </a:lvl1pPr>
          </a:lstStyle>
          <a:p>
            <a:pPr lvl="0"/>
            <a:r>
              <a:rPr lang="en-US"/>
              <a:t>Click to add text</a:t>
            </a:r>
          </a:p>
        </p:txBody>
      </p:sp>
      <p:sp>
        <p:nvSpPr>
          <p:cNvPr id="9" name="Text Placeholder 7">
            <a:extLst>
              <a:ext uri="{FF2B5EF4-FFF2-40B4-BE49-F238E27FC236}">
                <a16:creationId xmlns:a16="http://schemas.microsoft.com/office/drawing/2014/main" id="{1D53E9C4-30AF-BFDA-EE94-23561F155F8F}"/>
              </a:ext>
            </a:extLst>
          </p:cNvPr>
          <p:cNvSpPr>
            <a:spLocks noGrp="1"/>
          </p:cNvSpPr>
          <p:nvPr>
            <p:ph type="body" sz="quarter" idx="16" hasCustomPrompt="1"/>
          </p:nvPr>
        </p:nvSpPr>
        <p:spPr>
          <a:xfrm>
            <a:off x="6207152" y="1893801"/>
            <a:ext cx="5240129"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Two Columns</a:t>
            </a:r>
            <a:endParaRPr lang="en-GB"/>
          </a:p>
        </p:txBody>
      </p:sp>
      <p:sp>
        <p:nvSpPr>
          <p:cNvPr id="7" name="Text Placeholder 2">
            <a:extLst>
              <a:ext uri="{FF2B5EF4-FFF2-40B4-BE49-F238E27FC236}">
                <a16:creationId xmlns:a16="http://schemas.microsoft.com/office/drawing/2014/main" id="{5C6D5DA2-DA15-F87F-6881-BF5592EDA52E}"/>
              </a:ext>
            </a:extLst>
          </p:cNvPr>
          <p:cNvSpPr>
            <a:spLocks noGrp="1"/>
          </p:cNvSpPr>
          <p:nvPr>
            <p:ph type="body" sz="quarter" idx="17" hasCustomPrompt="1"/>
          </p:nvPr>
        </p:nvSpPr>
        <p:spPr>
          <a:xfrm>
            <a:off x="6217973" y="2276389"/>
            <a:ext cx="5218377" cy="3924386"/>
          </a:xfrm>
          <a:prstGeom prst="rect">
            <a:avLst/>
          </a:prstGeom>
          <a:noFill/>
        </p:spPr>
        <p:txBody>
          <a:bodyPr lIns="0" tIns="72000" rIns="108000" bIns="0"/>
          <a:lstStyle>
            <a:lvl1pPr>
              <a:spcBef>
                <a:spcPts val="600"/>
              </a:spcBef>
              <a:spcAft>
                <a:spcPts val="0"/>
              </a:spcAft>
              <a:defRPr sz="1400">
                <a:solidFill>
                  <a:srgbClr val="141439"/>
                </a:solidFill>
              </a:defRPr>
            </a:lvl1pPr>
            <a:lvl2pPr marL="180000" indent="-180000">
              <a:spcBef>
                <a:spcPts val="600"/>
              </a:spcBef>
              <a:spcAft>
                <a:spcPts val="0"/>
              </a:spcAft>
              <a:buFont typeface="Wingdings" panose="05000000000000000000" pitchFamily="2" charset="2"/>
              <a:buChar char="§"/>
              <a:defRPr sz="1400">
                <a:solidFill>
                  <a:srgbClr val="141439"/>
                </a:solidFill>
              </a:defRPr>
            </a:lvl2pPr>
            <a:lvl3pPr>
              <a:spcBef>
                <a:spcPts val="600"/>
              </a:spcBef>
              <a:spcAft>
                <a:spcPts val="0"/>
              </a:spcAft>
              <a:defRPr sz="1400">
                <a:solidFill>
                  <a:srgbClr val="141439"/>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 name="Text Placeholder 5">
            <a:extLst>
              <a:ext uri="{FF2B5EF4-FFF2-40B4-BE49-F238E27FC236}">
                <a16:creationId xmlns:a16="http://schemas.microsoft.com/office/drawing/2014/main" id="{6F5E924F-D666-848D-1C0A-839E5C7C0AF0}"/>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1E7DE966-6A9B-FD5A-FE15-4A214002341B}"/>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2E50E526-C0B0-1E48-AFC4-3CC16CEE8020}" type="datetime4">
              <a:rPr lang="en-GB" smtClean="0"/>
              <a:t>17 July 2024</a:t>
            </a:fld>
            <a:endParaRPr lang="en-US"/>
          </a:p>
        </p:txBody>
      </p:sp>
      <p:sp>
        <p:nvSpPr>
          <p:cNvPr id="11" name="Rectangle 10">
            <a:extLst>
              <a:ext uri="{FF2B5EF4-FFF2-40B4-BE49-F238E27FC236}">
                <a16:creationId xmlns:a16="http://schemas.microsoft.com/office/drawing/2014/main" id="{7B3103E6-1AED-761F-6EDC-C1B83F36F47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2" name="Slide Number Placeholder 2">
            <a:extLst>
              <a:ext uri="{FF2B5EF4-FFF2-40B4-BE49-F238E27FC236}">
                <a16:creationId xmlns:a16="http://schemas.microsoft.com/office/drawing/2014/main" id="{B281D2B4-8EFC-C573-2175-FA6BE4B0E52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4" name="Group 3">
            <a:extLst>
              <a:ext uri="{FF2B5EF4-FFF2-40B4-BE49-F238E27FC236}">
                <a16:creationId xmlns:a16="http://schemas.microsoft.com/office/drawing/2014/main" id="{65B9153A-9F04-345A-4CA1-963B01DA3273}"/>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010204AF-B54C-9DDE-2E2F-B236A824F02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8EFA998-022D-EB7B-429D-6A8D03D5B4E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229862D-C2FE-190A-A1C6-125484EF9A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36C7C97-7221-506C-27D6-5761C3062C8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6103DB96-7437-13CE-87CA-2CEDF8F9539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62E748EE-30A4-8085-F8F8-D1B24513EA0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1736B5F-F9D7-3285-E3BF-3674828CDA2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10243594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hree column layou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372C2C46-13EE-1E57-91A8-AAB689E096A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hasCustomPrompt="1"/>
          </p:nvPr>
        </p:nvSpPr>
        <p:spPr>
          <a:xfrm>
            <a:off x="814188" y="2276389"/>
            <a:ext cx="3410149"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3934" y="1893801"/>
            <a:ext cx="3403771"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4188" y="709937"/>
            <a:ext cx="10621792" cy="553998"/>
          </a:xfrm>
          <a:prstGeom prst="rect">
            <a:avLst/>
          </a:prstGeom>
        </p:spPr>
        <p:txBody>
          <a:bodyPr vert="horz" wrap="square" lIns="0" tIns="0" rIns="0" bIns="0" rtlCol="0" anchor="t" anchorCtr="0">
            <a:spAutoFit/>
          </a:bodyPr>
          <a:lstStyle>
            <a:lvl1pPr>
              <a:defRPr/>
            </a:lvl1pPr>
          </a:lstStyle>
          <a:p>
            <a:r>
              <a:rPr lang="en-US"/>
              <a:t>Three columns</a:t>
            </a:r>
            <a:endParaRPr lang="en-GB"/>
          </a:p>
        </p:txBody>
      </p:sp>
      <p:sp>
        <p:nvSpPr>
          <p:cNvPr id="4" name="Text Placeholder 2">
            <a:extLst>
              <a:ext uri="{FF2B5EF4-FFF2-40B4-BE49-F238E27FC236}">
                <a16:creationId xmlns:a16="http://schemas.microsoft.com/office/drawing/2014/main" id="{F2280CB3-0425-BA90-15EC-559E7DA19F47}"/>
              </a:ext>
            </a:extLst>
          </p:cNvPr>
          <p:cNvSpPr>
            <a:spLocks noGrp="1"/>
          </p:cNvSpPr>
          <p:nvPr>
            <p:ph type="body" sz="quarter" idx="16" hasCustomPrompt="1"/>
          </p:nvPr>
        </p:nvSpPr>
        <p:spPr>
          <a:xfrm>
            <a:off x="4416425" y="2276389"/>
            <a:ext cx="3403771"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0" name="Text Placeholder 7">
            <a:extLst>
              <a:ext uri="{FF2B5EF4-FFF2-40B4-BE49-F238E27FC236}">
                <a16:creationId xmlns:a16="http://schemas.microsoft.com/office/drawing/2014/main" id="{37120D12-5FC6-94E0-4F2A-51B01B5B6562}"/>
              </a:ext>
            </a:extLst>
          </p:cNvPr>
          <p:cNvSpPr>
            <a:spLocks noGrp="1"/>
          </p:cNvSpPr>
          <p:nvPr>
            <p:ph type="body" sz="quarter" idx="17" hasCustomPrompt="1"/>
          </p:nvPr>
        </p:nvSpPr>
        <p:spPr>
          <a:xfrm>
            <a:off x="4426258" y="1893801"/>
            <a:ext cx="3397405" cy="382587"/>
          </a:xfrm>
        </p:spPr>
        <p:txBody>
          <a:bodyPr/>
          <a:lstStyle>
            <a:lvl1pPr>
              <a:defRPr sz="2000" b="1">
                <a:solidFill>
                  <a:schemeClr val="tx2"/>
                </a:solidFill>
                <a:latin typeface="+mn-lt"/>
              </a:defRPr>
            </a:lvl1pPr>
          </a:lstStyle>
          <a:p>
            <a:pPr lvl="0"/>
            <a:r>
              <a:rPr lang="en-US"/>
              <a:t>Click to add text</a:t>
            </a:r>
          </a:p>
        </p:txBody>
      </p:sp>
      <p:sp>
        <p:nvSpPr>
          <p:cNvPr id="11" name="Text Placeholder 2">
            <a:extLst>
              <a:ext uri="{FF2B5EF4-FFF2-40B4-BE49-F238E27FC236}">
                <a16:creationId xmlns:a16="http://schemas.microsoft.com/office/drawing/2014/main" id="{3B7E163D-016A-E15E-158B-089D6A0C574C}"/>
              </a:ext>
            </a:extLst>
          </p:cNvPr>
          <p:cNvSpPr>
            <a:spLocks noGrp="1"/>
          </p:cNvSpPr>
          <p:nvPr>
            <p:ph type="body" sz="quarter" idx="18" hasCustomPrompt="1"/>
          </p:nvPr>
        </p:nvSpPr>
        <p:spPr>
          <a:xfrm>
            <a:off x="8008917" y="2276389"/>
            <a:ext cx="3427066" cy="3924386"/>
          </a:xfrm>
          <a:prstGeom prst="rect">
            <a:avLst/>
          </a:prstGeom>
          <a:noFill/>
        </p:spPr>
        <p:txBody>
          <a:bodyPr lIns="10800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2" name="Text Placeholder 7">
            <a:extLst>
              <a:ext uri="{FF2B5EF4-FFF2-40B4-BE49-F238E27FC236}">
                <a16:creationId xmlns:a16="http://schemas.microsoft.com/office/drawing/2014/main" id="{F7E8CBC2-C25B-3DCE-6606-BBD64521AFBB}"/>
              </a:ext>
            </a:extLst>
          </p:cNvPr>
          <p:cNvSpPr>
            <a:spLocks noGrp="1"/>
          </p:cNvSpPr>
          <p:nvPr>
            <p:ph type="body" sz="quarter" idx="19" hasCustomPrompt="1"/>
          </p:nvPr>
        </p:nvSpPr>
        <p:spPr>
          <a:xfrm>
            <a:off x="8018961" y="1893801"/>
            <a:ext cx="3420657" cy="382587"/>
          </a:xfrm>
        </p:spPr>
        <p:txBody>
          <a:bodyPr/>
          <a:lstStyle>
            <a:lvl1pPr>
              <a:defRPr sz="2000" b="1">
                <a:solidFill>
                  <a:schemeClr val="tx2"/>
                </a:solidFill>
                <a:latin typeface="+mn-lt"/>
              </a:defRPr>
            </a:lvl1pPr>
          </a:lstStyle>
          <a:p>
            <a:pPr lvl="0"/>
            <a:r>
              <a:rPr lang="en-US"/>
              <a:t>Click to add text</a:t>
            </a:r>
          </a:p>
        </p:txBody>
      </p:sp>
      <p:sp>
        <p:nvSpPr>
          <p:cNvPr id="2" name="Text Placeholder 5">
            <a:extLst>
              <a:ext uri="{FF2B5EF4-FFF2-40B4-BE49-F238E27FC236}">
                <a16:creationId xmlns:a16="http://schemas.microsoft.com/office/drawing/2014/main" id="{4F317C24-7498-DFEA-E5B3-AFB38E2261DE}"/>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7" name="Date Placeholder 10">
            <a:extLst>
              <a:ext uri="{FF2B5EF4-FFF2-40B4-BE49-F238E27FC236}">
                <a16:creationId xmlns:a16="http://schemas.microsoft.com/office/drawing/2014/main" id="{049FC4DC-0C74-6144-94BA-49D48C96BE65}"/>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C9386CFD-8E62-0546-8D08-883E36BBEDFE}" type="datetime4">
              <a:rPr lang="en-GB" smtClean="0"/>
              <a:t>17 July 2024</a:t>
            </a:fld>
            <a:endParaRPr lang="en-US"/>
          </a:p>
        </p:txBody>
      </p:sp>
      <p:sp>
        <p:nvSpPr>
          <p:cNvPr id="13" name="Rectangle 12">
            <a:extLst>
              <a:ext uri="{FF2B5EF4-FFF2-40B4-BE49-F238E27FC236}">
                <a16:creationId xmlns:a16="http://schemas.microsoft.com/office/drawing/2014/main" id="{D5B1B7A5-9E52-CA8A-2A4E-796D7A6C5998}"/>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5" name="Slide Number Placeholder 2">
            <a:extLst>
              <a:ext uri="{FF2B5EF4-FFF2-40B4-BE49-F238E27FC236}">
                <a16:creationId xmlns:a16="http://schemas.microsoft.com/office/drawing/2014/main" id="{ABF0B49C-92A3-48DC-5D9F-0EF0695D68C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5" name="Group 4">
            <a:extLst>
              <a:ext uri="{FF2B5EF4-FFF2-40B4-BE49-F238E27FC236}">
                <a16:creationId xmlns:a16="http://schemas.microsoft.com/office/drawing/2014/main" id="{591F3DED-33E1-2A27-8417-C862386CC9D7}"/>
              </a:ext>
            </a:extLst>
          </p:cNvPr>
          <p:cNvGrpSpPr/>
          <p:nvPr userDrawn="1"/>
        </p:nvGrpSpPr>
        <p:grpSpPr>
          <a:xfrm>
            <a:off x="10863102" y="309052"/>
            <a:ext cx="911847" cy="382707"/>
            <a:chOff x="7459170" y="481236"/>
            <a:chExt cx="2697427" cy="1132124"/>
          </a:xfrm>
        </p:grpSpPr>
        <p:sp>
          <p:nvSpPr>
            <p:cNvPr id="9" name="Freeform 8">
              <a:extLst>
                <a:ext uri="{FF2B5EF4-FFF2-40B4-BE49-F238E27FC236}">
                  <a16:creationId xmlns:a16="http://schemas.microsoft.com/office/drawing/2014/main" id="{AD68F991-7AC1-3980-7A7D-DDCBEF497B1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792418D-8382-6613-3E08-30CF6D4679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68560B3-0255-C232-6058-8B5E44CF8ABC}"/>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DA756CD8-BF86-6088-37B6-0E7FF536EFA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C4576A99-EA91-057D-D6BB-E9B12AACD8F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C941588-A6EC-9B9A-945B-0DE414BCDE7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968286F7-553D-1246-396B-C9E7815C3CA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97487594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Four column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2CCCDA05-BDEF-3415-CEF1-21FF7C23FF8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hasCustomPrompt="1"/>
          </p:nvPr>
        </p:nvSpPr>
        <p:spPr>
          <a:xfrm>
            <a:off x="815975" y="2276389"/>
            <a:ext cx="2519362"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5519" y="1893802"/>
            <a:ext cx="2514650"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5586" cy="553998"/>
          </a:xfrm>
          <a:prstGeom prst="rect">
            <a:avLst/>
          </a:prstGeom>
        </p:spPr>
        <p:txBody>
          <a:bodyPr vert="horz" wrap="square" lIns="0" tIns="0" rIns="0" bIns="0" rtlCol="0" anchor="t" anchorCtr="0">
            <a:spAutoFit/>
          </a:bodyPr>
          <a:lstStyle>
            <a:lvl1pPr>
              <a:defRPr/>
            </a:lvl1pPr>
          </a:lstStyle>
          <a:p>
            <a:r>
              <a:rPr lang="en-US"/>
              <a:t>Title slide</a:t>
            </a:r>
            <a:endParaRPr lang="en-GB"/>
          </a:p>
        </p:txBody>
      </p:sp>
      <p:sp>
        <p:nvSpPr>
          <p:cNvPr id="15" name="Text Placeholder 2">
            <a:extLst>
              <a:ext uri="{FF2B5EF4-FFF2-40B4-BE49-F238E27FC236}">
                <a16:creationId xmlns:a16="http://schemas.microsoft.com/office/drawing/2014/main" id="{6FBF75A8-4C81-F086-3A74-0A8419F8800A}"/>
              </a:ext>
            </a:extLst>
          </p:cNvPr>
          <p:cNvSpPr>
            <a:spLocks noGrp="1"/>
          </p:cNvSpPr>
          <p:nvPr>
            <p:ph type="body" sz="quarter" idx="16" hasCustomPrompt="1"/>
          </p:nvPr>
        </p:nvSpPr>
        <p:spPr>
          <a:xfrm>
            <a:off x="8916907" y="2276389"/>
            <a:ext cx="2519443"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6" name="Text Placeholder 2">
            <a:extLst>
              <a:ext uri="{FF2B5EF4-FFF2-40B4-BE49-F238E27FC236}">
                <a16:creationId xmlns:a16="http://schemas.microsoft.com/office/drawing/2014/main" id="{C63FB139-E507-822B-ED86-9333FEAE8E3D}"/>
              </a:ext>
            </a:extLst>
          </p:cNvPr>
          <p:cNvSpPr>
            <a:spLocks noGrp="1"/>
          </p:cNvSpPr>
          <p:nvPr>
            <p:ph type="body" sz="quarter" idx="17" hasCustomPrompt="1"/>
          </p:nvPr>
        </p:nvSpPr>
        <p:spPr>
          <a:xfrm>
            <a:off x="3503613" y="2276389"/>
            <a:ext cx="2543722"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7" name="Text Placeholder 2">
            <a:extLst>
              <a:ext uri="{FF2B5EF4-FFF2-40B4-BE49-F238E27FC236}">
                <a16:creationId xmlns:a16="http://schemas.microsoft.com/office/drawing/2014/main" id="{68898358-87A3-BA3F-8956-126F4FAA6E92}"/>
              </a:ext>
            </a:extLst>
          </p:cNvPr>
          <p:cNvSpPr>
            <a:spLocks noGrp="1"/>
          </p:cNvSpPr>
          <p:nvPr>
            <p:ph type="body" sz="quarter" idx="18" hasCustomPrompt="1"/>
          </p:nvPr>
        </p:nvSpPr>
        <p:spPr>
          <a:xfrm>
            <a:off x="6215611" y="2276389"/>
            <a:ext cx="2533020"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8" name="Text Placeholder 7">
            <a:extLst>
              <a:ext uri="{FF2B5EF4-FFF2-40B4-BE49-F238E27FC236}">
                <a16:creationId xmlns:a16="http://schemas.microsoft.com/office/drawing/2014/main" id="{DE7E055F-5919-BCB9-F630-E6504A7CB2E2}"/>
              </a:ext>
            </a:extLst>
          </p:cNvPr>
          <p:cNvSpPr>
            <a:spLocks noGrp="1"/>
          </p:cNvSpPr>
          <p:nvPr>
            <p:ph type="body" sz="quarter" idx="19" hasCustomPrompt="1"/>
          </p:nvPr>
        </p:nvSpPr>
        <p:spPr>
          <a:xfrm>
            <a:off x="8916829" y="1893802"/>
            <a:ext cx="2514731" cy="382587"/>
          </a:xfrm>
        </p:spPr>
        <p:txBody>
          <a:bodyPr/>
          <a:lstStyle>
            <a:lvl1pPr>
              <a:defRPr sz="2000" b="1">
                <a:solidFill>
                  <a:schemeClr val="tx2"/>
                </a:solidFill>
                <a:latin typeface="+mn-lt"/>
              </a:defRPr>
            </a:lvl1pPr>
          </a:lstStyle>
          <a:p>
            <a:pPr lvl="0"/>
            <a:r>
              <a:rPr lang="en-US"/>
              <a:t>Click to add text</a:t>
            </a:r>
          </a:p>
        </p:txBody>
      </p:sp>
      <p:sp>
        <p:nvSpPr>
          <p:cNvPr id="19" name="Text Placeholder 7">
            <a:extLst>
              <a:ext uri="{FF2B5EF4-FFF2-40B4-BE49-F238E27FC236}">
                <a16:creationId xmlns:a16="http://schemas.microsoft.com/office/drawing/2014/main" id="{1ACCF396-8BF0-C982-52C2-5036657396DE}"/>
              </a:ext>
            </a:extLst>
          </p:cNvPr>
          <p:cNvSpPr>
            <a:spLocks noGrp="1"/>
          </p:cNvSpPr>
          <p:nvPr>
            <p:ph type="body" sz="quarter" idx="20" hasCustomPrompt="1"/>
          </p:nvPr>
        </p:nvSpPr>
        <p:spPr>
          <a:xfrm>
            <a:off x="3498526" y="1893802"/>
            <a:ext cx="2538964" cy="382587"/>
          </a:xfrm>
        </p:spPr>
        <p:txBody>
          <a:bodyPr/>
          <a:lstStyle>
            <a:lvl1pPr>
              <a:defRPr sz="2000" b="1">
                <a:solidFill>
                  <a:schemeClr val="tx2"/>
                </a:solidFill>
                <a:latin typeface="+mn-lt"/>
              </a:defRPr>
            </a:lvl1pPr>
          </a:lstStyle>
          <a:p>
            <a:pPr lvl="0"/>
            <a:r>
              <a:rPr lang="en-US"/>
              <a:t>Click to add text</a:t>
            </a:r>
          </a:p>
        </p:txBody>
      </p:sp>
      <p:sp>
        <p:nvSpPr>
          <p:cNvPr id="20" name="Text Placeholder 7">
            <a:extLst>
              <a:ext uri="{FF2B5EF4-FFF2-40B4-BE49-F238E27FC236}">
                <a16:creationId xmlns:a16="http://schemas.microsoft.com/office/drawing/2014/main" id="{EFC9B49A-2E51-745D-2FAA-E98696437ABB}"/>
              </a:ext>
            </a:extLst>
          </p:cNvPr>
          <p:cNvSpPr>
            <a:spLocks noGrp="1"/>
          </p:cNvSpPr>
          <p:nvPr>
            <p:ph type="body" sz="quarter" idx="21" hasCustomPrompt="1"/>
          </p:nvPr>
        </p:nvSpPr>
        <p:spPr>
          <a:xfrm>
            <a:off x="6203325" y="1893802"/>
            <a:ext cx="2528283" cy="382587"/>
          </a:xfrm>
        </p:spPr>
        <p:txBody>
          <a:bodyPr/>
          <a:lstStyle>
            <a:lvl1pPr>
              <a:defRPr sz="2000" b="1">
                <a:solidFill>
                  <a:schemeClr val="tx2"/>
                </a:solidFill>
                <a:latin typeface="+mn-lt"/>
              </a:defRPr>
            </a:lvl1pPr>
          </a:lstStyle>
          <a:p>
            <a:pPr lvl="0"/>
            <a:r>
              <a:rPr lang="en-US"/>
              <a:t>Click to add text</a:t>
            </a:r>
          </a:p>
        </p:txBody>
      </p:sp>
      <p:sp>
        <p:nvSpPr>
          <p:cNvPr id="9" name="Text Placeholder 5">
            <a:extLst>
              <a:ext uri="{FF2B5EF4-FFF2-40B4-BE49-F238E27FC236}">
                <a16:creationId xmlns:a16="http://schemas.microsoft.com/office/drawing/2014/main" id="{A4CD6C2B-A474-5641-7422-7875CED6ED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Date Placeholder 10">
            <a:extLst>
              <a:ext uri="{FF2B5EF4-FFF2-40B4-BE49-F238E27FC236}">
                <a16:creationId xmlns:a16="http://schemas.microsoft.com/office/drawing/2014/main" id="{7F443A8B-8215-590F-9205-C05DA8FEFD39}"/>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46E09DAE-5D42-DE49-BBAE-633903D8A742}" type="datetime4">
              <a:rPr lang="en-GB" smtClean="0"/>
              <a:t>17 July 2024</a:t>
            </a:fld>
            <a:endParaRPr lang="en-US"/>
          </a:p>
        </p:txBody>
      </p:sp>
      <p:sp>
        <p:nvSpPr>
          <p:cNvPr id="10" name="Rectangle 9">
            <a:extLst>
              <a:ext uri="{FF2B5EF4-FFF2-40B4-BE49-F238E27FC236}">
                <a16:creationId xmlns:a16="http://schemas.microsoft.com/office/drawing/2014/main" id="{6BC71479-8F96-5552-9746-BAAC806BC2E6}"/>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1" name="Slide Number Placeholder 2">
            <a:extLst>
              <a:ext uri="{FF2B5EF4-FFF2-40B4-BE49-F238E27FC236}">
                <a16:creationId xmlns:a16="http://schemas.microsoft.com/office/drawing/2014/main" id="{C582F6AA-C1A9-DA44-9E2E-42A5C6F9D6F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C66BC4-CE7E-E443-BEF3-B7BBA49FE37B}"/>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50790525-9335-DAAD-AC9C-8A5ED398D08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4A1F7E0-0F9D-CB08-090C-103CC90DB07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B6753D0-DCA0-6F8D-9925-C7D54467DEE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B74D5C01-B85D-62D4-6CBF-B92E2D13C1E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566ABB6-ED60-D890-BB6C-61398345B3C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E75E3A5F-257D-3252-FB43-C2B566796AD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C4F55C8C-A15B-560E-A23A-06211839C3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78518235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ide title layou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Side title</a:t>
            </a:r>
            <a:br>
              <a:rPr lang="en-US"/>
            </a:br>
            <a:r>
              <a:rPr lang="en-US"/>
              <a:t>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sp>
        <p:nvSpPr>
          <p:cNvPr id="3" name="Date Placeholder 10">
            <a:extLst>
              <a:ext uri="{FF2B5EF4-FFF2-40B4-BE49-F238E27FC236}">
                <a16:creationId xmlns:a16="http://schemas.microsoft.com/office/drawing/2014/main" id="{DA63A261-EECE-07BF-DD6F-EF0FC33BE35D}"/>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7868A534-B2C6-1E40-B53D-EEEA8DFA5868}" type="datetime4">
              <a:rPr lang="en-GB" smtClean="0"/>
              <a:t>17 July 2024</a:t>
            </a:fld>
            <a:endParaRPr lang="en-US"/>
          </a:p>
        </p:txBody>
      </p:sp>
      <p:sp>
        <p:nvSpPr>
          <p:cNvPr id="7" name="Slide Number Placeholder 2">
            <a:extLst>
              <a:ext uri="{FF2B5EF4-FFF2-40B4-BE49-F238E27FC236}">
                <a16:creationId xmlns:a16="http://schemas.microsoft.com/office/drawing/2014/main" id="{E7FCF6E2-32CE-8CCA-6C4F-F9AC1223897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27752578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Prose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44037E1-26A7-ED3C-E482-708BAAA49C76}"/>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5966B258-B64F-4C37-95EE-DA12F2437C5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8495EF2-DC0E-4705-9377-828A5C59A7A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66CF9A18-6B79-9281-E358-AA370155A16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9D9BD7C-6ABA-014B-B051-F78B0A09E46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F4DBC16-F0ED-C2E1-4364-FB9028DCED9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6111B3EC-1860-2199-3CF6-3EB4CDCAF2A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AF8E482C-420E-4F3B-DFC0-AB9874161AB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pic>
        <p:nvPicPr>
          <p:cNvPr id="6" name="Graphic 5">
            <a:extLst>
              <a:ext uri="{FF2B5EF4-FFF2-40B4-BE49-F238E27FC236}">
                <a16:creationId xmlns:a16="http://schemas.microsoft.com/office/drawing/2014/main" id="{47A12691-3819-20BF-D46D-3E1BFE3B92E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5" y="2222605"/>
            <a:ext cx="3096268" cy="1107996"/>
          </a:xfrm>
        </p:spPr>
        <p:txBody>
          <a:bodyPr/>
          <a:lstStyle>
            <a:lvl1pPr>
              <a:lnSpc>
                <a:spcPct val="100000"/>
              </a:lnSpc>
              <a:spcBef>
                <a:spcPts val="600"/>
              </a:spcBef>
              <a:defRPr/>
            </a:lvl1pPr>
          </a:lstStyle>
          <a:p>
            <a:r>
              <a:rPr lang="en-US"/>
              <a:t>Prose</a:t>
            </a:r>
            <a:br>
              <a:rPr lang="en-US"/>
            </a:br>
            <a:r>
              <a:rPr lang="en-US"/>
              <a:t>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096269" cy="385762"/>
          </a:xfrm>
        </p:spPr>
        <p:txBody>
          <a:bodyPr/>
          <a:lstStyle>
            <a:lvl1pPr>
              <a:defRPr sz="2000"/>
            </a:lvl1pPr>
          </a:lstStyle>
          <a:p>
            <a:pPr lvl="0"/>
            <a:r>
              <a:rPr lang="en-US"/>
              <a:t>Click to add subheading</a:t>
            </a:r>
            <a:endParaRPr lang="en-GB"/>
          </a:p>
        </p:txBody>
      </p:sp>
      <p:sp>
        <p:nvSpPr>
          <p:cNvPr id="12" name="Text Placeholder 7">
            <a:extLst>
              <a:ext uri="{FF2B5EF4-FFF2-40B4-BE49-F238E27FC236}">
                <a16:creationId xmlns:a16="http://schemas.microsoft.com/office/drawing/2014/main" id="{4ACED297-CFD7-168D-9632-EA0F9D6E07C0}"/>
              </a:ext>
            </a:extLst>
          </p:cNvPr>
          <p:cNvSpPr>
            <a:spLocks noGrp="1"/>
          </p:cNvSpPr>
          <p:nvPr>
            <p:ph type="body" sz="quarter" idx="16" hasCustomPrompt="1"/>
          </p:nvPr>
        </p:nvSpPr>
        <p:spPr>
          <a:xfrm>
            <a:off x="4243997" y="1165137"/>
            <a:ext cx="7192353" cy="382587"/>
          </a:xfrm>
        </p:spPr>
        <p:txBody>
          <a:bodyPr/>
          <a:lstStyle>
            <a:lvl1pPr>
              <a:defRPr sz="2000" b="1">
                <a:solidFill>
                  <a:schemeClr val="tx2"/>
                </a:solidFill>
                <a:latin typeface="+mn-lt"/>
              </a:defRPr>
            </a:lvl1pPr>
          </a:lstStyle>
          <a:p>
            <a:pPr lvl="0"/>
            <a:r>
              <a:rPr lang="en-US"/>
              <a:t>Two column text format</a:t>
            </a:r>
          </a:p>
        </p:txBody>
      </p:sp>
      <p:sp>
        <p:nvSpPr>
          <p:cNvPr id="23" name="Text Placeholder 2">
            <a:extLst>
              <a:ext uri="{FF2B5EF4-FFF2-40B4-BE49-F238E27FC236}">
                <a16:creationId xmlns:a16="http://schemas.microsoft.com/office/drawing/2014/main" id="{AA6D049B-EC34-0EAD-599F-FF556A2DA465}"/>
              </a:ext>
            </a:extLst>
          </p:cNvPr>
          <p:cNvSpPr>
            <a:spLocks noGrp="1"/>
          </p:cNvSpPr>
          <p:nvPr>
            <p:ph type="body" sz="quarter" idx="23" hasCustomPrompt="1"/>
          </p:nvPr>
        </p:nvSpPr>
        <p:spPr>
          <a:xfrm>
            <a:off x="4235450" y="1547724"/>
            <a:ext cx="7200819" cy="3705110"/>
          </a:xfrm>
          <a:prstGeom prst="rect">
            <a:avLst/>
          </a:prstGeom>
          <a:noFill/>
        </p:spPr>
        <p:txBody>
          <a:bodyPr lIns="0" tIns="0" rIns="0" bIns="0" numCol="2" spcCol="180000">
            <a:noAutofit/>
          </a:bodyPr>
          <a:lstStyle>
            <a:lvl1pPr>
              <a:lnSpc>
                <a:spcPct val="100000"/>
              </a:lnSpc>
              <a:spcBef>
                <a:spcPts val="600"/>
              </a:spcBef>
              <a:spcAft>
                <a:spcPts val="0"/>
              </a:spcAft>
              <a:defRPr sz="1400">
                <a:solidFill>
                  <a:schemeClr val="accent4"/>
                </a:solidFill>
              </a:defRPr>
            </a:lvl1pPr>
            <a:lvl2pPr>
              <a:lnSpc>
                <a:spcPct val="100000"/>
              </a:lnSpc>
              <a:spcBef>
                <a:spcPts val="600"/>
              </a:spcBef>
              <a:spcAft>
                <a:spcPts val="0"/>
              </a:spcAft>
              <a:defRPr sz="1600">
                <a:solidFill>
                  <a:schemeClr val="bg2"/>
                </a:solidFill>
              </a:defRPr>
            </a:lvl2pPr>
            <a:lvl3pPr>
              <a:lnSpc>
                <a:spcPct val="100000"/>
              </a:lnSpc>
              <a:spcBef>
                <a:spcPts val="600"/>
              </a:spcBef>
              <a:spcAft>
                <a:spcPts val="0"/>
              </a:spcAft>
              <a:defRPr sz="1600">
                <a:solidFill>
                  <a:schemeClr val="bg2"/>
                </a:solidFill>
              </a:defRPr>
            </a:lvl3pPr>
            <a:lvl4pPr>
              <a:lnSpc>
                <a:spcPct val="100000"/>
              </a:lnSpc>
              <a:spcBef>
                <a:spcPts val="600"/>
              </a:spcBef>
              <a:spcAft>
                <a:spcPts val="0"/>
              </a:spcAft>
              <a:buClrTx/>
              <a:defRPr sz="1600">
                <a:solidFill>
                  <a:schemeClr val="tx1"/>
                </a:solidFill>
              </a:defRPr>
            </a:lvl4pPr>
            <a:lvl5pPr>
              <a:lnSpc>
                <a:spcPct val="100000"/>
              </a:lnSpc>
              <a:spcBef>
                <a:spcPts val="600"/>
              </a:spcBef>
              <a:spcAft>
                <a:spcPts val="0"/>
              </a:spcAft>
              <a:buClrTx/>
              <a:defRPr sz="1600">
                <a:solidFill>
                  <a:schemeClr val="tx1"/>
                </a:solidFill>
              </a:defRPr>
            </a:lvl5pPr>
          </a:lstStyle>
          <a:p>
            <a:r>
              <a:rPr lang="en-GB"/>
              <a:t>This box is set up with two text columns</a:t>
            </a:r>
          </a:p>
        </p:txBody>
      </p:sp>
      <p:sp>
        <p:nvSpPr>
          <p:cNvPr id="3" name="Date Placeholder 10">
            <a:extLst>
              <a:ext uri="{FF2B5EF4-FFF2-40B4-BE49-F238E27FC236}">
                <a16:creationId xmlns:a16="http://schemas.microsoft.com/office/drawing/2014/main" id="{D3818C1D-51D6-3644-213D-CC82500EAF7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0D431881-CBBD-2C40-80F2-133960FEB01D}" type="datetime4">
              <a:rPr lang="en-GB" smtClean="0"/>
              <a:t>17 July 2024</a:t>
            </a:fld>
            <a:endParaRPr lang="en-US"/>
          </a:p>
        </p:txBody>
      </p:sp>
      <p:sp>
        <p:nvSpPr>
          <p:cNvPr id="8" name="Slide Number Placeholder 2">
            <a:extLst>
              <a:ext uri="{FF2B5EF4-FFF2-40B4-BE49-F238E27FC236}">
                <a16:creationId xmlns:a16="http://schemas.microsoft.com/office/drawing/2014/main" id="{F1EAB86C-A4EB-31CF-F3F1-4233A32FB66D}"/>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73500949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Three columns">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E934C7D-BF6E-2FFA-11A1-3E1917A4FC8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5" y="2222605"/>
            <a:ext cx="3096268" cy="1107996"/>
          </a:xfrm>
        </p:spPr>
        <p:txBody>
          <a:bodyPr/>
          <a:lstStyle>
            <a:lvl1pPr>
              <a:lnSpc>
                <a:spcPct val="100000"/>
              </a:lnSpc>
              <a:spcBef>
                <a:spcPts val="600"/>
              </a:spcBef>
              <a:defRPr/>
            </a:lvl1pPr>
          </a:lstStyle>
          <a:p>
            <a:r>
              <a:rPr lang="en-US"/>
              <a:t>Side title</a:t>
            </a:r>
            <a:br>
              <a:rPr lang="en-US"/>
            </a:br>
            <a:r>
              <a:rPr lang="en-US"/>
              <a:t>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096269" cy="385762"/>
          </a:xfrm>
        </p:spPr>
        <p:txBody>
          <a:bodyPr/>
          <a:lstStyle>
            <a:lvl1pPr>
              <a:defRPr sz="2000"/>
            </a:lvl1pPr>
          </a:lstStyle>
          <a:p>
            <a:pPr lvl="0"/>
            <a:r>
              <a:rPr lang="en-US"/>
              <a:t>Click to add subheading</a:t>
            </a:r>
            <a:endParaRPr lang="en-GB"/>
          </a:p>
        </p:txBody>
      </p:sp>
      <p:sp>
        <p:nvSpPr>
          <p:cNvPr id="3" name="Date Placeholder 10">
            <a:extLst>
              <a:ext uri="{FF2B5EF4-FFF2-40B4-BE49-F238E27FC236}">
                <a16:creationId xmlns:a16="http://schemas.microsoft.com/office/drawing/2014/main" id="{DA63A261-EECE-07BF-DD6F-EF0FC33BE35D}"/>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422ADD51-71CB-8543-BF30-AFA5783248E5}" type="datetime4">
              <a:rPr lang="en-GB" smtClean="0"/>
              <a:t>17 July 2024</a:t>
            </a:fld>
            <a:endParaRPr lang="en-US"/>
          </a:p>
        </p:txBody>
      </p:sp>
      <p:sp>
        <p:nvSpPr>
          <p:cNvPr id="7" name="Slide Number Placeholder 2">
            <a:extLst>
              <a:ext uri="{FF2B5EF4-FFF2-40B4-BE49-F238E27FC236}">
                <a16:creationId xmlns:a16="http://schemas.microsoft.com/office/drawing/2014/main" id="{4AC19B83-8EC0-FF65-E9C9-9FB4B76663BB}"/>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C1CFDD2F-2D7E-9CD7-DA62-B66E9D212413}"/>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EC1CD1F4-E564-8983-E9EE-D3E47277A75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7A3F67D-36DE-087C-2A38-DEA0E716263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59D0130E-D44E-6DC9-C7AD-6B27F0140FB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3287C657-2609-2191-E2F3-480EB42924D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09AEB1F2-B3EB-029E-A700-0EB4B234AC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A0CFC69-64D4-E40B-E1B3-9F34E65C23A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30140B9-096B-A839-F76B-8ACFC055AEB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43475337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troduction layout">
    <p:bg>
      <p:bgPr>
        <a:solidFill>
          <a:srgbClr val="E7E7E8"/>
        </a:solidFill>
        <a:effectLst/>
      </p:bgPr>
    </p:bg>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09DC9CBF-112C-454E-07C9-4159C699EE97}"/>
              </a:ext>
            </a:extLst>
          </p:cNvPr>
          <p:cNvSpPr>
            <a:spLocks noGrp="1"/>
          </p:cNvSpPr>
          <p:nvPr>
            <p:ph type="pic" sz="quarter" idx="24"/>
          </p:nvPr>
        </p:nvSpPr>
        <p:spPr>
          <a:xfrm>
            <a:off x="439" y="1536"/>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endParaRPr lang="en-US"/>
          </a:p>
        </p:txBody>
      </p:sp>
      <p:sp>
        <p:nvSpPr>
          <p:cNvPr id="42" name="Title 6">
            <a:extLst>
              <a:ext uri="{FF2B5EF4-FFF2-40B4-BE49-F238E27FC236}">
                <a16:creationId xmlns:a16="http://schemas.microsoft.com/office/drawing/2014/main" id="{7C47041D-0CCE-B496-7EA6-351B86AFB06F}"/>
              </a:ext>
            </a:extLst>
          </p:cNvPr>
          <p:cNvSpPr>
            <a:spLocks noGrp="1"/>
          </p:cNvSpPr>
          <p:nvPr>
            <p:ph type="title" hasCustomPrompt="1"/>
          </p:nvPr>
        </p:nvSpPr>
        <p:spPr>
          <a:xfrm>
            <a:off x="4416345" y="1149038"/>
            <a:ext cx="7020006" cy="553998"/>
          </a:xfrm>
        </p:spPr>
        <p:txBody>
          <a:bodyPr/>
          <a:lstStyle>
            <a:lvl1pPr>
              <a:lnSpc>
                <a:spcPct val="100000"/>
              </a:lnSpc>
              <a:spcBef>
                <a:spcPts val="600"/>
              </a:spcBef>
              <a:defRPr/>
            </a:lvl1pPr>
          </a:lstStyle>
          <a:p>
            <a:r>
              <a:rPr lang="en-US"/>
              <a:t>Introduction Slide</a:t>
            </a:r>
            <a:endParaRPr lang="en-GB"/>
          </a:p>
        </p:txBody>
      </p:sp>
      <p:sp>
        <p:nvSpPr>
          <p:cNvPr id="43" name="Text Placeholder 2">
            <a:extLst>
              <a:ext uri="{FF2B5EF4-FFF2-40B4-BE49-F238E27FC236}">
                <a16:creationId xmlns:a16="http://schemas.microsoft.com/office/drawing/2014/main" id="{395DBB8D-89F4-B09F-717B-D9C401687FEB}"/>
              </a:ext>
            </a:extLst>
          </p:cNvPr>
          <p:cNvSpPr>
            <a:spLocks noGrp="1"/>
          </p:cNvSpPr>
          <p:nvPr>
            <p:ph type="body" sz="quarter" idx="23" hasCustomPrompt="1"/>
          </p:nvPr>
        </p:nvSpPr>
        <p:spPr>
          <a:xfrm>
            <a:off x="4416344" y="1742414"/>
            <a:ext cx="7019925" cy="3556461"/>
          </a:xfrm>
          <a:prstGeom prst="rect">
            <a:avLst/>
          </a:prstGeom>
          <a:noFill/>
        </p:spPr>
        <p:txBody>
          <a:bodyPr lIns="0" tIns="0" rIns="0" bIns="0" numCol="2" spcCol="180000">
            <a:noAutofit/>
          </a:bodyPr>
          <a:lstStyle>
            <a:lvl1pPr>
              <a:lnSpc>
                <a:spcPct val="100000"/>
              </a:lnSpc>
              <a:spcBef>
                <a:spcPts val="600"/>
              </a:spcBef>
              <a:spcAft>
                <a:spcPts val="0"/>
              </a:spcAft>
              <a:defRPr sz="1600">
                <a:solidFill>
                  <a:schemeClr val="bg1"/>
                </a:solidFill>
              </a:defRPr>
            </a:lvl1pPr>
            <a:lvl2pPr>
              <a:lnSpc>
                <a:spcPct val="100000"/>
              </a:lnSpc>
              <a:spcBef>
                <a:spcPts val="600"/>
              </a:spcBef>
              <a:spcAft>
                <a:spcPts val="0"/>
              </a:spcAft>
              <a:defRPr sz="1600">
                <a:solidFill>
                  <a:schemeClr val="bg1"/>
                </a:solidFill>
              </a:defRPr>
            </a:lvl2pPr>
            <a:lvl3pPr>
              <a:lnSpc>
                <a:spcPct val="100000"/>
              </a:lnSpc>
              <a:spcBef>
                <a:spcPts val="600"/>
              </a:spcBef>
              <a:spcAft>
                <a:spcPts val="0"/>
              </a:spcAft>
              <a:defRPr sz="1600">
                <a:solidFill>
                  <a:schemeClr val="bg1"/>
                </a:solidFill>
              </a:defRPr>
            </a:lvl3pPr>
            <a:lvl4pPr>
              <a:lnSpc>
                <a:spcPct val="100000"/>
              </a:lnSpc>
              <a:spcBef>
                <a:spcPts val="600"/>
              </a:spcBef>
              <a:spcAft>
                <a:spcPts val="0"/>
              </a:spcAft>
              <a:buClrTx/>
              <a:defRPr sz="1600">
                <a:solidFill>
                  <a:schemeClr val="bg1"/>
                </a:solidFill>
              </a:defRPr>
            </a:lvl4pPr>
            <a:lvl5pPr>
              <a:lnSpc>
                <a:spcPct val="100000"/>
              </a:lnSpc>
              <a:spcBef>
                <a:spcPts val="600"/>
              </a:spcBef>
              <a:spcAft>
                <a:spcPts val="0"/>
              </a:spcAft>
              <a:buClrTx/>
              <a:defRPr sz="1600">
                <a:solidFill>
                  <a:schemeClr val="bg1"/>
                </a:solidFill>
              </a:defRPr>
            </a:lvl5pPr>
          </a:lstStyle>
          <a:p>
            <a:pPr lvl="0"/>
            <a:r>
              <a:rPr lang="en-GB"/>
              <a:t>Edit Master text styles</a:t>
            </a:r>
          </a:p>
          <a:p>
            <a:pPr lvl="1"/>
            <a:r>
              <a:rPr lang="en-GB"/>
              <a:t>Second level</a:t>
            </a:r>
          </a:p>
          <a:p>
            <a:pPr lvl="2"/>
            <a:r>
              <a:rPr lang="en-GB"/>
              <a:t>Third level</a:t>
            </a:r>
          </a:p>
        </p:txBody>
      </p:sp>
      <p:sp>
        <p:nvSpPr>
          <p:cNvPr id="45" name="Date Placeholder 10">
            <a:extLst>
              <a:ext uri="{FF2B5EF4-FFF2-40B4-BE49-F238E27FC236}">
                <a16:creationId xmlns:a16="http://schemas.microsoft.com/office/drawing/2014/main" id="{65B1D35C-EC82-82D7-97EE-E187DF0426AA}"/>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EEBB7102-8CE0-B445-868C-6506AF4D0EAF}" type="datetime4">
              <a:rPr lang="en-GB" smtClean="0"/>
              <a:t>17 July 2024</a:t>
            </a:fld>
            <a:endParaRPr lang="en-US"/>
          </a:p>
        </p:txBody>
      </p:sp>
      <p:sp>
        <p:nvSpPr>
          <p:cNvPr id="4" name="Slide Number Placeholder 2">
            <a:extLst>
              <a:ext uri="{FF2B5EF4-FFF2-40B4-BE49-F238E27FC236}">
                <a16:creationId xmlns:a16="http://schemas.microsoft.com/office/drawing/2014/main" id="{A5B03538-EFF8-882F-38A7-6F681D9FB05A}"/>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12513549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genda">
    <p:bg>
      <p:bgPr>
        <a:solidFill>
          <a:srgbClr val="FFFFFF"/>
        </a:solidFill>
        <a:effectLst/>
      </p:bgPr>
    </p:bg>
    <p:spTree>
      <p:nvGrpSpPr>
        <p:cNvPr id="1" name=""/>
        <p:cNvGrpSpPr/>
        <p:nvPr/>
      </p:nvGrpSpPr>
      <p:grpSpPr>
        <a:xfrm>
          <a:off x="0" y="0"/>
          <a:ext cx="0" cy="0"/>
          <a:chOff x="0" y="0"/>
          <a:chExt cx="0" cy="0"/>
        </a:xfrm>
      </p:grpSpPr>
      <p:sp>
        <p:nvSpPr>
          <p:cNvPr id="6" name="PoP">
            <a:extLst>
              <a:ext uri="{FF2B5EF4-FFF2-40B4-BE49-F238E27FC236}">
                <a16:creationId xmlns:a16="http://schemas.microsoft.com/office/drawing/2014/main" id="{6A260666-167B-4F5E-1C62-BA6D1533D711}"/>
              </a:ext>
            </a:extLst>
          </p:cNvPr>
          <p:cNvSpPr/>
          <p:nvPr>
            <p:custDataLst>
              <p:tags r:id="rId1"/>
            </p:custDataLst>
          </p:nvPr>
        </p:nvSpPr>
        <p:spPr>
          <a:xfrm>
            <a:off x="-1200" y="0"/>
            <a:ext cx="12193200" cy="6858000"/>
          </a:xfrm>
          <a:custGeom>
            <a:avLst/>
            <a:gdLst>
              <a:gd name="connsiteX0" fmla="*/ 1148287 w 12193200"/>
              <a:gd name="connsiteY0" fmla="*/ 2128273 h 6858000"/>
              <a:gd name="connsiteX1" fmla="*/ 1148287 w 12193200"/>
              <a:gd name="connsiteY1" fmla="*/ 2364952 h 6858000"/>
              <a:gd name="connsiteX2" fmla="*/ 1249720 w 12193200"/>
              <a:gd name="connsiteY2" fmla="*/ 2364952 h 6858000"/>
              <a:gd name="connsiteX3" fmla="*/ 1249720 w 12193200"/>
              <a:gd name="connsiteY3" fmla="*/ 2128273 h 6858000"/>
              <a:gd name="connsiteX4" fmla="*/ 2959359 w 12193200"/>
              <a:gd name="connsiteY4" fmla="*/ 1419521 h 6858000"/>
              <a:gd name="connsiteX5" fmla="*/ 2959359 w 12193200"/>
              <a:gd name="connsiteY5" fmla="*/ 1656317 h 6858000"/>
              <a:gd name="connsiteX6" fmla="*/ 3060792 w 12193200"/>
              <a:gd name="connsiteY6" fmla="*/ 1656317 h 6858000"/>
              <a:gd name="connsiteX7" fmla="*/ 3060792 w 12193200"/>
              <a:gd name="connsiteY7" fmla="*/ 1419521 h 6858000"/>
              <a:gd name="connsiteX8" fmla="*/ 1694416 w 12193200"/>
              <a:gd name="connsiteY8" fmla="*/ 1418235 h 6858000"/>
              <a:gd name="connsiteX9" fmla="*/ 1874821 w 12193200"/>
              <a:gd name="connsiteY9" fmla="*/ 1418235 h 6858000"/>
              <a:gd name="connsiteX10" fmla="*/ 1874821 w 12193200"/>
              <a:gd name="connsiteY10" fmla="*/ 1655031 h 6858000"/>
              <a:gd name="connsiteX11" fmla="*/ 1694416 w 12193200"/>
              <a:gd name="connsiteY11" fmla="*/ 1655031 h 6858000"/>
              <a:gd name="connsiteX12" fmla="*/ 3397151 w 12193200"/>
              <a:gd name="connsiteY12" fmla="*/ 1181438 h 6858000"/>
              <a:gd name="connsiteX13" fmla="*/ 3397151 w 12193200"/>
              <a:gd name="connsiteY13" fmla="*/ 1181672 h 6858000"/>
              <a:gd name="connsiteX14" fmla="*/ 3396917 w 12193200"/>
              <a:gd name="connsiteY14" fmla="*/ 1182023 h 6858000"/>
              <a:gd name="connsiteX15" fmla="*/ 3396917 w 12193200"/>
              <a:gd name="connsiteY15" fmla="*/ 1419521 h 6858000"/>
              <a:gd name="connsiteX16" fmla="*/ 3497532 w 12193200"/>
              <a:gd name="connsiteY16" fmla="*/ 1419521 h 6858000"/>
              <a:gd name="connsiteX17" fmla="*/ 3497532 w 12193200"/>
              <a:gd name="connsiteY17" fmla="*/ 1181438 h 6858000"/>
              <a:gd name="connsiteX18" fmla="*/ 3997448 w 12193200"/>
              <a:gd name="connsiteY18" fmla="*/ 1181320 h 6858000"/>
              <a:gd name="connsiteX19" fmla="*/ 3997448 w 12193200"/>
              <a:gd name="connsiteY19" fmla="*/ 1418117 h 6858000"/>
              <a:gd name="connsiteX20" fmla="*/ 4177853 w 12193200"/>
              <a:gd name="connsiteY20" fmla="*/ 1418117 h 6858000"/>
              <a:gd name="connsiteX21" fmla="*/ 4177853 w 12193200"/>
              <a:gd name="connsiteY21" fmla="*/ 1181320 h 6858000"/>
              <a:gd name="connsiteX22" fmla="*/ 5869826 w 12193200"/>
              <a:gd name="connsiteY22" fmla="*/ 470580 h 6858000"/>
              <a:gd name="connsiteX23" fmla="*/ 5869826 w 12193200"/>
              <a:gd name="connsiteY23" fmla="*/ 707377 h 6858000"/>
              <a:gd name="connsiteX24" fmla="*/ 5971259 w 12193200"/>
              <a:gd name="connsiteY24" fmla="*/ 707377 h 6858000"/>
              <a:gd name="connsiteX25" fmla="*/ 5971259 w 12193200"/>
              <a:gd name="connsiteY25" fmla="*/ 470580 h 6858000"/>
              <a:gd name="connsiteX26" fmla="*/ 4750308 w 12193200"/>
              <a:gd name="connsiteY26" fmla="*/ 234369 h 6858000"/>
              <a:gd name="connsiteX27" fmla="*/ 5201320 w 12193200"/>
              <a:gd name="connsiteY27" fmla="*/ 234369 h 6858000"/>
              <a:gd name="connsiteX28" fmla="*/ 5201320 w 12193200"/>
              <a:gd name="connsiteY28" fmla="*/ 471165 h 6858000"/>
              <a:gd name="connsiteX29" fmla="*/ 4750308 w 12193200"/>
              <a:gd name="connsiteY29" fmla="*/ 471165 h 6858000"/>
              <a:gd name="connsiteX30" fmla="*/ 4468468 w 12193200"/>
              <a:gd name="connsiteY30" fmla="*/ 234369 h 6858000"/>
              <a:gd name="connsiteX31" fmla="*/ 4648874 w 12193200"/>
              <a:gd name="connsiteY31" fmla="*/ 234369 h 6858000"/>
              <a:gd name="connsiteX32" fmla="*/ 4648874 w 12193200"/>
              <a:gd name="connsiteY32" fmla="*/ 471165 h 6858000"/>
              <a:gd name="connsiteX33" fmla="*/ 4468468 w 12193200"/>
              <a:gd name="connsiteY33" fmla="*/ 471165 h 6858000"/>
              <a:gd name="connsiteX34" fmla="*/ 6042859 w 12193200"/>
              <a:gd name="connsiteY34" fmla="*/ 0 h 6858000"/>
              <a:gd name="connsiteX35" fmla="*/ 7423510 w 12193200"/>
              <a:gd name="connsiteY35" fmla="*/ 0 h 6858000"/>
              <a:gd name="connsiteX36" fmla="*/ 7423510 w 12193200"/>
              <a:gd name="connsiteY36" fmla="*/ 234369 h 6858000"/>
              <a:gd name="connsiteX37" fmla="*/ 7524943 w 12193200"/>
              <a:gd name="connsiteY37" fmla="*/ 234369 h 6858000"/>
              <a:gd name="connsiteX38" fmla="*/ 7524943 w 12193200"/>
              <a:gd name="connsiteY38" fmla="*/ 0 h 6858000"/>
              <a:gd name="connsiteX39" fmla="*/ 12193200 w 12193200"/>
              <a:gd name="connsiteY39" fmla="*/ 0 h 6858000"/>
              <a:gd name="connsiteX40" fmla="*/ 12193200 w 12193200"/>
              <a:gd name="connsiteY40" fmla="*/ 6858000 h 6858000"/>
              <a:gd name="connsiteX41" fmla="*/ 0 w 12193200"/>
              <a:gd name="connsiteY41" fmla="*/ 6858000 h 6858000"/>
              <a:gd name="connsiteX42" fmla="*/ 0 w 12193200"/>
              <a:gd name="connsiteY42" fmla="*/ 2364601 h 6858000"/>
              <a:gd name="connsiteX43" fmla="*/ 133594 w 12193200"/>
              <a:gd name="connsiteY43" fmla="*/ 2364601 h 6858000"/>
              <a:gd name="connsiteX44" fmla="*/ 133594 w 12193200"/>
              <a:gd name="connsiteY44" fmla="*/ 2127805 h 6858000"/>
              <a:gd name="connsiteX45" fmla="*/ 231284 w 12193200"/>
              <a:gd name="connsiteY45" fmla="*/ 2127805 h 6858000"/>
              <a:gd name="connsiteX46" fmla="*/ 231284 w 12193200"/>
              <a:gd name="connsiteY46" fmla="*/ 2364601 h 6858000"/>
              <a:gd name="connsiteX47" fmla="*/ 415668 w 12193200"/>
              <a:gd name="connsiteY47" fmla="*/ 2364601 h 6858000"/>
              <a:gd name="connsiteX48" fmla="*/ 415668 w 12193200"/>
              <a:gd name="connsiteY48" fmla="*/ 2601046 h 6858000"/>
              <a:gd name="connsiteX49" fmla="*/ 517102 w 12193200"/>
              <a:gd name="connsiteY49" fmla="*/ 2601046 h 6858000"/>
              <a:gd name="connsiteX50" fmla="*/ 517102 w 12193200"/>
              <a:gd name="connsiteY50" fmla="*/ 2364601 h 6858000"/>
              <a:gd name="connsiteX51" fmla="*/ 697507 w 12193200"/>
              <a:gd name="connsiteY51" fmla="*/ 2364601 h 6858000"/>
              <a:gd name="connsiteX52" fmla="*/ 697507 w 12193200"/>
              <a:gd name="connsiteY52" fmla="*/ 2127921 h 6858000"/>
              <a:gd name="connsiteX53" fmla="*/ 517102 w 12193200"/>
              <a:gd name="connsiteY53" fmla="*/ 2127921 h 6858000"/>
              <a:gd name="connsiteX54" fmla="*/ 517102 w 12193200"/>
              <a:gd name="connsiteY54" fmla="*/ 1891125 h 6858000"/>
              <a:gd name="connsiteX55" fmla="*/ 1353611 w 12193200"/>
              <a:gd name="connsiteY55" fmla="*/ 1891125 h 6858000"/>
              <a:gd name="connsiteX56" fmla="*/ 1353611 w 12193200"/>
              <a:gd name="connsiteY56" fmla="*/ 1655031 h 6858000"/>
              <a:gd name="connsiteX57" fmla="*/ 1694416 w 12193200"/>
              <a:gd name="connsiteY57" fmla="*/ 1655031 h 6858000"/>
              <a:gd name="connsiteX58" fmla="*/ 1694416 w 12193200"/>
              <a:gd name="connsiteY58" fmla="*/ 1891360 h 6858000"/>
              <a:gd name="connsiteX59" fmla="*/ 1976255 w 12193200"/>
              <a:gd name="connsiteY59" fmla="*/ 1891360 h 6858000"/>
              <a:gd name="connsiteX60" fmla="*/ 1976255 w 12193200"/>
              <a:gd name="connsiteY60" fmla="*/ 1418235 h 6858000"/>
              <a:gd name="connsiteX61" fmla="*/ 2427268 w 12193200"/>
              <a:gd name="connsiteY61" fmla="*/ 1418235 h 6858000"/>
              <a:gd name="connsiteX62" fmla="*/ 2523204 w 12193200"/>
              <a:gd name="connsiteY62" fmla="*/ 1418235 h 6858000"/>
              <a:gd name="connsiteX63" fmla="*/ 2523204 w 12193200"/>
              <a:gd name="connsiteY63" fmla="*/ 1180970 h 6858000"/>
              <a:gd name="connsiteX64" fmla="*/ 2940171 w 12193200"/>
              <a:gd name="connsiteY64" fmla="*/ 1180970 h 6858000"/>
              <a:gd name="connsiteX65" fmla="*/ 2940171 w 12193200"/>
              <a:gd name="connsiteY65" fmla="*/ 944174 h 6858000"/>
              <a:gd name="connsiteX66" fmla="*/ 3126426 w 12193200"/>
              <a:gd name="connsiteY66" fmla="*/ 944174 h 6858000"/>
              <a:gd name="connsiteX67" fmla="*/ 3126426 w 12193200"/>
              <a:gd name="connsiteY67" fmla="*/ 706909 h 6858000"/>
              <a:gd name="connsiteX68" fmla="*/ 3227977 w 12193200"/>
              <a:gd name="connsiteY68" fmla="*/ 706909 h 6858000"/>
              <a:gd name="connsiteX69" fmla="*/ 3227977 w 12193200"/>
              <a:gd name="connsiteY69" fmla="*/ 944174 h 6858000"/>
              <a:gd name="connsiteX70" fmla="*/ 3677938 w 12193200"/>
              <a:gd name="connsiteY70" fmla="*/ 944174 h 6858000"/>
              <a:gd name="connsiteX71" fmla="*/ 3677938 w 12193200"/>
              <a:gd name="connsiteY71" fmla="*/ 1180970 h 6858000"/>
              <a:gd name="connsiteX72" fmla="*/ 3778553 w 12193200"/>
              <a:gd name="connsiteY72" fmla="*/ 1180970 h 6858000"/>
              <a:gd name="connsiteX73" fmla="*/ 3778553 w 12193200"/>
              <a:gd name="connsiteY73" fmla="*/ 944174 h 6858000"/>
              <a:gd name="connsiteX74" fmla="*/ 3987855 w 12193200"/>
              <a:gd name="connsiteY74" fmla="*/ 944174 h 6858000"/>
              <a:gd name="connsiteX75" fmla="*/ 3987855 w 12193200"/>
              <a:gd name="connsiteY75" fmla="*/ 706909 h 6858000"/>
              <a:gd name="connsiteX76" fmla="*/ 4569902 w 12193200"/>
              <a:gd name="connsiteY76" fmla="*/ 706909 h 6858000"/>
              <a:gd name="connsiteX77" fmla="*/ 4569902 w 12193200"/>
              <a:gd name="connsiteY77" fmla="*/ 944174 h 6858000"/>
              <a:gd name="connsiteX78" fmla="*/ 5039400 w 12193200"/>
              <a:gd name="connsiteY78" fmla="*/ 944174 h 6858000"/>
              <a:gd name="connsiteX79" fmla="*/ 5039400 w 12193200"/>
              <a:gd name="connsiteY79" fmla="*/ 707377 h 6858000"/>
              <a:gd name="connsiteX80" fmla="*/ 5496262 w 12193200"/>
              <a:gd name="connsiteY80" fmla="*/ 707377 h 6858000"/>
              <a:gd name="connsiteX81" fmla="*/ 5496262 w 12193200"/>
              <a:gd name="connsiteY81" fmla="*/ 470580 h 6858000"/>
              <a:gd name="connsiteX82" fmla="*/ 5302755 w 12193200"/>
              <a:gd name="connsiteY82" fmla="*/ 470580 h 6858000"/>
              <a:gd name="connsiteX83" fmla="*/ 5302755 w 12193200"/>
              <a:gd name="connsiteY83" fmla="*/ 233784 h 6858000"/>
              <a:gd name="connsiteX84" fmla="*/ 6042859 w 12193200"/>
              <a:gd name="connsiteY84" fmla="*/ 2337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193200" h="6858000">
                <a:moveTo>
                  <a:pt x="1148287" y="2128273"/>
                </a:moveTo>
                <a:lnTo>
                  <a:pt x="1148287" y="2364952"/>
                </a:lnTo>
                <a:lnTo>
                  <a:pt x="1249720" y="2364952"/>
                </a:lnTo>
                <a:lnTo>
                  <a:pt x="1249720" y="2128273"/>
                </a:lnTo>
                <a:close/>
                <a:moveTo>
                  <a:pt x="2959359" y="1419521"/>
                </a:moveTo>
                <a:lnTo>
                  <a:pt x="2959359" y="1656317"/>
                </a:lnTo>
                <a:lnTo>
                  <a:pt x="3060792" y="1656317"/>
                </a:lnTo>
                <a:lnTo>
                  <a:pt x="3060792" y="1419521"/>
                </a:lnTo>
                <a:close/>
                <a:moveTo>
                  <a:pt x="1694416" y="1418235"/>
                </a:moveTo>
                <a:lnTo>
                  <a:pt x="1874821" y="1418235"/>
                </a:lnTo>
                <a:lnTo>
                  <a:pt x="1874821" y="1655031"/>
                </a:lnTo>
                <a:lnTo>
                  <a:pt x="1694416" y="1655031"/>
                </a:lnTo>
                <a:close/>
                <a:moveTo>
                  <a:pt x="3397151" y="1181438"/>
                </a:moveTo>
                <a:lnTo>
                  <a:pt x="3397151" y="1181672"/>
                </a:lnTo>
                <a:cubicBezTo>
                  <a:pt x="3397151" y="1181672"/>
                  <a:pt x="3396917" y="1182023"/>
                  <a:pt x="3396917" y="1182023"/>
                </a:cubicBezTo>
                <a:lnTo>
                  <a:pt x="3396917" y="1419521"/>
                </a:lnTo>
                <a:lnTo>
                  <a:pt x="3497532" y="1419521"/>
                </a:lnTo>
                <a:lnTo>
                  <a:pt x="3497532" y="1181438"/>
                </a:lnTo>
                <a:close/>
                <a:moveTo>
                  <a:pt x="3997448" y="1181320"/>
                </a:moveTo>
                <a:lnTo>
                  <a:pt x="3997448" y="1418117"/>
                </a:lnTo>
                <a:lnTo>
                  <a:pt x="4177853" y="1418117"/>
                </a:lnTo>
                <a:lnTo>
                  <a:pt x="4177853" y="1181320"/>
                </a:lnTo>
                <a:close/>
                <a:moveTo>
                  <a:pt x="5869826" y="470580"/>
                </a:moveTo>
                <a:lnTo>
                  <a:pt x="5869826" y="707377"/>
                </a:lnTo>
                <a:lnTo>
                  <a:pt x="5971259" y="707377"/>
                </a:lnTo>
                <a:lnTo>
                  <a:pt x="5971259" y="470580"/>
                </a:lnTo>
                <a:close/>
                <a:moveTo>
                  <a:pt x="4750308" y="234369"/>
                </a:moveTo>
                <a:lnTo>
                  <a:pt x="5201320" y="234369"/>
                </a:lnTo>
                <a:lnTo>
                  <a:pt x="5201320" y="471165"/>
                </a:lnTo>
                <a:lnTo>
                  <a:pt x="4750308" y="471165"/>
                </a:lnTo>
                <a:close/>
                <a:moveTo>
                  <a:pt x="4468468" y="234369"/>
                </a:moveTo>
                <a:lnTo>
                  <a:pt x="4648874" y="234369"/>
                </a:lnTo>
                <a:lnTo>
                  <a:pt x="4648874" y="471165"/>
                </a:lnTo>
                <a:lnTo>
                  <a:pt x="4468468" y="471165"/>
                </a:lnTo>
                <a:close/>
                <a:moveTo>
                  <a:pt x="6042859" y="0"/>
                </a:moveTo>
                <a:lnTo>
                  <a:pt x="7423510" y="0"/>
                </a:lnTo>
                <a:lnTo>
                  <a:pt x="7423510" y="234369"/>
                </a:lnTo>
                <a:lnTo>
                  <a:pt x="7524943" y="234369"/>
                </a:lnTo>
                <a:lnTo>
                  <a:pt x="7524943" y="0"/>
                </a:lnTo>
                <a:lnTo>
                  <a:pt x="12193200" y="0"/>
                </a:lnTo>
                <a:lnTo>
                  <a:pt x="12193200" y="6858000"/>
                </a:lnTo>
                <a:lnTo>
                  <a:pt x="0" y="6858000"/>
                </a:lnTo>
                <a:lnTo>
                  <a:pt x="0" y="2364601"/>
                </a:lnTo>
                <a:lnTo>
                  <a:pt x="133594" y="2364601"/>
                </a:lnTo>
                <a:lnTo>
                  <a:pt x="133594" y="2127805"/>
                </a:lnTo>
                <a:lnTo>
                  <a:pt x="231284" y="2127805"/>
                </a:lnTo>
                <a:lnTo>
                  <a:pt x="231284" y="2364601"/>
                </a:lnTo>
                <a:lnTo>
                  <a:pt x="415668" y="2364601"/>
                </a:lnTo>
                <a:lnTo>
                  <a:pt x="415668" y="2601046"/>
                </a:lnTo>
                <a:lnTo>
                  <a:pt x="517102" y="2601046"/>
                </a:lnTo>
                <a:lnTo>
                  <a:pt x="517102" y="2364601"/>
                </a:lnTo>
                <a:lnTo>
                  <a:pt x="697507" y="2364601"/>
                </a:lnTo>
                <a:lnTo>
                  <a:pt x="697507" y="2127921"/>
                </a:lnTo>
                <a:lnTo>
                  <a:pt x="517102" y="2127921"/>
                </a:lnTo>
                <a:lnTo>
                  <a:pt x="517102" y="1891125"/>
                </a:lnTo>
                <a:lnTo>
                  <a:pt x="1353611" y="1891125"/>
                </a:lnTo>
                <a:lnTo>
                  <a:pt x="1353611" y="1655031"/>
                </a:lnTo>
                <a:lnTo>
                  <a:pt x="1694416" y="1655031"/>
                </a:lnTo>
                <a:lnTo>
                  <a:pt x="1694416" y="1891360"/>
                </a:lnTo>
                <a:lnTo>
                  <a:pt x="1976255" y="1891360"/>
                </a:lnTo>
                <a:lnTo>
                  <a:pt x="1976255" y="1418235"/>
                </a:lnTo>
                <a:cubicBezTo>
                  <a:pt x="1976255" y="1418235"/>
                  <a:pt x="2427268" y="1418235"/>
                  <a:pt x="2427268" y="1418235"/>
                </a:cubicBezTo>
                <a:lnTo>
                  <a:pt x="2523204" y="1418235"/>
                </a:lnTo>
                <a:lnTo>
                  <a:pt x="2523204" y="1180970"/>
                </a:lnTo>
                <a:lnTo>
                  <a:pt x="2940171" y="1180970"/>
                </a:lnTo>
                <a:lnTo>
                  <a:pt x="2940171" y="944174"/>
                </a:lnTo>
                <a:lnTo>
                  <a:pt x="3126426" y="944174"/>
                </a:lnTo>
                <a:lnTo>
                  <a:pt x="3126426" y="706909"/>
                </a:lnTo>
                <a:lnTo>
                  <a:pt x="3227977" y="706909"/>
                </a:lnTo>
                <a:lnTo>
                  <a:pt x="3227977" y="944174"/>
                </a:lnTo>
                <a:lnTo>
                  <a:pt x="3677938" y="944174"/>
                </a:lnTo>
                <a:lnTo>
                  <a:pt x="3677938" y="1180970"/>
                </a:lnTo>
                <a:lnTo>
                  <a:pt x="3778553" y="1180970"/>
                </a:lnTo>
                <a:lnTo>
                  <a:pt x="3778553" y="944174"/>
                </a:lnTo>
                <a:lnTo>
                  <a:pt x="3987855" y="944174"/>
                </a:lnTo>
                <a:lnTo>
                  <a:pt x="3987855" y="706909"/>
                </a:lnTo>
                <a:lnTo>
                  <a:pt x="4569902" y="706909"/>
                </a:lnTo>
                <a:lnTo>
                  <a:pt x="4569902" y="944174"/>
                </a:lnTo>
                <a:lnTo>
                  <a:pt x="5039400" y="944174"/>
                </a:lnTo>
                <a:lnTo>
                  <a:pt x="5039400" y="707377"/>
                </a:lnTo>
                <a:lnTo>
                  <a:pt x="5496262" y="707377"/>
                </a:lnTo>
                <a:lnTo>
                  <a:pt x="5496262" y="470580"/>
                </a:lnTo>
                <a:lnTo>
                  <a:pt x="5302755" y="470580"/>
                </a:lnTo>
                <a:lnTo>
                  <a:pt x="5302755" y="233784"/>
                </a:lnTo>
                <a:lnTo>
                  <a:pt x="6042859" y="233784"/>
                </a:lnTo>
                <a:close/>
              </a:path>
            </a:pathLst>
          </a:custGeom>
          <a:solidFill>
            <a:srgbClr val="00153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38338FB2-C183-D6B7-9264-764B51F4094F}"/>
              </a:ext>
            </a:extLst>
          </p:cNvPr>
          <p:cNvSpPr>
            <a:spLocks noGrp="1"/>
          </p:cNvSpPr>
          <p:nvPr>
            <p:ph type="title"/>
          </p:nvPr>
        </p:nvSpPr>
        <p:spPr>
          <a:xfrm>
            <a:off x="5310000" y="1170000"/>
            <a:ext cx="6120000" cy="553998"/>
          </a:xfrm>
        </p:spPr>
        <p:txBody>
          <a:bodyPr/>
          <a:lstStyle>
            <a:lvl1pPr>
              <a:defRPr>
                <a:solidFill>
                  <a:schemeClr val="tx1"/>
                </a:solidFill>
              </a:defRPr>
            </a:lvl1pPr>
          </a:lstStyle>
          <a:p>
            <a:r>
              <a:rPr lang="en-US"/>
              <a:t>Click to edit Master title style</a:t>
            </a:r>
            <a:endParaRPr lang="en-GB" dirty="0"/>
          </a:p>
        </p:txBody>
      </p:sp>
      <p:pic>
        <p:nvPicPr>
          <p:cNvPr id="4" name="Logo">
            <a:extLst>
              <a:ext uri="{FF2B5EF4-FFF2-40B4-BE49-F238E27FC236}">
                <a16:creationId xmlns:a16="http://schemas.microsoft.com/office/drawing/2014/main" id="{FB6DC4FA-7505-2CC7-2D58-B7400C88BFB8}"/>
              </a:ext>
            </a:extLst>
          </p:cNvPr>
          <p:cNvPicPr>
            <a:picLocks/>
          </p:cNvPicPr>
          <p:nvPr>
            <p:custDataLst>
              <p:tags r:id="rId2"/>
            </p:custDataLst>
          </p:nvPr>
        </p:nvPicPr>
        <p:blipFill rotWithShape="1">
          <a:blip r:embed="rId4">
            <a:extLst>
              <a:ext uri="{96DAC541-7B7A-43D3-8B79-37D633B846F1}">
                <asvg:svgBlip xmlns:asvg="http://schemas.microsoft.com/office/drawing/2016/SVG/main" r:embed="rId5"/>
              </a:ext>
            </a:extLst>
          </a:blip>
          <a:srcRect t="80" b="80"/>
          <a:stretch/>
        </p:blipFill>
        <p:spPr bwMode="black">
          <a:xfrm>
            <a:off x="10866053" y="278965"/>
            <a:ext cx="900000" cy="378445"/>
          </a:xfrm>
          <a:prstGeom prst="rect">
            <a:avLst/>
          </a:prstGeom>
        </p:spPr>
      </p:pic>
    </p:spTree>
    <p:extLst>
      <p:ext uri="{BB962C8B-B14F-4D97-AF65-F5344CB8AC3E}">
        <p14:creationId xmlns:p14="http://schemas.microsoft.com/office/powerpoint/2010/main" val="191535803"/>
      </p:ext>
    </p:extLst>
  </p:cSld>
  <p:clrMapOvr>
    <a:overrideClrMapping bg1="dk1" tx1="lt1" bg2="dk2" tx2="lt2" accent1="accent1" accent2="accent2" accent3="accent3" accent4="accent4" accent5="accent5" accent6="accent6" hlink="hlink" folHlink="folHlink"/>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Photo and text layout 1">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AD2C749E-6DD4-1102-2E96-0961E97858C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80340"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 make it punchy!</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80341" cy="419100"/>
          </a:xfrm>
        </p:spPr>
        <p:txBody>
          <a:bodyPr/>
          <a:lstStyle>
            <a:lvl1pPr>
              <a:defRPr sz="2000" b="1">
                <a:solidFill>
                  <a:schemeClr val="tx2"/>
                </a:solidFill>
              </a:defRPr>
            </a:lvl1pPr>
          </a:lstStyle>
          <a:p>
            <a:pPr lvl="0"/>
            <a:r>
              <a:rPr lang="en-GB"/>
              <a:t>Heading</a:t>
            </a:r>
          </a:p>
        </p:txBody>
      </p:sp>
      <p:sp>
        <p:nvSpPr>
          <p:cNvPr id="27" name="Picture Placeholder 26">
            <a:extLst>
              <a:ext uri="{FF2B5EF4-FFF2-40B4-BE49-F238E27FC236}">
                <a16:creationId xmlns:a16="http://schemas.microsoft.com/office/drawing/2014/main" id="{BF48D752-9287-95B9-FAA6-9C6985A15047}"/>
              </a:ext>
            </a:extLst>
          </p:cNvPr>
          <p:cNvSpPr>
            <a:spLocks noGrp="1"/>
          </p:cNvSpPr>
          <p:nvPr>
            <p:ph type="pic" sz="quarter" idx="17" hasCustomPrompt="1"/>
          </p:nvPr>
        </p:nvSpPr>
        <p:spPr>
          <a:xfrm>
            <a:off x="0" y="0"/>
            <a:ext cx="5316538" cy="6858000"/>
          </a:xfrm>
          <a:custGeom>
            <a:avLst/>
            <a:gdLst>
              <a:gd name="connsiteX0" fmla="*/ 755651 w 5316538"/>
              <a:gd name="connsiteY0" fmla="*/ 709937 h 6858000"/>
              <a:gd name="connsiteX1" fmla="*/ 755651 w 5316538"/>
              <a:gd name="connsiteY1" fmla="*/ 1263935 h 6858000"/>
              <a:gd name="connsiteX2" fmla="*/ 1015764 w 5316538"/>
              <a:gd name="connsiteY2" fmla="*/ 1263935 h 6858000"/>
              <a:gd name="connsiteX3" fmla="*/ 1015764 w 5316538"/>
              <a:gd name="connsiteY3" fmla="*/ 709937 h 6858000"/>
              <a:gd name="connsiteX4" fmla="*/ 1096769 w 5316538"/>
              <a:gd name="connsiteY4" fmla="*/ 709937 h 6858000"/>
              <a:gd name="connsiteX5" fmla="*/ 1096769 w 5316538"/>
              <a:gd name="connsiteY5" fmla="*/ 1263935 h 6858000"/>
              <a:gd name="connsiteX6" fmla="*/ 1940364 w 5316538"/>
              <a:gd name="connsiteY6" fmla="*/ 1263935 h 6858000"/>
              <a:gd name="connsiteX7" fmla="*/ 1940364 w 5316538"/>
              <a:gd name="connsiteY7" fmla="*/ 709937 h 6858000"/>
              <a:gd name="connsiteX8" fmla="*/ 0 w 5316538"/>
              <a:gd name="connsiteY8" fmla="*/ 0 h 6858000"/>
              <a:gd name="connsiteX9" fmla="*/ 5316538 w 5316538"/>
              <a:gd name="connsiteY9" fmla="*/ 0 h 6858000"/>
              <a:gd name="connsiteX10" fmla="*/ 5316538 w 5316538"/>
              <a:gd name="connsiteY10" fmla="*/ 709937 h 6858000"/>
              <a:gd name="connsiteX11" fmla="*/ 2021369 w 5316538"/>
              <a:gd name="connsiteY11" fmla="*/ 709937 h 6858000"/>
              <a:gd name="connsiteX12" fmla="*/ 2021369 w 5316538"/>
              <a:gd name="connsiteY12" fmla="*/ 1263935 h 6858000"/>
              <a:gd name="connsiteX13" fmla="*/ 5316538 w 5316538"/>
              <a:gd name="connsiteY13" fmla="*/ 1263935 h 6858000"/>
              <a:gd name="connsiteX14" fmla="*/ 5316538 w 5316538"/>
              <a:gd name="connsiteY14" fmla="*/ 6858000 h 6858000"/>
              <a:gd name="connsiteX15" fmla="*/ 0 w 5316538"/>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6538" h="6858000">
                <a:moveTo>
                  <a:pt x="755651" y="709937"/>
                </a:moveTo>
                <a:lnTo>
                  <a:pt x="755651" y="1263935"/>
                </a:lnTo>
                <a:lnTo>
                  <a:pt x="1015764" y="1263935"/>
                </a:lnTo>
                <a:lnTo>
                  <a:pt x="1015764" y="709937"/>
                </a:lnTo>
                <a:close/>
                <a:moveTo>
                  <a:pt x="1096769" y="709937"/>
                </a:moveTo>
                <a:lnTo>
                  <a:pt x="1096769" y="1263935"/>
                </a:lnTo>
                <a:lnTo>
                  <a:pt x="1940364" y="1263935"/>
                </a:lnTo>
                <a:lnTo>
                  <a:pt x="1940364" y="709937"/>
                </a:lnTo>
                <a:close/>
                <a:moveTo>
                  <a:pt x="0" y="0"/>
                </a:moveTo>
                <a:lnTo>
                  <a:pt x="5316538" y="0"/>
                </a:lnTo>
                <a:lnTo>
                  <a:pt x="5316538" y="709937"/>
                </a:lnTo>
                <a:lnTo>
                  <a:pt x="2021369" y="709937"/>
                </a:lnTo>
                <a:lnTo>
                  <a:pt x="2021369" y="1263935"/>
                </a:lnTo>
                <a:lnTo>
                  <a:pt x="5316538" y="1263935"/>
                </a:lnTo>
                <a:lnTo>
                  <a:pt x="5316538" y="6858000"/>
                </a:lnTo>
                <a:lnTo>
                  <a:pt x="0" y="6858000"/>
                </a:lnTo>
                <a:close/>
              </a:path>
            </a:pathLst>
          </a:custGeom>
          <a:solidFill>
            <a:srgbClr val="CFD0D1"/>
          </a:solidFill>
        </p:spPr>
        <p:txBody>
          <a:bodyPr wrap="square">
            <a:noAutofit/>
          </a:bodyPr>
          <a:lstStyle/>
          <a:p>
            <a:r>
              <a:rPr lang="en-US"/>
              <a:t> </a:t>
            </a:r>
          </a:p>
        </p:txBody>
      </p:sp>
      <p:sp>
        <p:nvSpPr>
          <p:cNvPr id="5" name="Date Placeholder 10">
            <a:extLst>
              <a:ext uri="{FF2B5EF4-FFF2-40B4-BE49-F238E27FC236}">
                <a16:creationId xmlns:a16="http://schemas.microsoft.com/office/drawing/2014/main" id="{31F374B0-7DE4-09E1-F71F-795F61BF678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41239B9F-121A-4E4E-8E24-429B21B31C11}" type="datetime4">
              <a:rPr lang="en-GB" smtClean="0"/>
              <a:t>17 July 2024</a:t>
            </a:fld>
            <a:endParaRPr lang="en-US"/>
          </a:p>
        </p:txBody>
      </p:sp>
      <p:sp>
        <p:nvSpPr>
          <p:cNvPr id="6" name="Rectangle 5">
            <a:extLst>
              <a:ext uri="{FF2B5EF4-FFF2-40B4-BE49-F238E27FC236}">
                <a16:creationId xmlns:a16="http://schemas.microsoft.com/office/drawing/2014/main" id="{624E6470-A545-0955-0377-2236944F3EB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8" name="Slide Number Placeholder 2">
            <a:extLst>
              <a:ext uri="{FF2B5EF4-FFF2-40B4-BE49-F238E27FC236}">
                <a16:creationId xmlns:a16="http://schemas.microsoft.com/office/drawing/2014/main" id="{1C2421EF-A1F7-84D7-B95A-455C5E5FF6DB}"/>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021EBEEB-9649-2F67-270F-05638CA5842A}"/>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4719A416-9CCB-531C-7884-9C1AAF398A3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B0D994CE-6A60-46F5-6BF2-148330264AB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480115B-2089-3A84-28B5-C741692F66A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9F81584-6436-3402-B44A-D71A8A17404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A7E849-B7BF-76F8-DE20-F5FD1944DED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1B1CDEE-D9E5-4608-9586-526E6590051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CF0FFBC-56FB-74A2-CA4F-7B6D767DB1F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46852949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hoto and text layout 2">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B2D54EFE-4F9F-632D-8DFF-C14A10F3A0FE}"/>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98658"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Portrait image slide</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rgbClr val="141439"/>
                </a:solidFill>
              </a:defRPr>
            </a:lvl1pPr>
            <a:lvl2pPr>
              <a:defRPr sz="1600">
                <a:solidFill>
                  <a:srgbClr val="141439"/>
                </a:solidFill>
              </a:defRPr>
            </a:lvl2pPr>
            <a:lvl3pPr>
              <a:defRPr sz="1600">
                <a:solidFill>
                  <a:srgbClr val="141439"/>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98659" cy="419100"/>
          </a:xfrm>
        </p:spPr>
        <p:txBody>
          <a:bodyPr/>
          <a:lstStyle>
            <a:lvl1pPr>
              <a:defRPr sz="2000" b="1">
                <a:solidFill>
                  <a:schemeClr val="tx2"/>
                </a:solidFill>
              </a:defRPr>
            </a:lvl1pPr>
          </a:lstStyle>
          <a:p>
            <a:pPr lvl="0"/>
            <a:r>
              <a:rPr lang="en-GB"/>
              <a:t>Heading</a:t>
            </a:r>
          </a:p>
        </p:txBody>
      </p:sp>
      <p:sp>
        <p:nvSpPr>
          <p:cNvPr id="6" name="Date Placeholder 10">
            <a:extLst>
              <a:ext uri="{FF2B5EF4-FFF2-40B4-BE49-F238E27FC236}">
                <a16:creationId xmlns:a16="http://schemas.microsoft.com/office/drawing/2014/main" id="{20D4BF57-83DC-26DC-EA09-7322E458CB01}"/>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73E7ABF-5DFC-544E-A6C6-D2D27CA3A243}" type="datetime4">
              <a:rPr lang="en-GB" smtClean="0"/>
              <a:t>17 July 2024</a:t>
            </a:fld>
            <a:endParaRPr lang="en-US"/>
          </a:p>
        </p:txBody>
      </p:sp>
      <p:grpSp>
        <p:nvGrpSpPr>
          <p:cNvPr id="8" name="Group 7">
            <a:extLst>
              <a:ext uri="{FF2B5EF4-FFF2-40B4-BE49-F238E27FC236}">
                <a16:creationId xmlns:a16="http://schemas.microsoft.com/office/drawing/2014/main" id="{22474EBA-DA81-61A1-1FAD-7799C10C869D}"/>
              </a:ext>
            </a:extLst>
          </p:cNvPr>
          <p:cNvGrpSpPr/>
          <p:nvPr userDrawn="1">
            <p:custDataLst>
              <p:tags r:id="rId1"/>
            </p:custDataLst>
          </p:nvPr>
        </p:nvGrpSpPr>
        <p:grpSpPr>
          <a:xfrm flipV="1">
            <a:off x="815974" y="6238225"/>
            <a:ext cx="4500564" cy="45719"/>
            <a:chOff x="35335" y="-555561"/>
            <a:chExt cx="5151592" cy="555609"/>
          </a:xfrm>
          <a:solidFill>
            <a:schemeClr val="bg1"/>
          </a:solidFill>
        </p:grpSpPr>
        <p:sp>
          <p:nvSpPr>
            <p:cNvPr id="9" name="Rectangle 8">
              <a:extLst>
                <a:ext uri="{FF2B5EF4-FFF2-40B4-BE49-F238E27FC236}">
                  <a16:creationId xmlns:a16="http://schemas.microsoft.com/office/drawing/2014/main" id="{DD679DDB-41A9-9365-91C5-5C162E856A63}"/>
                </a:ext>
              </a:extLst>
            </p:cNvPr>
            <p:cNvSpPr/>
            <p:nvPr userDrawn="1"/>
          </p:nvSpPr>
          <p:spPr>
            <a:xfrm>
              <a:off x="35335" y="-555561"/>
              <a:ext cx="824981" cy="55559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7FCCBAB8-DA67-C504-C142-B037883B6B1A}"/>
                </a:ext>
              </a:extLst>
            </p:cNvPr>
            <p:cNvSpPr/>
            <p:nvPr userDrawn="1"/>
          </p:nvSpPr>
          <p:spPr>
            <a:xfrm>
              <a:off x="1065656" y="-555561"/>
              <a:ext cx="1853482" cy="55558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E0F25D04-7F80-B0AF-7653-D1AFB15FF058}"/>
                </a:ext>
              </a:extLst>
            </p:cNvPr>
            <p:cNvSpPr/>
            <p:nvPr userDrawn="1"/>
          </p:nvSpPr>
          <p:spPr>
            <a:xfrm>
              <a:off x="3111754" y="-555561"/>
              <a:ext cx="2075173" cy="55560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sp>
        <p:nvSpPr>
          <p:cNvPr id="15" name="Picture Placeholder 14">
            <a:extLst>
              <a:ext uri="{FF2B5EF4-FFF2-40B4-BE49-F238E27FC236}">
                <a16:creationId xmlns:a16="http://schemas.microsoft.com/office/drawing/2014/main" id="{F5E88FDD-0F31-872B-BDE0-BC9B4519557A}"/>
              </a:ext>
            </a:extLst>
          </p:cNvPr>
          <p:cNvSpPr>
            <a:spLocks noGrp="1"/>
          </p:cNvSpPr>
          <p:nvPr>
            <p:ph type="pic" sz="quarter" idx="17"/>
          </p:nvPr>
        </p:nvSpPr>
        <p:spPr>
          <a:xfrm>
            <a:off x="0" y="0"/>
            <a:ext cx="5316538" cy="6858000"/>
          </a:xfrm>
        </p:spPr>
        <p:txBody>
          <a:bodyPr/>
          <a:lstStyle/>
          <a:p>
            <a:endParaRPr lang="en-US"/>
          </a:p>
        </p:txBody>
      </p:sp>
      <p:sp>
        <p:nvSpPr>
          <p:cNvPr id="16" name="Rectangle 15">
            <a:extLst>
              <a:ext uri="{FF2B5EF4-FFF2-40B4-BE49-F238E27FC236}">
                <a16:creationId xmlns:a16="http://schemas.microsoft.com/office/drawing/2014/main" id="{1741C5AC-2A83-09A9-155E-F55C71587227}"/>
              </a:ext>
            </a:extLst>
          </p:cNvPr>
          <p:cNvSpPr/>
          <p:nvPr userDrawn="1"/>
        </p:nvSpPr>
        <p:spPr>
          <a:xfrm>
            <a:off x="8075966" y="-1070925"/>
            <a:ext cx="4116033" cy="899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CB98C4E7-5648-69C0-BF91-59338C2260F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6E7C94C2-3B85-3680-77AF-9B130184B3FE}"/>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B8305C9F-D43E-00E3-DF02-276990E67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B8E3BE67-A89D-C28E-570F-B22B7D7A148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D1A924-7CB5-1A5E-5BEE-34EE022CEE6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47D91C7-F652-198C-14F8-F97A8F0D8C3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B29A924-63D9-0C53-B374-2C50FCC2029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2B58657-22A7-4B89-DF1D-5FFC043A7C2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6A3D595-E3E6-4D8B-EEFA-6E66BC56134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45510153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ull-out slide">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932EE61A-11F8-AEE3-93E6-5EF2A5853A09}"/>
              </a:ext>
            </a:extLst>
          </p:cNvPr>
          <p:cNvSpPr/>
          <p:nvPr userDrawn="1"/>
        </p:nvSpPr>
        <p:spPr>
          <a:xfrm>
            <a:off x="6695990" y="3788994"/>
            <a:ext cx="5496010" cy="3069006"/>
          </a:xfrm>
          <a:prstGeom prst="rect">
            <a:avLst/>
          </a:prstGeom>
          <a:solidFill>
            <a:srgbClr val="E7E7E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Picture Placeholder 40">
            <a:extLst>
              <a:ext uri="{FF2B5EF4-FFF2-40B4-BE49-F238E27FC236}">
                <a16:creationId xmlns:a16="http://schemas.microsoft.com/office/drawing/2014/main" id="{1C302E52-07D0-1F59-60AC-6A2EA40253BC}"/>
              </a:ext>
            </a:extLst>
          </p:cNvPr>
          <p:cNvSpPr>
            <a:spLocks noGrp="1"/>
          </p:cNvSpPr>
          <p:nvPr>
            <p:ph type="pic" sz="quarter" idx="24"/>
          </p:nvPr>
        </p:nvSpPr>
        <p:spPr>
          <a:xfrm>
            <a:off x="0" y="0"/>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endParaRPr lang="en-US"/>
          </a:p>
        </p:txBody>
      </p:sp>
      <p:sp>
        <p:nvSpPr>
          <p:cNvPr id="15" name="Title Placeholder 13">
            <a:extLst>
              <a:ext uri="{FF2B5EF4-FFF2-40B4-BE49-F238E27FC236}">
                <a16:creationId xmlns:a16="http://schemas.microsoft.com/office/drawing/2014/main" id="{DC3B6FE6-7FB7-7E8B-8DEF-901D173E82FB}"/>
              </a:ext>
            </a:extLst>
          </p:cNvPr>
          <p:cNvSpPr>
            <a:spLocks noGrp="1"/>
          </p:cNvSpPr>
          <p:nvPr>
            <p:ph type="title" hasCustomPrompt="1"/>
          </p:nvPr>
        </p:nvSpPr>
        <p:spPr>
          <a:xfrm>
            <a:off x="846636" y="803982"/>
            <a:ext cx="5189040" cy="5015069"/>
          </a:xfrm>
          <a:prstGeom prst="rect">
            <a:avLst/>
          </a:prstGeom>
          <a:noFill/>
        </p:spPr>
        <p:txBody>
          <a:bodyPr vert="horz" wrap="square" lIns="180000" tIns="144000" rIns="180000" bIns="144000" rtlCol="0" anchor="ctr" anchorCtr="0">
            <a:noAutofit/>
          </a:bodyPr>
          <a:lstStyle>
            <a:lvl1pPr>
              <a:defRPr>
                <a:solidFill>
                  <a:schemeClr val="bg1"/>
                </a:solidFill>
              </a:defRPr>
            </a:lvl1pPr>
          </a:lstStyle>
          <a:p>
            <a:r>
              <a:rPr lang="en-US"/>
              <a:t>Pull-out slide</a:t>
            </a:r>
            <a:endParaRPr lang="en-GB"/>
          </a:p>
        </p:txBody>
      </p:sp>
      <p:sp>
        <p:nvSpPr>
          <p:cNvPr id="3" name="Date Placeholder 10">
            <a:extLst>
              <a:ext uri="{FF2B5EF4-FFF2-40B4-BE49-F238E27FC236}">
                <a16:creationId xmlns:a16="http://schemas.microsoft.com/office/drawing/2014/main" id="{F0FFB09C-9EF5-05AC-EA34-492DFF8F7F2B}"/>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85862DF3-7528-B643-826C-7D2126789E72}" type="datetime4">
              <a:rPr lang="en-GB" smtClean="0"/>
              <a:t>17 July 2024</a:t>
            </a:fld>
            <a:endParaRPr lang="en-US"/>
          </a:p>
        </p:txBody>
      </p:sp>
      <p:sp>
        <p:nvSpPr>
          <p:cNvPr id="7" name="Slide Number Placeholder 2">
            <a:extLst>
              <a:ext uri="{FF2B5EF4-FFF2-40B4-BE49-F238E27FC236}">
                <a16:creationId xmlns:a16="http://schemas.microsoft.com/office/drawing/2014/main" id="{2B8BB10B-25DF-C5D5-F8A9-47049E0C9E3E}"/>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173217144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Pull-out slide">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932EE61A-11F8-AEE3-93E6-5EF2A5853A09}"/>
              </a:ext>
            </a:extLst>
          </p:cNvPr>
          <p:cNvSpPr/>
          <p:nvPr userDrawn="1"/>
        </p:nvSpPr>
        <p:spPr>
          <a:xfrm>
            <a:off x="6695990" y="3788994"/>
            <a:ext cx="5496010" cy="3069006"/>
          </a:xfrm>
          <a:prstGeom prst="rect">
            <a:avLst/>
          </a:prstGeom>
          <a:solidFill>
            <a:srgbClr val="E7E7E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Picture Placeholder 40">
            <a:extLst>
              <a:ext uri="{FF2B5EF4-FFF2-40B4-BE49-F238E27FC236}">
                <a16:creationId xmlns:a16="http://schemas.microsoft.com/office/drawing/2014/main" id="{1C302E52-07D0-1F59-60AC-6A2EA40253BC}"/>
              </a:ext>
            </a:extLst>
          </p:cNvPr>
          <p:cNvSpPr>
            <a:spLocks noGrp="1"/>
          </p:cNvSpPr>
          <p:nvPr>
            <p:ph type="pic" sz="quarter" idx="24"/>
          </p:nvPr>
        </p:nvSpPr>
        <p:spPr>
          <a:xfrm>
            <a:off x="0" y="0"/>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endParaRPr lang="en-US"/>
          </a:p>
        </p:txBody>
      </p:sp>
      <p:sp>
        <p:nvSpPr>
          <p:cNvPr id="3" name="Date Placeholder 10">
            <a:extLst>
              <a:ext uri="{FF2B5EF4-FFF2-40B4-BE49-F238E27FC236}">
                <a16:creationId xmlns:a16="http://schemas.microsoft.com/office/drawing/2014/main" id="{F0FFB09C-9EF5-05AC-EA34-492DFF8F7F2B}"/>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85862DF3-7528-B643-826C-7D2126789E72}" type="datetime4">
              <a:rPr lang="en-GB" smtClean="0"/>
              <a:t>17 July 2024</a:t>
            </a:fld>
            <a:endParaRPr lang="en-US"/>
          </a:p>
        </p:txBody>
      </p:sp>
      <p:sp>
        <p:nvSpPr>
          <p:cNvPr id="7" name="Slide Number Placeholder 2">
            <a:extLst>
              <a:ext uri="{FF2B5EF4-FFF2-40B4-BE49-F238E27FC236}">
                <a16:creationId xmlns:a16="http://schemas.microsoft.com/office/drawing/2014/main" id="{2B8BB10B-25DF-C5D5-F8A9-47049E0C9E3E}"/>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134777757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6_Biog x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5" name="Rectangle 24">
            <a:extLst>
              <a:ext uri="{FF2B5EF4-FFF2-40B4-BE49-F238E27FC236}">
                <a16:creationId xmlns:a16="http://schemas.microsoft.com/office/drawing/2014/main" id="{73B53081-2F82-C255-DE2D-C94568285F6B}"/>
              </a:ext>
            </a:extLst>
          </p:cNvPr>
          <p:cNvSpPr/>
          <p:nvPr userDrawn="1"/>
        </p:nvSpPr>
        <p:spPr>
          <a:xfrm>
            <a:off x="812006" y="3535491"/>
            <a:ext cx="5230994" cy="2713461"/>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6" name="Rectangle 25">
            <a:extLst>
              <a:ext uri="{FF2B5EF4-FFF2-40B4-BE49-F238E27FC236}">
                <a16:creationId xmlns:a16="http://schemas.microsoft.com/office/drawing/2014/main" id="{8C543281-E189-AA22-7F55-BCDC64F3F998}"/>
              </a:ext>
            </a:extLst>
          </p:cNvPr>
          <p:cNvSpPr/>
          <p:nvPr userDrawn="1"/>
        </p:nvSpPr>
        <p:spPr>
          <a:xfrm>
            <a:off x="6210783" y="3530368"/>
            <a:ext cx="5230994" cy="27134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6" y="1881190"/>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3" name="Text Placeholder 2">
            <a:extLst>
              <a:ext uri="{FF2B5EF4-FFF2-40B4-BE49-F238E27FC236}">
                <a16:creationId xmlns:a16="http://schemas.microsoft.com/office/drawing/2014/main" id="{5623CA4F-526E-ABE4-FB78-11EA916026D8}"/>
              </a:ext>
            </a:extLst>
          </p:cNvPr>
          <p:cNvSpPr>
            <a:spLocks noGrp="1"/>
          </p:cNvSpPr>
          <p:nvPr>
            <p:ph type="body" sz="quarter" idx="10" hasCustomPrompt="1"/>
          </p:nvPr>
        </p:nvSpPr>
        <p:spPr>
          <a:xfrm>
            <a:off x="927994" y="4314517"/>
            <a:ext cx="4979264"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7" name="Text Placeholder 7">
            <a:extLst>
              <a:ext uri="{FF2B5EF4-FFF2-40B4-BE49-F238E27FC236}">
                <a16:creationId xmlns:a16="http://schemas.microsoft.com/office/drawing/2014/main" id="{420D8522-F614-29DC-EEF5-B7E3296212DF}"/>
              </a:ext>
            </a:extLst>
          </p:cNvPr>
          <p:cNvSpPr>
            <a:spLocks noGrp="1"/>
          </p:cNvSpPr>
          <p:nvPr>
            <p:ph type="body" sz="quarter" idx="19" hasCustomPrompt="1"/>
          </p:nvPr>
        </p:nvSpPr>
        <p:spPr>
          <a:xfrm>
            <a:off x="937871" y="3669290"/>
            <a:ext cx="4979264" cy="306502"/>
          </a:xfrm>
        </p:spPr>
        <p:txBody>
          <a:bodyPr/>
          <a:lstStyle>
            <a:lvl1pPr>
              <a:spcBef>
                <a:spcPts val="0"/>
              </a:spcBef>
              <a:defRPr sz="1800" b="1">
                <a:solidFill>
                  <a:schemeClr val="bg1"/>
                </a:solidFill>
                <a:latin typeface="+mn-lt"/>
              </a:defRPr>
            </a:lvl1pPr>
          </a:lstStyle>
          <a:p>
            <a:pPr lvl="0"/>
            <a:r>
              <a:rPr lang="en-US"/>
              <a:t>Name</a:t>
            </a:r>
          </a:p>
        </p:txBody>
      </p:sp>
      <p:sp>
        <p:nvSpPr>
          <p:cNvPr id="8" name="Picture Placeholder 3">
            <a:extLst>
              <a:ext uri="{FF2B5EF4-FFF2-40B4-BE49-F238E27FC236}">
                <a16:creationId xmlns:a16="http://schemas.microsoft.com/office/drawing/2014/main" id="{CBDE7D5B-1889-1B13-420A-69689E25E81E}"/>
              </a:ext>
            </a:extLst>
          </p:cNvPr>
          <p:cNvSpPr>
            <a:spLocks noGrp="1"/>
          </p:cNvSpPr>
          <p:nvPr>
            <p:ph type="pic" sz="quarter" idx="20"/>
          </p:nvPr>
        </p:nvSpPr>
        <p:spPr>
          <a:xfrm>
            <a:off x="6216651" y="1883882"/>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42E2E00B-8604-C43A-05F7-F0787AB3162D}"/>
              </a:ext>
            </a:extLst>
          </p:cNvPr>
          <p:cNvSpPr>
            <a:spLocks noGrp="1"/>
          </p:cNvSpPr>
          <p:nvPr>
            <p:ph type="body" sz="quarter" idx="22" hasCustomPrompt="1"/>
          </p:nvPr>
        </p:nvSpPr>
        <p:spPr>
          <a:xfrm>
            <a:off x="937871" y="3991903"/>
            <a:ext cx="4979264" cy="306502"/>
          </a:xfrm>
        </p:spPr>
        <p:txBody>
          <a:bodyPr/>
          <a:lstStyle>
            <a:lvl1pPr>
              <a:spcBef>
                <a:spcPts val="0"/>
              </a:spcBef>
              <a:defRPr sz="1400" b="0">
                <a:solidFill>
                  <a:schemeClr val="bg1"/>
                </a:solidFill>
                <a:latin typeface="+mn-lt"/>
              </a:defRPr>
            </a:lvl1pPr>
          </a:lstStyle>
          <a:p>
            <a:pPr lvl="0"/>
            <a:r>
              <a:rPr lang="en-US"/>
              <a:t>Title</a:t>
            </a:r>
          </a:p>
        </p:txBody>
      </p:sp>
      <p:sp>
        <p:nvSpPr>
          <p:cNvPr id="14" name="Text Placeholder 2">
            <a:extLst>
              <a:ext uri="{FF2B5EF4-FFF2-40B4-BE49-F238E27FC236}">
                <a16:creationId xmlns:a16="http://schemas.microsoft.com/office/drawing/2014/main" id="{C0691BEB-EF61-2375-E286-74E8736A6EF0}"/>
              </a:ext>
            </a:extLst>
          </p:cNvPr>
          <p:cNvSpPr>
            <a:spLocks noGrp="1"/>
          </p:cNvSpPr>
          <p:nvPr>
            <p:ph type="body" sz="quarter" idx="23" hasCustomPrompt="1"/>
          </p:nvPr>
        </p:nvSpPr>
        <p:spPr>
          <a:xfrm>
            <a:off x="6326771" y="4314223"/>
            <a:ext cx="4979265"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8846313C-41CC-13A3-EA12-559355AD03D5}"/>
              </a:ext>
            </a:extLst>
          </p:cNvPr>
          <p:cNvSpPr>
            <a:spLocks noGrp="1"/>
          </p:cNvSpPr>
          <p:nvPr>
            <p:ph type="body" sz="quarter" idx="24" hasCustomPrompt="1"/>
          </p:nvPr>
        </p:nvSpPr>
        <p:spPr>
          <a:xfrm>
            <a:off x="6336648" y="3668996"/>
            <a:ext cx="4979265" cy="306502"/>
          </a:xfrm>
        </p:spPr>
        <p:txBody>
          <a:bodyPr/>
          <a:lstStyle>
            <a:lvl1pPr>
              <a:spcBef>
                <a:spcPts val="0"/>
              </a:spcBef>
              <a:defRPr sz="1800" b="1">
                <a:solidFill>
                  <a:schemeClr val="bg1"/>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E319DBA5-E17C-7BCD-7D57-C01BCEC75E4E}"/>
              </a:ext>
            </a:extLst>
          </p:cNvPr>
          <p:cNvSpPr>
            <a:spLocks noGrp="1"/>
          </p:cNvSpPr>
          <p:nvPr>
            <p:ph type="body" sz="quarter" idx="25" hasCustomPrompt="1"/>
          </p:nvPr>
        </p:nvSpPr>
        <p:spPr>
          <a:xfrm>
            <a:off x="6336648" y="3991609"/>
            <a:ext cx="4979265" cy="306502"/>
          </a:xfrm>
        </p:spPr>
        <p:txBody>
          <a:bodyPr/>
          <a:lstStyle>
            <a:lvl1pPr>
              <a:spcBef>
                <a:spcPts val="0"/>
              </a:spcBef>
              <a:defRPr sz="1400" b="0">
                <a:solidFill>
                  <a:schemeClr val="bg1"/>
                </a:solidFill>
                <a:latin typeface="+mn-lt"/>
              </a:defRPr>
            </a:lvl1pPr>
          </a:lstStyle>
          <a:p>
            <a:pPr lvl="0"/>
            <a:r>
              <a:rPr lang="en-US"/>
              <a:t>Title</a:t>
            </a:r>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2DBD1081-2077-3303-650A-C68EE3B32E73}"/>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accent3"/>
                </a:solidFill>
              </a:defRPr>
            </a:lvl1pPr>
          </a:lstStyle>
          <a:p>
            <a:fld id="{BDB041B7-26DE-B547-9765-F299372B69C8}" type="datetime4">
              <a:rPr lang="en-GB" smtClean="0"/>
              <a:pPr/>
              <a:t>17 July 2024</a:t>
            </a:fld>
            <a:endParaRPr lang="en-US"/>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206F0213-3D9E-4CB5-47E5-E35E803BB707}"/>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28833708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5_Two columns">
    <p:spTree>
      <p:nvGrpSpPr>
        <p:cNvPr id="1" name=""/>
        <p:cNvGrpSpPr/>
        <p:nvPr/>
      </p:nvGrpSpPr>
      <p:grpSpPr>
        <a:xfrm>
          <a:off x="0" y="0"/>
          <a:ext cx="0" cy="0"/>
          <a:chOff x="0" y="0"/>
          <a:chExt cx="0" cy="0"/>
        </a:xfrm>
      </p:grpSpPr>
      <p:pic>
        <p:nvPicPr>
          <p:cNvPr id="40" name="Graphic 39">
            <a:extLst>
              <a:ext uri="{FF2B5EF4-FFF2-40B4-BE49-F238E27FC236}">
                <a16:creationId xmlns:a16="http://schemas.microsoft.com/office/drawing/2014/main" id="{E393C836-72F1-4B4C-CDB2-A65939871BAC}"/>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01456"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2" name="Picture Placeholder 3">
            <a:extLst>
              <a:ext uri="{FF2B5EF4-FFF2-40B4-BE49-F238E27FC236}">
                <a16:creationId xmlns:a16="http://schemas.microsoft.com/office/drawing/2014/main" id="{9D2D943A-2A3F-A714-65E3-EFFAF5FD67E2}"/>
              </a:ext>
            </a:extLst>
          </p:cNvPr>
          <p:cNvSpPr>
            <a:spLocks noGrp="1"/>
          </p:cNvSpPr>
          <p:nvPr>
            <p:ph type="pic" sz="quarter" idx="16"/>
          </p:nvPr>
        </p:nvSpPr>
        <p:spPr>
          <a:xfrm>
            <a:off x="4389446" y="1868653"/>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5" name="Picture Placeholder 3">
            <a:extLst>
              <a:ext uri="{FF2B5EF4-FFF2-40B4-BE49-F238E27FC236}">
                <a16:creationId xmlns:a16="http://schemas.microsoft.com/office/drawing/2014/main" id="{32D8EFD6-31C0-8134-4FD0-C4ECA2C16AAF}"/>
              </a:ext>
            </a:extLst>
          </p:cNvPr>
          <p:cNvSpPr>
            <a:spLocks noGrp="1"/>
          </p:cNvSpPr>
          <p:nvPr>
            <p:ph type="pic" sz="quarter" idx="18"/>
          </p:nvPr>
        </p:nvSpPr>
        <p:spPr>
          <a:xfrm>
            <a:off x="8013407"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3" name="Date Placeholder 10">
            <a:extLst>
              <a:ext uri="{FF2B5EF4-FFF2-40B4-BE49-F238E27FC236}">
                <a16:creationId xmlns:a16="http://schemas.microsoft.com/office/drawing/2014/main" id="{B4AE0C10-4881-BD68-7FBB-D8F8FDAD1599}"/>
              </a:ext>
            </a:extLst>
          </p:cNvPr>
          <p:cNvSpPr>
            <a:spLocks noGrp="1"/>
          </p:cNvSpPr>
          <p:nvPr>
            <p:ph type="dt" sz="half" idx="2"/>
          </p:nvPr>
        </p:nvSpPr>
        <p:spPr>
          <a:xfrm>
            <a:off x="838657" y="6338527"/>
            <a:ext cx="1155446" cy="161223"/>
          </a:xfrm>
          <a:prstGeom prst="rect">
            <a:avLst/>
          </a:prstGeom>
        </p:spPr>
        <p:txBody>
          <a:bodyPr vert="horz" lIns="0" tIns="45720" rIns="0" bIns="45720" rtlCol="0" anchor="ctr"/>
          <a:lstStyle>
            <a:lvl1pPr algn="l">
              <a:defRPr sz="1000">
                <a:solidFill>
                  <a:schemeClr val="bg2"/>
                </a:solidFill>
              </a:defRPr>
            </a:lvl1pPr>
          </a:lstStyle>
          <a:p>
            <a:fld id="{6C4EE251-366B-2143-BE6F-AF53ED42A4FD}" type="datetime4">
              <a:rPr lang="en-GB" smtClean="0"/>
              <a:pPr/>
              <a:t>17 July 2024</a:t>
            </a:fld>
            <a:endParaRPr lang="en-US"/>
          </a:p>
        </p:txBody>
      </p:sp>
      <p:sp>
        <p:nvSpPr>
          <p:cNvPr id="20" name="Slide Number Placeholder 2">
            <a:extLst>
              <a:ext uri="{FF2B5EF4-FFF2-40B4-BE49-F238E27FC236}">
                <a16:creationId xmlns:a16="http://schemas.microsoft.com/office/drawing/2014/main" id="{3D140AD1-6ED2-A19C-537B-F61589E45D8C}"/>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CF4A2BC4-16C0-3ED3-6A09-2DE174BF5247}"/>
              </a:ext>
            </a:extLst>
          </p:cNvPr>
          <p:cNvGrpSpPr/>
          <p:nvPr userDrawn="1"/>
        </p:nvGrpSpPr>
        <p:grpSpPr>
          <a:xfrm>
            <a:off x="10863102" y="309052"/>
            <a:ext cx="911847" cy="382707"/>
            <a:chOff x="7459170" y="481236"/>
            <a:chExt cx="2697427" cy="1132124"/>
          </a:xfrm>
        </p:grpSpPr>
        <p:sp>
          <p:nvSpPr>
            <p:cNvPr id="16" name="Freeform 15">
              <a:extLst>
                <a:ext uri="{FF2B5EF4-FFF2-40B4-BE49-F238E27FC236}">
                  <a16:creationId xmlns:a16="http://schemas.microsoft.com/office/drawing/2014/main" id="{D5DACEC9-C531-49E7-9460-CC18C897156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CA7BA22B-31B6-D674-C9FB-1041940A5E7B}"/>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9883007-4631-BCA2-CA35-19222071B4F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B282C641-7363-1830-1851-62F61446BAB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AB2600C0-D3BC-9D0F-6CE9-C96C57F4632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B39D83C-7EE4-B2FA-912E-D10B91E972E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E253A1C-9C6F-013F-EBB8-F7CD22C1529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2D5BC35A-ADFA-DFB3-E710-7A5983A86518}"/>
              </a:ext>
            </a:extLst>
          </p:cNvPr>
          <p:cNvSpPr/>
          <p:nvPr userDrawn="1"/>
        </p:nvSpPr>
        <p:spPr>
          <a:xfrm>
            <a:off x="7999179" y="3546640"/>
            <a:ext cx="3443872"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9" name="Rectangle 28">
            <a:extLst>
              <a:ext uri="{FF2B5EF4-FFF2-40B4-BE49-F238E27FC236}">
                <a16:creationId xmlns:a16="http://schemas.microsoft.com/office/drawing/2014/main" id="{3737B865-E7BB-63D3-D02E-DAF1FFCB42F5}"/>
              </a:ext>
            </a:extLst>
          </p:cNvPr>
          <p:cNvSpPr/>
          <p:nvPr userDrawn="1"/>
        </p:nvSpPr>
        <p:spPr>
          <a:xfrm>
            <a:off x="4399249" y="3547013"/>
            <a:ext cx="3443872" cy="270138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0" name="Rectangle 29">
            <a:extLst>
              <a:ext uri="{FF2B5EF4-FFF2-40B4-BE49-F238E27FC236}">
                <a16:creationId xmlns:a16="http://schemas.microsoft.com/office/drawing/2014/main" id="{76B6B0CB-8728-6581-63F9-9DF7245499EA}"/>
              </a:ext>
            </a:extLst>
          </p:cNvPr>
          <p:cNvSpPr/>
          <p:nvPr userDrawn="1"/>
        </p:nvSpPr>
        <p:spPr>
          <a:xfrm>
            <a:off x="801456" y="3547013"/>
            <a:ext cx="3443872"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1" name="Text Placeholder 2">
            <a:extLst>
              <a:ext uri="{FF2B5EF4-FFF2-40B4-BE49-F238E27FC236}">
                <a16:creationId xmlns:a16="http://schemas.microsoft.com/office/drawing/2014/main" id="{B68FC699-BF46-B2A7-0EAD-3A1AD4FCE09C}"/>
              </a:ext>
            </a:extLst>
          </p:cNvPr>
          <p:cNvSpPr>
            <a:spLocks noGrp="1"/>
          </p:cNvSpPr>
          <p:nvPr>
            <p:ph type="body" sz="quarter" idx="10" hasCustomPrompt="1"/>
          </p:nvPr>
        </p:nvSpPr>
        <p:spPr>
          <a:xfrm>
            <a:off x="890677" y="4367031"/>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E1E445C3-5B78-50F7-2998-8F62F56074A9}"/>
              </a:ext>
            </a:extLst>
          </p:cNvPr>
          <p:cNvSpPr>
            <a:spLocks noGrp="1"/>
          </p:cNvSpPr>
          <p:nvPr>
            <p:ph type="body" sz="quarter" idx="19" hasCustomPrompt="1"/>
          </p:nvPr>
        </p:nvSpPr>
        <p:spPr>
          <a:xfrm>
            <a:off x="900554" y="3669290"/>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26524453-55D7-4461-011C-DF4BE87B585C}"/>
              </a:ext>
            </a:extLst>
          </p:cNvPr>
          <p:cNvSpPr>
            <a:spLocks noGrp="1"/>
          </p:cNvSpPr>
          <p:nvPr>
            <p:ph type="body" sz="quarter" idx="22" hasCustomPrompt="1"/>
          </p:nvPr>
        </p:nvSpPr>
        <p:spPr>
          <a:xfrm>
            <a:off x="900554" y="3963067"/>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4" name="Text Placeholder 2">
            <a:extLst>
              <a:ext uri="{FF2B5EF4-FFF2-40B4-BE49-F238E27FC236}">
                <a16:creationId xmlns:a16="http://schemas.microsoft.com/office/drawing/2014/main" id="{5B1431F5-B85E-8A3C-FD1B-379EB205D354}"/>
              </a:ext>
            </a:extLst>
          </p:cNvPr>
          <p:cNvSpPr>
            <a:spLocks noGrp="1"/>
          </p:cNvSpPr>
          <p:nvPr>
            <p:ph type="body" sz="quarter" idx="23" hasCustomPrompt="1"/>
          </p:nvPr>
        </p:nvSpPr>
        <p:spPr>
          <a:xfrm>
            <a:off x="4519483" y="4366364"/>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5" name="Text Placeholder 7">
            <a:extLst>
              <a:ext uri="{FF2B5EF4-FFF2-40B4-BE49-F238E27FC236}">
                <a16:creationId xmlns:a16="http://schemas.microsoft.com/office/drawing/2014/main" id="{F83D0843-52F1-FD79-C888-B2311B954603}"/>
              </a:ext>
            </a:extLst>
          </p:cNvPr>
          <p:cNvSpPr>
            <a:spLocks noGrp="1"/>
          </p:cNvSpPr>
          <p:nvPr>
            <p:ph type="body" sz="quarter" idx="24" hasCustomPrompt="1"/>
          </p:nvPr>
        </p:nvSpPr>
        <p:spPr>
          <a:xfrm>
            <a:off x="4529360" y="3668623"/>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6" name="Text Placeholder 7">
            <a:extLst>
              <a:ext uri="{FF2B5EF4-FFF2-40B4-BE49-F238E27FC236}">
                <a16:creationId xmlns:a16="http://schemas.microsoft.com/office/drawing/2014/main" id="{68BAC2CE-CD1D-A130-D9EE-B67F47F29F6D}"/>
              </a:ext>
            </a:extLst>
          </p:cNvPr>
          <p:cNvSpPr>
            <a:spLocks noGrp="1"/>
          </p:cNvSpPr>
          <p:nvPr>
            <p:ph type="body" sz="quarter" idx="25" hasCustomPrompt="1"/>
          </p:nvPr>
        </p:nvSpPr>
        <p:spPr>
          <a:xfrm>
            <a:off x="4529360" y="3962400"/>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7" name="Text Placeholder 2">
            <a:extLst>
              <a:ext uri="{FF2B5EF4-FFF2-40B4-BE49-F238E27FC236}">
                <a16:creationId xmlns:a16="http://schemas.microsoft.com/office/drawing/2014/main" id="{0D9D3286-5A10-F18A-6179-09C50BD70BE4}"/>
              </a:ext>
            </a:extLst>
          </p:cNvPr>
          <p:cNvSpPr>
            <a:spLocks noGrp="1"/>
          </p:cNvSpPr>
          <p:nvPr>
            <p:ph type="body" sz="quarter" idx="26" hasCustomPrompt="1"/>
          </p:nvPr>
        </p:nvSpPr>
        <p:spPr>
          <a:xfrm>
            <a:off x="8095755" y="4375893"/>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8" name="Text Placeholder 7">
            <a:extLst>
              <a:ext uri="{FF2B5EF4-FFF2-40B4-BE49-F238E27FC236}">
                <a16:creationId xmlns:a16="http://schemas.microsoft.com/office/drawing/2014/main" id="{8246E0BB-E262-5DA9-3170-C7BBA767681B}"/>
              </a:ext>
            </a:extLst>
          </p:cNvPr>
          <p:cNvSpPr>
            <a:spLocks noGrp="1"/>
          </p:cNvSpPr>
          <p:nvPr>
            <p:ph type="body" sz="quarter" idx="27" hasCustomPrompt="1"/>
          </p:nvPr>
        </p:nvSpPr>
        <p:spPr>
          <a:xfrm>
            <a:off x="8105632" y="3678152"/>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9" name="Text Placeholder 7">
            <a:extLst>
              <a:ext uri="{FF2B5EF4-FFF2-40B4-BE49-F238E27FC236}">
                <a16:creationId xmlns:a16="http://schemas.microsoft.com/office/drawing/2014/main" id="{7397CC10-157B-7400-99EB-174A72B28A02}"/>
              </a:ext>
            </a:extLst>
          </p:cNvPr>
          <p:cNvSpPr>
            <a:spLocks noGrp="1"/>
          </p:cNvSpPr>
          <p:nvPr>
            <p:ph type="body" sz="quarter" idx="28" hasCustomPrompt="1"/>
          </p:nvPr>
        </p:nvSpPr>
        <p:spPr>
          <a:xfrm>
            <a:off x="8105632" y="3971929"/>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8" name="Rectangle 7">
            <a:extLst>
              <a:ext uri="{FF2B5EF4-FFF2-40B4-BE49-F238E27FC236}">
                <a16:creationId xmlns:a16="http://schemas.microsoft.com/office/drawing/2014/main" id="{F326EF76-5721-51B5-BFF7-8D90510E9FBC}"/>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5586202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1_Two columns">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EDC964B3-D9B3-BDF6-8C72-B2FC0624C7C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35152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6227660"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6" name="Picture Placeholder 3">
            <a:extLst>
              <a:ext uri="{FF2B5EF4-FFF2-40B4-BE49-F238E27FC236}">
                <a16:creationId xmlns:a16="http://schemas.microsoft.com/office/drawing/2014/main" id="{0D01A2CA-AF63-E65B-997D-F01838956F4E}"/>
              </a:ext>
            </a:extLst>
          </p:cNvPr>
          <p:cNvSpPr>
            <a:spLocks noGrp="1"/>
          </p:cNvSpPr>
          <p:nvPr>
            <p:ph type="pic" sz="quarter" idx="31"/>
          </p:nvPr>
        </p:nvSpPr>
        <p:spPr>
          <a:xfrm>
            <a:off x="891660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9" name="Date Placeholder 10">
            <a:extLst>
              <a:ext uri="{FF2B5EF4-FFF2-40B4-BE49-F238E27FC236}">
                <a16:creationId xmlns:a16="http://schemas.microsoft.com/office/drawing/2014/main" id="{9D7D09E0-C843-A7E0-3E54-31DC4CCCFB41}"/>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C2EB69CF-1A17-9D45-9C09-21F33C3D9E56}" type="datetime4">
              <a:rPr lang="en-GB" smtClean="0"/>
              <a:pPr/>
              <a:t>17 July 2024</a:t>
            </a:fld>
            <a:endParaRPr lang="en-US"/>
          </a:p>
        </p:txBody>
      </p:sp>
      <p:sp>
        <p:nvSpPr>
          <p:cNvPr id="15" name="Slide Number Placeholder 2">
            <a:extLst>
              <a:ext uri="{FF2B5EF4-FFF2-40B4-BE49-F238E27FC236}">
                <a16:creationId xmlns:a16="http://schemas.microsoft.com/office/drawing/2014/main" id="{0AC5DC3F-8A0C-3385-41DD-BA3F8E46DC1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828977C-FF52-8352-03C4-2C4E91DB5112}"/>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A30FD47-331E-E241-8B2E-B37D09C8D06B}"/>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A3D5DEB-680F-CAD7-7360-52A37EFB5EEE}"/>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48E06E0-F516-06A9-EFD3-6DEF12A0D57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A36CCF28-5CF6-ABF1-DDCD-030EF9A9145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583301F-29DD-E053-1024-F884A0C0BCB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C2FA7571-9E09-EF28-9B22-99A8D2A0F9F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C047B20-2EBF-00DE-8359-489D76DF9E1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50" name="Rectangle 49">
            <a:extLst>
              <a:ext uri="{FF2B5EF4-FFF2-40B4-BE49-F238E27FC236}">
                <a16:creationId xmlns:a16="http://schemas.microsoft.com/office/drawing/2014/main" id="{FDC7185C-D49C-9FAF-4143-486318EC394B}"/>
              </a:ext>
            </a:extLst>
          </p:cNvPr>
          <p:cNvSpPr/>
          <p:nvPr userDrawn="1"/>
        </p:nvSpPr>
        <p:spPr>
          <a:xfrm>
            <a:off x="814558" y="3547013"/>
            <a:ext cx="2530657"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1" name="Rectangle 50">
            <a:extLst>
              <a:ext uri="{FF2B5EF4-FFF2-40B4-BE49-F238E27FC236}">
                <a16:creationId xmlns:a16="http://schemas.microsoft.com/office/drawing/2014/main" id="{8AB4B76D-2F51-3EE1-CF98-3CC9BBBA7745}"/>
              </a:ext>
            </a:extLst>
          </p:cNvPr>
          <p:cNvSpPr/>
          <p:nvPr userDrawn="1"/>
        </p:nvSpPr>
        <p:spPr>
          <a:xfrm>
            <a:off x="3508678" y="3547013"/>
            <a:ext cx="2530657" cy="270138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2" name="Rectangle 51">
            <a:extLst>
              <a:ext uri="{FF2B5EF4-FFF2-40B4-BE49-F238E27FC236}">
                <a16:creationId xmlns:a16="http://schemas.microsoft.com/office/drawing/2014/main" id="{243E2EDB-A6F7-5810-7A31-FEC131AA5B00}"/>
              </a:ext>
            </a:extLst>
          </p:cNvPr>
          <p:cNvSpPr/>
          <p:nvPr userDrawn="1"/>
        </p:nvSpPr>
        <p:spPr>
          <a:xfrm>
            <a:off x="6226340" y="3547013"/>
            <a:ext cx="2530657"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3" name="Rectangle 52">
            <a:extLst>
              <a:ext uri="{FF2B5EF4-FFF2-40B4-BE49-F238E27FC236}">
                <a16:creationId xmlns:a16="http://schemas.microsoft.com/office/drawing/2014/main" id="{B3FE3356-8C64-5923-078A-9E74A197B89A}"/>
              </a:ext>
            </a:extLst>
          </p:cNvPr>
          <p:cNvSpPr/>
          <p:nvPr userDrawn="1"/>
        </p:nvSpPr>
        <p:spPr>
          <a:xfrm>
            <a:off x="8917626" y="3547013"/>
            <a:ext cx="2530657" cy="270138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4" name="Text Placeholder 2">
            <a:extLst>
              <a:ext uri="{FF2B5EF4-FFF2-40B4-BE49-F238E27FC236}">
                <a16:creationId xmlns:a16="http://schemas.microsoft.com/office/drawing/2014/main" id="{61894215-E5DD-AE02-6696-11E3FFAEDA78}"/>
              </a:ext>
            </a:extLst>
          </p:cNvPr>
          <p:cNvSpPr>
            <a:spLocks noGrp="1"/>
          </p:cNvSpPr>
          <p:nvPr>
            <p:ph type="body" sz="quarter" idx="10" hasCustomPrompt="1"/>
          </p:nvPr>
        </p:nvSpPr>
        <p:spPr>
          <a:xfrm>
            <a:off x="910080"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5" name="Text Placeholder 7">
            <a:extLst>
              <a:ext uri="{FF2B5EF4-FFF2-40B4-BE49-F238E27FC236}">
                <a16:creationId xmlns:a16="http://schemas.microsoft.com/office/drawing/2014/main" id="{AC362FC8-C232-87A4-AD27-62A5A899A8D5}"/>
              </a:ext>
            </a:extLst>
          </p:cNvPr>
          <p:cNvSpPr>
            <a:spLocks noGrp="1"/>
          </p:cNvSpPr>
          <p:nvPr>
            <p:ph type="body" sz="quarter" idx="19" hasCustomPrompt="1"/>
          </p:nvPr>
        </p:nvSpPr>
        <p:spPr>
          <a:xfrm>
            <a:off x="919957"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2B2F03B7-8F82-F49F-74DB-103B9928CDFC}"/>
              </a:ext>
            </a:extLst>
          </p:cNvPr>
          <p:cNvSpPr>
            <a:spLocks noGrp="1"/>
          </p:cNvSpPr>
          <p:nvPr>
            <p:ph type="body" sz="quarter" idx="22" hasCustomPrompt="1"/>
          </p:nvPr>
        </p:nvSpPr>
        <p:spPr>
          <a:xfrm>
            <a:off x="919957"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57" name="Text Placeholder 2">
            <a:extLst>
              <a:ext uri="{FF2B5EF4-FFF2-40B4-BE49-F238E27FC236}">
                <a16:creationId xmlns:a16="http://schemas.microsoft.com/office/drawing/2014/main" id="{16FF92B3-078A-DFC5-22E3-852DC5755334}"/>
              </a:ext>
            </a:extLst>
          </p:cNvPr>
          <p:cNvSpPr>
            <a:spLocks noGrp="1"/>
          </p:cNvSpPr>
          <p:nvPr>
            <p:ph type="body" sz="quarter" idx="24" hasCustomPrompt="1"/>
          </p:nvPr>
        </p:nvSpPr>
        <p:spPr>
          <a:xfrm>
            <a:off x="3633837" y="4423987"/>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8" name="Text Placeholder 7">
            <a:extLst>
              <a:ext uri="{FF2B5EF4-FFF2-40B4-BE49-F238E27FC236}">
                <a16:creationId xmlns:a16="http://schemas.microsoft.com/office/drawing/2014/main" id="{6E45A676-5420-25DC-E8F7-4FF9613FEBC6}"/>
              </a:ext>
            </a:extLst>
          </p:cNvPr>
          <p:cNvSpPr>
            <a:spLocks noGrp="1"/>
          </p:cNvSpPr>
          <p:nvPr>
            <p:ph type="body" sz="quarter" idx="25" hasCustomPrompt="1"/>
          </p:nvPr>
        </p:nvSpPr>
        <p:spPr>
          <a:xfrm>
            <a:off x="3643714" y="3668996"/>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9" name="Text Placeholder 7">
            <a:extLst>
              <a:ext uri="{FF2B5EF4-FFF2-40B4-BE49-F238E27FC236}">
                <a16:creationId xmlns:a16="http://schemas.microsoft.com/office/drawing/2014/main" id="{DF8E11E5-A96E-E52E-04DF-CE1454826FBE}"/>
              </a:ext>
            </a:extLst>
          </p:cNvPr>
          <p:cNvSpPr>
            <a:spLocks noGrp="1"/>
          </p:cNvSpPr>
          <p:nvPr>
            <p:ph type="body" sz="quarter" idx="26" hasCustomPrompt="1"/>
          </p:nvPr>
        </p:nvSpPr>
        <p:spPr>
          <a:xfrm>
            <a:off x="3643714" y="3946561"/>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0" name="Text Placeholder 2">
            <a:extLst>
              <a:ext uri="{FF2B5EF4-FFF2-40B4-BE49-F238E27FC236}">
                <a16:creationId xmlns:a16="http://schemas.microsoft.com/office/drawing/2014/main" id="{B9DBF00E-FEB2-A4AD-AC59-AAEBA88AFA27}"/>
              </a:ext>
            </a:extLst>
          </p:cNvPr>
          <p:cNvSpPr>
            <a:spLocks noGrp="1"/>
          </p:cNvSpPr>
          <p:nvPr>
            <p:ph type="body" sz="quarter" idx="28" hasCustomPrompt="1"/>
          </p:nvPr>
        </p:nvSpPr>
        <p:spPr>
          <a:xfrm>
            <a:off x="6346222"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1" name="Text Placeholder 7">
            <a:extLst>
              <a:ext uri="{FF2B5EF4-FFF2-40B4-BE49-F238E27FC236}">
                <a16:creationId xmlns:a16="http://schemas.microsoft.com/office/drawing/2014/main" id="{5A540C15-FEA9-40FF-7BDF-EEDFC6FEFF95}"/>
              </a:ext>
            </a:extLst>
          </p:cNvPr>
          <p:cNvSpPr>
            <a:spLocks noGrp="1"/>
          </p:cNvSpPr>
          <p:nvPr>
            <p:ph type="body" sz="quarter" idx="29" hasCustomPrompt="1"/>
          </p:nvPr>
        </p:nvSpPr>
        <p:spPr>
          <a:xfrm>
            <a:off x="6356099"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2" name="Text Placeholder 7">
            <a:extLst>
              <a:ext uri="{FF2B5EF4-FFF2-40B4-BE49-F238E27FC236}">
                <a16:creationId xmlns:a16="http://schemas.microsoft.com/office/drawing/2014/main" id="{13DDF17F-F5BA-287E-DA76-5E4B3D047A3C}"/>
              </a:ext>
            </a:extLst>
          </p:cNvPr>
          <p:cNvSpPr>
            <a:spLocks noGrp="1"/>
          </p:cNvSpPr>
          <p:nvPr>
            <p:ph type="body" sz="quarter" idx="30" hasCustomPrompt="1"/>
          </p:nvPr>
        </p:nvSpPr>
        <p:spPr>
          <a:xfrm>
            <a:off x="6356099"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3" name="Text Placeholder 2">
            <a:extLst>
              <a:ext uri="{FF2B5EF4-FFF2-40B4-BE49-F238E27FC236}">
                <a16:creationId xmlns:a16="http://schemas.microsoft.com/office/drawing/2014/main" id="{BAD069F9-640F-50AE-2AC2-A7F75D61686C}"/>
              </a:ext>
            </a:extLst>
          </p:cNvPr>
          <p:cNvSpPr>
            <a:spLocks noGrp="1"/>
          </p:cNvSpPr>
          <p:nvPr>
            <p:ph type="body" sz="quarter" idx="32" hasCustomPrompt="1"/>
          </p:nvPr>
        </p:nvSpPr>
        <p:spPr>
          <a:xfrm>
            <a:off x="9056053" y="4434145"/>
            <a:ext cx="2319857"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65A9B70E-402F-F557-90F8-C76CBCF35EA1}"/>
              </a:ext>
            </a:extLst>
          </p:cNvPr>
          <p:cNvSpPr>
            <a:spLocks noGrp="1"/>
          </p:cNvSpPr>
          <p:nvPr>
            <p:ph type="body" sz="quarter" idx="33" hasCustomPrompt="1"/>
          </p:nvPr>
        </p:nvSpPr>
        <p:spPr>
          <a:xfrm>
            <a:off x="9056054"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5" name="Text Placeholder 7">
            <a:extLst>
              <a:ext uri="{FF2B5EF4-FFF2-40B4-BE49-F238E27FC236}">
                <a16:creationId xmlns:a16="http://schemas.microsoft.com/office/drawing/2014/main" id="{5B090167-75DA-9EF9-A3B6-21D2AE4C23C6}"/>
              </a:ext>
            </a:extLst>
          </p:cNvPr>
          <p:cNvSpPr>
            <a:spLocks noGrp="1"/>
          </p:cNvSpPr>
          <p:nvPr>
            <p:ph type="body" sz="quarter" idx="34" hasCustomPrompt="1"/>
          </p:nvPr>
        </p:nvSpPr>
        <p:spPr>
          <a:xfrm>
            <a:off x="9056054"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3" name="Rectangle 2">
            <a:extLst>
              <a:ext uri="{FF2B5EF4-FFF2-40B4-BE49-F238E27FC236}">
                <a16:creationId xmlns:a16="http://schemas.microsoft.com/office/drawing/2014/main" id="{AE019240-46E7-AB6A-2E63-95DCA386B7E0}"/>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363997231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9_Two column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A2C90E6-E7AF-BA63-C460-15830FD0E705}"/>
              </a:ext>
            </a:extLst>
          </p:cNvPr>
          <p:cNvSpPr/>
          <p:nvPr userDrawn="1"/>
        </p:nvSpPr>
        <p:spPr>
          <a:xfrm>
            <a:off x="0" y="3102678"/>
            <a:ext cx="12192000" cy="832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10" name="Rectangle 9">
            <a:extLst>
              <a:ext uri="{FF2B5EF4-FFF2-40B4-BE49-F238E27FC236}">
                <a16:creationId xmlns:a16="http://schemas.microsoft.com/office/drawing/2014/main" id="{A1B59224-B5E3-5DBB-DFE9-EBE8C6A95EB2}"/>
              </a:ext>
            </a:extLst>
          </p:cNvPr>
          <p:cNvSpPr/>
          <p:nvPr userDrawn="1"/>
        </p:nvSpPr>
        <p:spPr>
          <a:xfrm>
            <a:off x="0" y="5315744"/>
            <a:ext cx="12192000" cy="15422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847471" y="322889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847471" y="348510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5" name="Text Placeholder 7">
            <a:extLst>
              <a:ext uri="{FF2B5EF4-FFF2-40B4-BE49-F238E27FC236}">
                <a16:creationId xmlns:a16="http://schemas.microsoft.com/office/drawing/2014/main" id="{25231B2D-42A1-8C54-29F5-0D3A1AB8ABCB}"/>
              </a:ext>
            </a:extLst>
          </p:cNvPr>
          <p:cNvSpPr>
            <a:spLocks noGrp="1"/>
          </p:cNvSpPr>
          <p:nvPr>
            <p:ph type="body" sz="quarter" idx="36" hasCustomPrompt="1"/>
          </p:nvPr>
        </p:nvSpPr>
        <p:spPr>
          <a:xfrm>
            <a:off x="827750" y="544624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6" name="Text Placeholder 7">
            <a:extLst>
              <a:ext uri="{FF2B5EF4-FFF2-40B4-BE49-F238E27FC236}">
                <a16:creationId xmlns:a16="http://schemas.microsoft.com/office/drawing/2014/main" id="{093C62DE-F353-4E20-0689-7DAA11BA3687}"/>
              </a:ext>
            </a:extLst>
          </p:cNvPr>
          <p:cNvSpPr>
            <a:spLocks noGrp="1"/>
          </p:cNvSpPr>
          <p:nvPr>
            <p:ph type="body" sz="quarter" idx="37" hasCustomPrompt="1"/>
          </p:nvPr>
        </p:nvSpPr>
        <p:spPr>
          <a:xfrm>
            <a:off x="827750" y="5702455"/>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07734" y="3224607"/>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07734" y="3480816"/>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6" name="Text Placeholder 7">
            <a:extLst>
              <a:ext uri="{FF2B5EF4-FFF2-40B4-BE49-F238E27FC236}">
                <a16:creationId xmlns:a16="http://schemas.microsoft.com/office/drawing/2014/main" id="{C408D9ED-D17D-B672-334F-AD57158732BC}"/>
              </a:ext>
            </a:extLst>
          </p:cNvPr>
          <p:cNvSpPr>
            <a:spLocks noGrp="1"/>
          </p:cNvSpPr>
          <p:nvPr>
            <p:ph type="body" sz="quarter" idx="48" hasCustomPrompt="1"/>
          </p:nvPr>
        </p:nvSpPr>
        <p:spPr>
          <a:xfrm>
            <a:off x="4788013" y="5441960"/>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0E0D9902-92D2-D4C2-957A-D4E758CCC8D8}"/>
              </a:ext>
            </a:extLst>
          </p:cNvPr>
          <p:cNvSpPr>
            <a:spLocks noGrp="1"/>
          </p:cNvSpPr>
          <p:nvPr>
            <p:ph type="body" sz="quarter" idx="49" hasCustomPrompt="1"/>
          </p:nvPr>
        </p:nvSpPr>
        <p:spPr>
          <a:xfrm>
            <a:off x="4788013" y="5698169"/>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748276" y="322877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748276" y="348498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E834C28D-8C7D-974B-10D5-B205D0EBDFA5}"/>
              </a:ext>
            </a:extLst>
          </p:cNvPr>
          <p:cNvSpPr>
            <a:spLocks noGrp="1"/>
          </p:cNvSpPr>
          <p:nvPr>
            <p:ph type="body" sz="quarter" idx="53" hasCustomPrompt="1"/>
          </p:nvPr>
        </p:nvSpPr>
        <p:spPr>
          <a:xfrm>
            <a:off x="8728555" y="544612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EBA14631-C234-B996-559F-BCC65FBE18C5}"/>
              </a:ext>
            </a:extLst>
          </p:cNvPr>
          <p:cNvSpPr>
            <a:spLocks noGrp="1"/>
          </p:cNvSpPr>
          <p:nvPr>
            <p:ph type="body" sz="quarter" idx="54" hasCustomPrompt="1"/>
          </p:nvPr>
        </p:nvSpPr>
        <p:spPr>
          <a:xfrm>
            <a:off x="8728555" y="5702335"/>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3" name="Date Placeholder 10">
            <a:extLst>
              <a:ext uri="{FF2B5EF4-FFF2-40B4-BE49-F238E27FC236}">
                <a16:creationId xmlns:a16="http://schemas.microsoft.com/office/drawing/2014/main" id="{7F817BCD-6D3E-6A50-BBD9-62D9D3CA5B72}"/>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B03C6E08-81FB-834C-9061-7A155436C63C}" type="datetime4">
              <a:rPr lang="en-GB" smtClean="0"/>
              <a:t>17 July 2024</a:t>
            </a:fld>
            <a:endParaRPr lang="en-US"/>
          </a:p>
        </p:txBody>
      </p:sp>
      <p:sp>
        <p:nvSpPr>
          <p:cNvPr id="25" name="Slide Number Placeholder 2">
            <a:extLst>
              <a:ext uri="{FF2B5EF4-FFF2-40B4-BE49-F238E27FC236}">
                <a16:creationId xmlns:a16="http://schemas.microsoft.com/office/drawing/2014/main" id="{6B14E578-B031-F5AE-9E67-6668CA172D5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6" name="Rectangle 35">
            <a:extLst>
              <a:ext uri="{FF2B5EF4-FFF2-40B4-BE49-F238E27FC236}">
                <a16:creationId xmlns:a16="http://schemas.microsoft.com/office/drawing/2014/main" id="{9BD59348-0370-9417-B0E9-F430FFCD48FF}"/>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366803231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2_Two columns">
    <p:spTree>
      <p:nvGrpSpPr>
        <p:cNvPr id="1" name=""/>
        <p:cNvGrpSpPr/>
        <p:nvPr/>
      </p:nvGrpSpPr>
      <p:grpSpPr>
        <a:xfrm>
          <a:off x="0" y="0"/>
          <a:ext cx="0" cy="0"/>
          <a:chOff x="0" y="0"/>
          <a:chExt cx="0" cy="0"/>
        </a:xfrm>
      </p:grpSpPr>
      <p:pic>
        <p:nvPicPr>
          <p:cNvPr id="47" name="Graphic 46">
            <a:extLst>
              <a:ext uri="{FF2B5EF4-FFF2-40B4-BE49-F238E27FC236}">
                <a16:creationId xmlns:a16="http://schemas.microsoft.com/office/drawing/2014/main" id="{5A410318-CCBE-D950-D3F4-2F6962E7A78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3" name="Rectangle 32">
            <a:extLst>
              <a:ext uri="{FF2B5EF4-FFF2-40B4-BE49-F238E27FC236}">
                <a16:creationId xmlns:a16="http://schemas.microsoft.com/office/drawing/2014/main" id="{1193C68E-2DFF-8552-3B1F-5A07D5095058}"/>
              </a:ext>
            </a:extLst>
          </p:cNvPr>
          <p:cNvSpPr/>
          <p:nvPr userDrawn="1"/>
        </p:nvSpPr>
        <p:spPr>
          <a:xfrm>
            <a:off x="4776351" y="3100534"/>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6" name="Rectangle 35">
            <a:extLst>
              <a:ext uri="{FF2B5EF4-FFF2-40B4-BE49-F238E27FC236}">
                <a16:creationId xmlns:a16="http://schemas.microsoft.com/office/drawing/2014/main" id="{DF3A92B8-7E14-9893-AFE8-769FB16A863A}"/>
              </a:ext>
            </a:extLst>
          </p:cNvPr>
          <p:cNvSpPr/>
          <p:nvPr userDrawn="1"/>
        </p:nvSpPr>
        <p:spPr>
          <a:xfrm>
            <a:off x="8716893" y="3102677"/>
            <a:ext cx="2739178" cy="83231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9" name="Rectangle 8">
            <a:extLst>
              <a:ext uri="{FF2B5EF4-FFF2-40B4-BE49-F238E27FC236}">
                <a16:creationId xmlns:a16="http://schemas.microsoft.com/office/drawing/2014/main" id="{AA2C90E6-E7AF-BA63-C460-15830FD0E705}"/>
              </a:ext>
            </a:extLst>
          </p:cNvPr>
          <p:cNvSpPr/>
          <p:nvPr userDrawn="1"/>
        </p:nvSpPr>
        <p:spPr>
          <a:xfrm>
            <a:off x="815975" y="3102678"/>
            <a:ext cx="2790395"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907470" y="319329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907470" y="344949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67733" y="3189004"/>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67733" y="3445212"/>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808275" y="319317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808275" y="344937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 name="Date Placeholder 10">
            <a:extLst>
              <a:ext uri="{FF2B5EF4-FFF2-40B4-BE49-F238E27FC236}">
                <a16:creationId xmlns:a16="http://schemas.microsoft.com/office/drawing/2014/main" id="{7F817BCD-6D3E-6A50-BBD9-62D9D3CA5B72}"/>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B03C6E08-81FB-834C-9061-7A155436C63C}" type="datetime4">
              <a:rPr lang="en-GB" smtClean="0"/>
              <a:pPr/>
              <a:t>17 July 2024</a:t>
            </a:fld>
            <a:endParaRPr lang="en-US"/>
          </a:p>
        </p:txBody>
      </p:sp>
      <p:sp>
        <p:nvSpPr>
          <p:cNvPr id="25" name="Slide Number Placeholder 2">
            <a:extLst>
              <a:ext uri="{FF2B5EF4-FFF2-40B4-BE49-F238E27FC236}">
                <a16:creationId xmlns:a16="http://schemas.microsoft.com/office/drawing/2014/main" id="{6B14E578-B031-F5AE-9E67-6668CA172D5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7" name="Rectangle 36">
            <a:extLst>
              <a:ext uri="{FF2B5EF4-FFF2-40B4-BE49-F238E27FC236}">
                <a16:creationId xmlns:a16="http://schemas.microsoft.com/office/drawing/2014/main" id="{5C223A11-CCB1-D743-5008-DC91E984F25B}"/>
              </a:ext>
            </a:extLst>
          </p:cNvPr>
          <p:cNvSpPr/>
          <p:nvPr userDrawn="1"/>
        </p:nvSpPr>
        <p:spPr>
          <a:xfrm>
            <a:off x="4747941" y="5315744"/>
            <a:ext cx="2739178"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8" name="Rectangle 37">
            <a:extLst>
              <a:ext uri="{FF2B5EF4-FFF2-40B4-BE49-F238E27FC236}">
                <a16:creationId xmlns:a16="http://schemas.microsoft.com/office/drawing/2014/main" id="{6C2558CC-97D3-473C-1372-0B5C1B8DEDCB}"/>
              </a:ext>
            </a:extLst>
          </p:cNvPr>
          <p:cNvSpPr/>
          <p:nvPr userDrawn="1"/>
        </p:nvSpPr>
        <p:spPr>
          <a:xfrm>
            <a:off x="8701516" y="5318197"/>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9" name="Rectangle 38">
            <a:extLst>
              <a:ext uri="{FF2B5EF4-FFF2-40B4-BE49-F238E27FC236}">
                <a16:creationId xmlns:a16="http://schemas.microsoft.com/office/drawing/2014/main" id="{AC33D218-3F82-13C1-CC36-18FD6BFC730D}"/>
              </a:ext>
            </a:extLst>
          </p:cNvPr>
          <p:cNvSpPr/>
          <p:nvPr userDrawn="1"/>
        </p:nvSpPr>
        <p:spPr>
          <a:xfrm>
            <a:off x="769215" y="5315744"/>
            <a:ext cx="2790395" cy="83231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0" name="Text Placeholder 7">
            <a:extLst>
              <a:ext uri="{FF2B5EF4-FFF2-40B4-BE49-F238E27FC236}">
                <a16:creationId xmlns:a16="http://schemas.microsoft.com/office/drawing/2014/main" id="{98309EF9-9EA0-5CF5-FF3A-0BF9AC016A9A}"/>
              </a:ext>
            </a:extLst>
          </p:cNvPr>
          <p:cNvSpPr>
            <a:spLocks noGrp="1"/>
          </p:cNvSpPr>
          <p:nvPr>
            <p:ph type="body" sz="quarter" idx="53" hasCustomPrompt="1"/>
          </p:nvPr>
        </p:nvSpPr>
        <p:spPr>
          <a:xfrm>
            <a:off x="892093" y="541325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9583F772-1B16-166F-502C-D3F835B4B153}"/>
              </a:ext>
            </a:extLst>
          </p:cNvPr>
          <p:cNvSpPr>
            <a:spLocks noGrp="1"/>
          </p:cNvSpPr>
          <p:nvPr>
            <p:ph type="body" sz="quarter" idx="54" hasCustomPrompt="1"/>
          </p:nvPr>
        </p:nvSpPr>
        <p:spPr>
          <a:xfrm>
            <a:off x="892093" y="566946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EC639277-EF2E-9328-DB39-A3BD5195A57E}"/>
              </a:ext>
            </a:extLst>
          </p:cNvPr>
          <p:cNvSpPr>
            <a:spLocks noGrp="1"/>
          </p:cNvSpPr>
          <p:nvPr>
            <p:ph type="body" sz="quarter" idx="55" hasCustomPrompt="1"/>
          </p:nvPr>
        </p:nvSpPr>
        <p:spPr>
          <a:xfrm>
            <a:off x="4852356" y="5408967"/>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F3803936-3599-EDFE-3EBF-8940A265877B}"/>
              </a:ext>
            </a:extLst>
          </p:cNvPr>
          <p:cNvSpPr>
            <a:spLocks noGrp="1"/>
          </p:cNvSpPr>
          <p:nvPr>
            <p:ph type="body" sz="quarter" idx="56" hasCustomPrompt="1"/>
          </p:nvPr>
        </p:nvSpPr>
        <p:spPr>
          <a:xfrm>
            <a:off x="4852356" y="5665175"/>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B8917220-EB35-A3AD-8E0D-03AD56B4EED6}"/>
              </a:ext>
            </a:extLst>
          </p:cNvPr>
          <p:cNvSpPr>
            <a:spLocks noGrp="1"/>
          </p:cNvSpPr>
          <p:nvPr>
            <p:ph type="body" sz="quarter" idx="57" hasCustomPrompt="1"/>
          </p:nvPr>
        </p:nvSpPr>
        <p:spPr>
          <a:xfrm>
            <a:off x="8792898" y="541313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6" name="Text Placeholder 7">
            <a:extLst>
              <a:ext uri="{FF2B5EF4-FFF2-40B4-BE49-F238E27FC236}">
                <a16:creationId xmlns:a16="http://schemas.microsoft.com/office/drawing/2014/main" id="{3FB13329-EDBC-A02C-D28C-A380A23AF4F3}"/>
              </a:ext>
            </a:extLst>
          </p:cNvPr>
          <p:cNvSpPr>
            <a:spLocks noGrp="1"/>
          </p:cNvSpPr>
          <p:nvPr>
            <p:ph type="body" sz="quarter" idx="58" hasCustomPrompt="1"/>
          </p:nvPr>
        </p:nvSpPr>
        <p:spPr>
          <a:xfrm>
            <a:off x="8792898" y="566934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5" name="Rectangle 14">
            <a:extLst>
              <a:ext uri="{FF2B5EF4-FFF2-40B4-BE49-F238E27FC236}">
                <a16:creationId xmlns:a16="http://schemas.microsoft.com/office/drawing/2014/main" id="{87B2B294-272D-4A84-E70D-A59DD9E54A82}"/>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368661496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0_Two column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0756A5-00B3-0BCE-70E9-F5F144376580}"/>
              </a:ext>
            </a:extLst>
          </p:cNvPr>
          <p:cNvSpPr/>
          <p:nvPr userDrawn="1"/>
        </p:nvSpPr>
        <p:spPr>
          <a:xfrm>
            <a:off x="0" y="3102678"/>
            <a:ext cx="12192000"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7" name="Rectangle 6">
            <a:extLst>
              <a:ext uri="{FF2B5EF4-FFF2-40B4-BE49-F238E27FC236}">
                <a16:creationId xmlns:a16="http://schemas.microsoft.com/office/drawing/2014/main" id="{17B141C1-8AA4-1513-C46B-93F9A1A20B65}"/>
              </a:ext>
            </a:extLst>
          </p:cNvPr>
          <p:cNvSpPr/>
          <p:nvPr userDrawn="1"/>
        </p:nvSpPr>
        <p:spPr>
          <a:xfrm>
            <a:off x="0" y="5320030"/>
            <a:ext cx="12192000" cy="153797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847471"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847471"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561016"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561016"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253285"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253285"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3" name="Text Placeholder 7">
            <a:extLst>
              <a:ext uri="{FF2B5EF4-FFF2-40B4-BE49-F238E27FC236}">
                <a16:creationId xmlns:a16="http://schemas.microsoft.com/office/drawing/2014/main" id="{B7C2C761-8335-999F-D3BC-57B5189D05B6}"/>
              </a:ext>
            </a:extLst>
          </p:cNvPr>
          <p:cNvSpPr>
            <a:spLocks noGrp="1"/>
          </p:cNvSpPr>
          <p:nvPr>
            <p:ph type="body" sz="quarter" idx="36" hasCustomPrompt="1"/>
          </p:nvPr>
        </p:nvSpPr>
        <p:spPr>
          <a:xfrm>
            <a:off x="827750"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6B7C64BE-4672-57FE-5F23-7F1D0F5A9273}"/>
              </a:ext>
            </a:extLst>
          </p:cNvPr>
          <p:cNvSpPr>
            <a:spLocks noGrp="1"/>
          </p:cNvSpPr>
          <p:nvPr>
            <p:ph type="body" sz="quarter" idx="37" hasCustomPrompt="1"/>
          </p:nvPr>
        </p:nvSpPr>
        <p:spPr>
          <a:xfrm>
            <a:off x="827750"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296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23E5AB6E-1E19-B9E6-B111-07C558EB1EA2}"/>
              </a:ext>
            </a:extLst>
          </p:cNvPr>
          <p:cNvSpPr>
            <a:spLocks noGrp="1"/>
          </p:cNvSpPr>
          <p:nvPr>
            <p:ph type="body" sz="quarter" idx="39" hasCustomPrompt="1"/>
          </p:nvPr>
        </p:nvSpPr>
        <p:spPr>
          <a:xfrm>
            <a:off x="35412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BCF3D848-B4CE-93C9-AE5D-CC30721D107E}"/>
              </a:ext>
            </a:extLst>
          </p:cNvPr>
          <p:cNvSpPr>
            <a:spLocks noGrp="1"/>
          </p:cNvSpPr>
          <p:nvPr>
            <p:ph type="body" sz="quarter" idx="40" hasCustomPrompt="1"/>
          </p:nvPr>
        </p:nvSpPr>
        <p:spPr>
          <a:xfrm>
            <a:off x="3541295"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67220"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4" name="Text Placeholder 7">
            <a:extLst>
              <a:ext uri="{FF2B5EF4-FFF2-40B4-BE49-F238E27FC236}">
                <a16:creationId xmlns:a16="http://schemas.microsoft.com/office/drawing/2014/main" id="{3934DB85-9185-10C6-B386-7CF7C5EC2F05}"/>
              </a:ext>
            </a:extLst>
          </p:cNvPr>
          <p:cNvSpPr>
            <a:spLocks noGrp="1"/>
          </p:cNvSpPr>
          <p:nvPr>
            <p:ph type="body" sz="quarter" idx="42" hasCustomPrompt="1"/>
          </p:nvPr>
        </p:nvSpPr>
        <p:spPr>
          <a:xfrm>
            <a:off x="6278882"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5" name="Text Placeholder 7">
            <a:extLst>
              <a:ext uri="{FF2B5EF4-FFF2-40B4-BE49-F238E27FC236}">
                <a16:creationId xmlns:a16="http://schemas.microsoft.com/office/drawing/2014/main" id="{7178E5E2-419A-AF51-0484-D3E1209EE50D}"/>
              </a:ext>
            </a:extLst>
          </p:cNvPr>
          <p:cNvSpPr>
            <a:spLocks noGrp="1"/>
          </p:cNvSpPr>
          <p:nvPr>
            <p:ph type="body" sz="quarter" idx="43" hasCustomPrompt="1"/>
          </p:nvPr>
        </p:nvSpPr>
        <p:spPr>
          <a:xfrm>
            <a:off x="6278882"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8911898"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8911898"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258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0" name="Text Placeholder 7">
            <a:extLst>
              <a:ext uri="{FF2B5EF4-FFF2-40B4-BE49-F238E27FC236}">
                <a16:creationId xmlns:a16="http://schemas.microsoft.com/office/drawing/2014/main" id="{6D0230FD-0497-8C70-31F4-4DB15B5186E7}"/>
              </a:ext>
            </a:extLst>
          </p:cNvPr>
          <p:cNvSpPr>
            <a:spLocks noGrp="1"/>
          </p:cNvSpPr>
          <p:nvPr>
            <p:ph type="body" sz="quarter" idx="48" hasCustomPrompt="1"/>
          </p:nvPr>
        </p:nvSpPr>
        <p:spPr>
          <a:xfrm>
            <a:off x="89374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170A8714-5BD2-DC9E-E07A-C7AEEEC11E73}"/>
              </a:ext>
            </a:extLst>
          </p:cNvPr>
          <p:cNvSpPr>
            <a:spLocks noGrp="1"/>
          </p:cNvSpPr>
          <p:nvPr>
            <p:ph type="body" sz="quarter" idx="49" hasCustomPrompt="1"/>
          </p:nvPr>
        </p:nvSpPr>
        <p:spPr>
          <a:xfrm>
            <a:off x="8937495"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 name="Date Placeholder 10">
            <a:extLst>
              <a:ext uri="{FF2B5EF4-FFF2-40B4-BE49-F238E27FC236}">
                <a16:creationId xmlns:a16="http://schemas.microsoft.com/office/drawing/2014/main" id="{FD70E74F-12CA-4F92-16A4-50E262341A4E}"/>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68A60298-82AB-6147-9705-688182BF8FB0}" type="datetime4">
              <a:rPr lang="en-GB" smtClean="0"/>
              <a:t>17 July 2024</a:t>
            </a:fld>
            <a:endParaRPr lang="en-US"/>
          </a:p>
        </p:txBody>
      </p:sp>
      <p:sp>
        <p:nvSpPr>
          <p:cNvPr id="25" name="Slide Number Placeholder 2">
            <a:extLst>
              <a:ext uri="{FF2B5EF4-FFF2-40B4-BE49-F238E27FC236}">
                <a16:creationId xmlns:a16="http://schemas.microsoft.com/office/drawing/2014/main" id="{365665AB-08D8-68B0-B112-AE1C2AB0972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A7BC0388-1EE5-D902-6798-032BEE914B28}"/>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7718704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genda 2 column">
    <p:bg>
      <p:bgRef idx="1001">
        <a:schemeClr val="bg2"/>
      </p:bgRef>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0649393-5D04-B828-1511-35BF1AD5363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pic>
        <p:nvPicPr>
          <p:cNvPr id="3" name="Logo">
            <a:extLst>
              <a:ext uri="{FF2B5EF4-FFF2-40B4-BE49-F238E27FC236}">
                <a16:creationId xmlns:a16="http://schemas.microsoft.com/office/drawing/2014/main" id="{67B04317-F9B6-6F87-C265-5DAB4002DA06}"/>
              </a:ext>
            </a:extLst>
          </p:cNvPr>
          <p:cNvPicPr>
            <a:picLocks/>
          </p:cNvPicPr>
          <p:nvPr>
            <p:custDataLst>
              <p:tags r:id="rId1"/>
            </p:custDataLst>
          </p:nvPr>
        </p:nvPicPr>
        <p:blipFill rotWithShape="1">
          <a:blip r:embed="rId3">
            <a:extLst>
              <a:ext uri="{96DAC541-7B7A-43D3-8B79-37D633B846F1}">
                <asvg:svgBlip xmlns:asvg="http://schemas.microsoft.com/office/drawing/2016/SVG/main" r:embed="rId4"/>
              </a:ext>
            </a:extLst>
          </a:blip>
          <a:srcRect t="80" b="80"/>
          <a:stretch/>
        </p:blipFill>
        <p:spPr bwMode="black">
          <a:xfrm>
            <a:off x="10866053" y="278965"/>
            <a:ext cx="900000" cy="385227"/>
          </a:xfrm>
          <a:prstGeom prst="rect">
            <a:avLst/>
          </a:prstGeom>
        </p:spPr>
      </p:pic>
      <p:sp>
        <p:nvSpPr>
          <p:cNvPr id="2" name="Slide Number Placeholder 1">
            <a:extLst>
              <a:ext uri="{FF2B5EF4-FFF2-40B4-BE49-F238E27FC236}">
                <a16:creationId xmlns:a16="http://schemas.microsoft.com/office/drawing/2014/main" id="{7BF51731-8937-2351-EAC9-34B52DFDA39E}"/>
              </a:ext>
            </a:extLst>
          </p:cNvPr>
          <p:cNvSpPr>
            <a:spLocks noGrp="1"/>
          </p:cNvSpPr>
          <p:nvPr>
            <p:ph type="sldNum" sz="quarter" idx="10"/>
          </p:nvPr>
        </p:nvSpPr>
        <p:spPr/>
        <p:txBody>
          <a:bodyPr/>
          <a:lstStyle/>
          <a:p>
            <a:fld id="{6686A102-957E-47D3-A22D-E8508A8052D6}" type="slidenum">
              <a:rPr lang="en-GB" smtClean="0"/>
              <a:pPr/>
              <a:t>‹#›</a:t>
            </a:fld>
            <a:endParaRPr lang="en-GB" dirty="0"/>
          </a:p>
        </p:txBody>
      </p:sp>
    </p:spTree>
    <p:extLst>
      <p:ext uri="{BB962C8B-B14F-4D97-AF65-F5344CB8AC3E}">
        <p14:creationId xmlns:p14="http://schemas.microsoft.com/office/powerpoint/2010/main" val="2809292557"/>
      </p:ext>
    </p:extLst>
  </p:cSld>
  <p:clrMapOvr>
    <a:overrideClrMapping bg1="dk1" tx1="lt1" bg2="dk2" tx2="lt2" accent1="accent1" accent2="accent2" accent3="accent3" accent4="accent4" accent5="accent5" accent6="accent6" hlink="hlink" folHlink="folHlink"/>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3_Two columns">
    <p:spTree>
      <p:nvGrpSpPr>
        <p:cNvPr id="1" name=""/>
        <p:cNvGrpSpPr/>
        <p:nvPr/>
      </p:nvGrpSpPr>
      <p:grpSpPr>
        <a:xfrm>
          <a:off x="0" y="0"/>
          <a:ext cx="0" cy="0"/>
          <a:chOff x="0" y="0"/>
          <a:chExt cx="0" cy="0"/>
        </a:xfrm>
      </p:grpSpPr>
      <p:pic>
        <p:nvPicPr>
          <p:cNvPr id="44" name="Graphic 43">
            <a:extLst>
              <a:ext uri="{FF2B5EF4-FFF2-40B4-BE49-F238E27FC236}">
                <a16:creationId xmlns:a16="http://schemas.microsoft.com/office/drawing/2014/main" id="{55C048D6-68E0-CDF2-8B2B-D05F55B8564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6" name="Rectangle 25">
            <a:extLst>
              <a:ext uri="{FF2B5EF4-FFF2-40B4-BE49-F238E27FC236}">
                <a16:creationId xmlns:a16="http://schemas.microsoft.com/office/drawing/2014/main" id="{E82245C6-F16E-8213-38E5-62108F819245}"/>
              </a:ext>
            </a:extLst>
          </p:cNvPr>
          <p:cNvSpPr/>
          <p:nvPr userDrawn="1"/>
        </p:nvSpPr>
        <p:spPr>
          <a:xfrm>
            <a:off x="3529633" y="3098828"/>
            <a:ext cx="2517465"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2" name="Rectangle 41">
            <a:extLst>
              <a:ext uri="{FF2B5EF4-FFF2-40B4-BE49-F238E27FC236}">
                <a16:creationId xmlns:a16="http://schemas.microsoft.com/office/drawing/2014/main" id="{7ABF6761-038E-532E-6741-0C80FA054AAE}"/>
              </a:ext>
            </a:extLst>
          </p:cNvPr>
          <p:cNvSpPr/>
          <p:nvPr userDrawn="1"/>
        </p:nvSpPr>
        <p:spPr>
          <a:xfrm>
            <a:off x="6272966" y="3102677"/>
            <a:ext cx="2491664"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3" name="Rectangle 42">
            <a:extLst>
              <a:ext uri="{FF2B5EF4-FFF2-40B4-BE49-F238E27FC236}">
                <a16:creationId xmlns:a16="http://schemas.microsoft.com/office/drawing/2014/main" id="{DCBF3824-7421-DFC7-BFDA-9A641635C396}"/>
              </a:ext>
            </a:extLst>
          </p:cNvPr>
          <p:cNvSpPr/>
          <p:nvPr userDrawn="1"/>
        </p:nvSpPr>
        <p:spPr>
          <a:xfrm>
            <a:off x="8944686" y="3095598"/>
            <a:ext cx="2491664"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5" name="Rectangle 4">
            <a:extLst>
              <a:ext uri="{FF2B5EF4-FFF2-40B4-BE49-F238E27FC236}">
                <a16:creationId xmlns:a16="http://schemas.microsoft.com/office/drawing/2014/main" id="{680756A5-00B3-0BCE-70E9-F5F144376580}"/>
              </a:ext>
            </a:extLst>
          </p:cNvPr>
          <p:cNvSpPr/>
          <p:nvPr userDrawn="1"/>
        </p:nvSpPr>
        <p:spPr>
          <a:xfrm>
            <a:off x="813671" y="3098828"/>
            <a:ext cx="2521667"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914541" y="3150353"/>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914541" y="3434393"/>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620599"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620599"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33887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33887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34383" y="4139179"/>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71113" y="4144576"/>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906622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906622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5417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 name="Date Placeholder 10">
            <a:extLst>
              <a:ext uri="{FF2B5EF4-FFF2-40B4-BE49-F238E27FC236}">
                <a16:creationId xmlns:a16="http://schemas.microsoft.com/office/drawing/2014/main" id="{FD70E74F-12CA-4F92-16A4-50E262341A4E}"/>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68A60298-82AB-6147-9705-688182BF8FB0}" type="datetime4">
              <a:rPr lang="en-GB" smtClean="0"/>
              <a:pPr/>
              <a:t>17 July 2024</a:t>
            </a:fld>
            <a:endParaRPr lang="en-US"/>
          </a:p>
        </p:txBody>
      </p:sp>
      <p:sp>
        <p:nvSpPr>
          <p:cNvPr id="25" name="Slide Number Placeholder 2">
            <a:extLst>
              <a:ext uri="{FF2B5EF4-FFF2-40B4-BE49-F238E27FC236}">
                <a16:creationId xmlns:a16="http://schemas.microsoft.com/office/drawing/2014/main" id="{365665AB-08D8-68B0-B112-AE1C2AB0972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45" name="Rectangle 44">
            <a:extLst>
              <a:ext uri="{FF2B5EF4-FFF2-40B4-BE49-F238E27FC236}">
                <a16:creationId xmlns:a16="http://schemas.microsoft.com/office/drawing/2014/main" id="{FDF54747-D981-EEC8-B08A-A52DEAC1CD94}"/>
              </a:ext>
            </a:extLst>
          </p:cNvPr>
          <p:cNvSpPr/>
          <p:nvPr userDrawn="1"/>
        </p:nvSpPr>
        <p:spPr>
          <a:xfrm>
            <a:off x="3527697" y="5326168"/>
            <a:ext cx="2517465"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6" name="Rectangle 45">
            <a:extLst>
              <a:ext uri="{FF2B5EF4-FFF2-40B4-BE49-F238E27FC236}">
                <a16:creationId xmlns:a16="http://schemas.microsoft.com/office/drawing/2014/main" id="{EC46CF0B-CCD5-AA47-3C03-702D6CFBBBA4}"/>
              </a:ext>
            </a:extLst>
          </p:cNvPr>
          <p:cNvSpPr/>
          <p:nvPr userDrawn="1"/>
        </p:nvSpPr>
        <p:spPr>
          <a:xfrm>
            <a:off x="6242413" y="5330621"/>
            <a:ext cx="2491664"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7" name="Rectangle 46">
            <a:extLst>
              <a:ext uri="{FF2B5EF4-FFF2-40B4-BE49-F238E27FC236}">
                <a16:creationId xmlns:a16="http://schemas.microsoft.com/office/drawing/2014/main" id="{78134FDD-F308-A60A-D1E4-1D9926C04DB4}"/>
              </a:ext>
            </a:extLst>
          </p:cNvPr>
          <p:cNvSpPr/>
          <p:nvPr userDrawn="1"/>
        </p:nvSpPr>
        <p:spPr>
          <a:xfrm>
            <a:off x="8947325" y="5320030"/>
            <a:ext cx="2491664"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8" name="Rectangle 47">
            <a:extLst>
              <a:ext uri="{FF2B5EF4-FFF2-40B4-BE49-F238E27FC236}">
                <a16:creationId xmlns:a16="http://schemas.microsoft.com/office/drawing/2014/main" id="{28328140-706D-17DE-7EA0-B7022AEB917B}"/>
              </a:ext>
            </a:extLst>
          </p:cNvPr>
          <p:cNvSpPr/>
          <p:nvPr userDrawn="1"/>
        </p:nvSpPr>
        <p:spPr>
          <a:xfrm>
            <a:off x="811946" y="5320030"/>
            <a:ext cx="2521667"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9" name="Text Placeholder 7">
            <a:extLst>
              <a:ext uri="{FF2B5EF4-FFF2-40B4-BE49-F238E27FC236}">
                <a16:creationId xmlns:a16="http://schemas.microsoft.com/office/drawing/2014/main" id="{82176B93-B246-A67D-AB6A-1DF1CEEFC247}"/>
              </a:ext>
            </a:extLst>
          </p:cNvPr>
          <p:cNvSpPr>
            <a:spLocks noGrp="1"/>
          </p:cNvSpPr>
          <p:nvPr>
            <p:ph type="body" sz="quarter" idx="48" hasCustomPrompt="1"/>
          </p:nvPr>
        </p:nvSpPr>
        <p:spPr>
          <a:xfrm>
            <a:off x="926732" y="537300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0" name="Text Placeholder 7">
            <a:extLst>
              <a:ext uri="{FF2B5EF4-FFF2-40B4-BE49-F238E27FC236}">
                <a16:creationId xmlns:a16="http://schemas.microsoft.com/office/drawing/2014/main" id="{34294786-B7A0-1804-2750-EE81229CD571}"/>
              </a:ext>
            </a:extLst>
          </p:cNvPr>
          <p:cNvSpPr>
            <a:spLocks noGrp="1"/>
          </p:cNvSpPr>
          <p:nvPr>
            <p:ph type="body" sz="quarter" idx="49" hasCustomPrompt="1"/>
          </p:nvPr>
        </p:nvSpPr>
        <p:spPr>
          <a:xfrm>
            <a:off x="926732" y="565704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1" name="Text Placeholder 7">
            <a:extLst>
              <a:ext uri="{FF2B5EF4-FFF2-40B4-BE49-F238E27FC236}">
                <a16:creationId xmlns:a16="http://schemas.microsoft.com/office/drawing/2014/main" id="{0D258FB3-6080-7B11-9834-13F96511B894}"/>
              </a:ext>
            </a:extLst>
          </p:cNvPr>
          <p:cNvSpPr>
            <a:spLocks noGrp="1"/>
          </p:cNvSpPr>
          <p:nvPr>
            <p:ph type="body" sz="quarter" idx="50" hasCustomPrompt="1"/>
          </p:nvPr>
        </p:nvSpPr>
        <p:spPr>
          <a:xfrm>
            <a:off x="3632790"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2" name="Text Placeholder 7">
            <a:extLst>
              <a:ext uri="{FF2B5EF4-FFF2-40B4-BE49-F238E27FC236}">
                <a16:creationId xmlns:a16="http://schemas.microsoft.com/office/drawing/2014/main" id="{DD656BE4-5BAE-B987-38C8-4A6C92DC56C0}"/>
              </a:ext>
            </a:extLst>
          </p:cNvPr>
          <p:cNvSpPr>
            <a:spLocks noGrp="1"/>
          </p:cNvSpPr>
          <p:nvPr>
            <p:ph type="body" sz="quarter" idx="51" hasCustomPrompt="1"/>
          </p:nvPr>
        </p:nvSpPr>
        <p:spPr>
          <a:xfrm>
            <a:off x="3632790"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3" name="Text Placeholder 7">
            <a:extLst>
              <a:ext uri="{FF2B5EF4-FFF2-40B4-BE49-F238E27FC236}">
                <a16:creationId xmlns:a16="http://schemas.microsoft.com/office/drawing/2014/main" id="{5C8CDC5D-F32B-8A04-9318-1653A8326620}"/>
              </a:ext>
            </a:extLst>
          </p:cNvPr>
          <p:cNvSpPr>
            <a:spLocks noGrp="1"/>
          </p:cNvSpPr>
          <p:nvPr>
            <p:ph type="body" sz="quarter" idx="52" hasCustomPrompt="1"/>
          </p:nvPr>
        </p:nvSpPr>
        <p:spPr>
          <a:xfrm>
            <a:off x="635106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4" name="Text Placeholder 7">
            <a:extLst>
              <a:ext uri="{FF2B5EF4-FFF2-40B4-BE49-F238E27FC236}">
                <a16:creationId xmlns:a16="http://schemas.microsoft.com/office/drawing/2014/main" id="{2F68F5F9-4DE7-7F57-D929-1E78C24BF366}"/>
              </a:ext>
            </a:extLst>
          </p:cNvPr>
          <p:cNvSpPr>
            <a:spLocks noGrp="1"/>
          </p:cNvSpPr>
          <p:nvPr>
            <p:ph type="body" sz="quarter" idx="53" hasCustomPrompt="1"/>
          </p:nvPr>
        </p:nvSpPr>
        <p:spPr>
          <a:xfrm>
            <a:off x="635106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5" name="Text Placeholder 7">
            <a:extLst>
              <a:ext uri="{FF2B5EF4-FFF2-40B4-BE49-F238E27FC236}">
                <a16:creationId xmlns:a16="http://schemas.microsoft.com/office/drawing/2014/main" id="{FF35FA80-C1E8-424C-E9A2-A3F726654BB2}"/>
              </a:ext>
            </a:extLst>
          </p:cNvPr>
          <p:cNvSpPr>
            <a:spLocks noGrp="1"/>
          </p:cNvSpPr>
          <p:nvPr>
            <p:ph type="body" sz="quarter" idx="54" hasCustomPrompt="1"/>
          </p:nvPr>
        </p:nvSpPr>
        <p:spPr>
          <a:xfrm>
            <a:off x="907841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75E516F2-1D87-0ACF-B2E6-A2E932684C78}"/>
              </a:ext>
            </a:extLst>
          </p:cNvPr>
          <p:cNvSpPr>
            <a:spLocks noGrp="1"/>
          </p:cNvSpPr>
          <p:nvPr>
            <p:ph type="body" sz="quarter" idx="55" hasCustomPrompt="1"/>
          </p:nvPr>
        </p:nvSpPr>
        <p:spPr>
          <a:xfrm>
            <a:off x="907841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7" name="Rectangle 6">
            <a:extLst>
              <a:ext uri="{FF2B5EF4-FFF2-40B4-BE49-F238E27FC236}">
                <a16:creationId xmlns:a16="http://schemas.microsoft.com/office/drawing/2014/main" id="{C10BC76B-7258-31EC-7D9A-0D6E4B265C8E}"/>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76690051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7_Biog x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2DBD1081-2077-3303-650A-C68EE3B32E73}"/>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accent3"/>
                </a:solidFill>
              </a:defRPr>
            </a:lvl1pPr>
          </a:lstStyle>
          <a:p>
            <a:fld id="{BDB041B7-26DE-B547-9765-F299372B69C8}" type="datetime4">
              <a:rPr lang="en-GB" smtClean="0"/>
              <a:pPr/>
              <a:t>17 July 2024</a:t>
            </a:fld>
            <a:endParaRPr lang="en-US"/>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8" y="3303927"/>
            <a:ext cx="5160793"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255571" y="2229020"/>
            <a:ext cx="3651688" cy="306502"/>
          </a:xfrm>
        </p:spPr>
        <p:txBody>
          <a:bodyPr/>
          <a:lstStyle>
            <a:lvl1pPr>
              <a:spcBef>
                <a:spcPts val="0"/>
              </a:spcBef>
              <a:defRPr sz="18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255571" y="2551633"/>
            <a:ext cx="3651688" cy="306502"/>
          </a:xfrm>
        </p:spPr>
        <p:txBody>
          <a:bodyPr/>
          <a:lstStyle>
            <a:lvl1pPr>
              <a:spcBef>
                <a:spcPts val="0"/>
              </a:spcBef>
              <a:defRPr sz="1400" b="0">
                <a:solidFill>
                  <a:schemeClr val="tx1"/>
                </a:solidFill>
                <a:latin typeface="+mn-lt"/>
              </a:defRPr>
            </a:lvl1pPr>
          </a:lstStyle>
          <a:p>
            <a:pPr lvl="0"/>
            <a:r>
              <a:rPr lang="en-US"/>
              <a:t>Title</a:t>
            </a:r>
          </a:p>
        </p:txBody>
      </p:sp>
      <p:sp>
        <p:nvSpPr>
          <p:cNvPr id="31" name="Text Placeholder 2">
            <a:extLst>
              <a:ext uri="{FF2B5EF4-FFF2-40B4-BE49-F238E27FC236}">
                <a16:creationId xmlns:a16="http://schemas.microsoft.com/office/drawing/2014/main" id="{59C7ED37-BEB9-EC44-BE68-A18EBFE75A5A}"/>
              </a:ext>
            </a:extLst>
          </p:cNvPr>
          <p:cNvSpPr>
            <a:spLocks noGrp="1"/>
          </p:cNvSpPr>
          <p:nvPr>
            <p:ph type="body" sz="quarter" idx="23" hasCustomPrompt="1"/>
          </p:nvPr>
        </p:nvSpPr>
        <p:spPr>
          <a:xfrm>
            <a:off x="6216650" y="3309002"/>
            <a:ext cx="5199745"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CD59918D-C650-359F-6946-7605BDD951A9}"/>
              </a:ext>
            </a:extLst>
          </p:cNvPr>
          <p:cNvSpPr>
            <a:spLocks noGrp="1"/>
          </p:cNvSpPr>
          <p:nvPr>
            <p:ph type="body" sz="quarter" idx="24" hasCustomPrompt="1"/>
          </p:nvPr>
        </p:nvSpPr>
        <p:spPr>
          <a:xfrm>
            <a:off x="7655974" y="2245131"/>
            <a:ext cx="3659939" cy="306502"/>
          </a:xfrm>
        </p:spPr>
        <p:txBody>
          <a:bodyPr/>
          <a:lstStyle>
            <a:lvl1pPr>
              <a:spcBef>
                <a:spcPts val="0"/>
              </a:spcBef>
              <a:defRPr sz="1800" b="1">
                <a:solidFill>
                  <a:schemeClr val="tx2"/>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E8C9737F-4ECE-562C-6DE9-36A15B449A83}"/>
              </a:ext>
            </a:extLst>
          </p:cNvPr>
          <p:cNvSpPr>
            <a:spLocks noGrp="1"/>
          </p:cNvSpPr>
          <p:nvPr>
            <p:ph type="body" sz="quarter" idx="25" hasCustomPrompt="1"/>
          </p:nvPr>
        </p:nvSpPr>
        <p:spPr>
          <a:xfrm>
            <a:off x="7655974" y="2567744"/>
            <a:ext cx="3659939" cy="306502"/>
          </a:xfrm>
        </p:spPr>
        <p:txBody>
          <a:bodyPr/>
          <a:lstStyle>
            <a:lvl1pPr>
              <a:spcBef>
                <a:spcPts val="0"/>
              </a:spcBef>
              <a:defRPr sz="1400" b="0">
                <a:solidFill>
                  <a:schemeClr val="tx1"/>
                </a:solidFill>
                <a:latin typeface="+mn-lt"/>
              </a:defRPr>
            </a:lvl1pPr>
          </a:lstStyle>
          <a:p>
            <a:pPr lvl="0"/>
            <a:r>
              <a:rPr lang="en-US"/>
              <a:t>Title</a:t>
            </a:r>
          </a:p>
        </p:txBody>
      </p:sp>
      <p:sp>
        <p:nvSpPr>
          <p:cNvPr id="34" name="Picture Placeholder 3">
            <a:extLst>
              <a:ext uri="{FF2B5EF4-FFF2-40B4-BE49-F238E27FC236}">
                <a16:creationId xmlns:a16="http://schemas.microsoft.com/office/drawing/2014/main" id="{F853748F-65F2-599B-9F34-B594FC1EB208}"/>
              </a:ext>
            </a:extLst>
          </p:cNvPr>
          <p:cNvSpPr>
            <a:spLocks noGrp="1"/>
          </p:cNvSpPr>
          <p:nvPr>
            <p:ph type="pic" sz="quarter" idx="15"/>
          </p:nvPr>
        </p:nvSpPr>
        <p:spPr>
          <a:xfrm>
            <a:off x="815975" y="1956668"/>
            <a:ext cx="1245600" cy="1254062"/>
          </a:xfrm>
          <a:prstGeom prst="rect">
            <a:avLst/>
          </a:prstGeom>
          <a:solidFill>
            <a:srgbClr val="E7E7E8"/>
          </a:solidFill>
        </p:spPr>
        <p:txBody>
          <a:bodyPr lIns="72000" tIns="72000" rIns="72000"/>
          <a:lstStyle/>
          <a:p>
            <a:r>
              <a:rPr lang="en-US"/>
              <a:t>Click icon to add picture</a:t>
            </a:r>
            <a:endParaRPr lang="en-GB"/>
          </a:p>
        </p:txBody>
      </p:sp>
      <p:sp>
        <p:nvSpPr>
          <p:cNvPr id="35" name="Picture Placeholder 3">
            <a:extLst>
              <a:ext uri="{FF2B5EF4-FFF2-40B4-BE49-F238E27FC236}">
                <a16:creationId xmlns:a16="http://schemas.microsoft.com/office/drawing/2014/main" id="{AB7BAB43-A04D-BCB8-4A3D-5C8A71C4F3E5}"/>
              </a:ext>
            </a:extLst>
          </p:cNvPr>
          <p:cNvSpPr>
            <a:spLocks noGrp="1"/>
          </p:cNvSpPr>
          <p:nvPr>
            <p:ph type="pic" sz="quarter" idx="20"/>
          </p:nvPr>
        </p:nvSpPr>
        <p:spPr>
          <a:xfrm>
            <a:off x="6216650" y="1959360"/>
            <a:ext cx="1245600" cy="1254062"/>
          </a:xfrm>
          <a:prstGeom prst="rect">
            <a:avLst/>
          </a:prstGeom>
          <a:solidFill>
            <a:srgbClr val="E7E7E8"/>
          </a:solidFill>
        </p:spPr>
        <p:txBody>
          <a:bodyPr lIns="72000" tIns="72000" rIns="72000"/>
          <a:lstStyle/>
          <a:p>
            <a:r>
              <a:rPr lang="en-US"/>
              <a:t>Click icon to add picture</a:t>
            </a:r>
            <a:endParaRPr lang="en-GB"/>
          </a:p>
        </p:txBody>
      </p:sp>
    </p:spTree>
    <p:extLst>
      <p:ext uri="{BB962C8B-B14F-4D97-AF65-F5344CB8AC3E}">
        <p14:creationId xmlns:p14="http://schemas.microsoft.com/office/powerpoint/2010/main" val="122527362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8_Biog x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2DBD1081-2077-3303-650A-C68EE3B32E73}"/>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accent3"/>
                </a:solidFill>
              </a:defRPr>
            </a:lvl1pPr>
          </a:lstStyle>
          <a:p>
            <a:fld id="{BDB041B7-26DE-B547-9765-F299372B69C8}" type="datetime4">
              <a:rPr lang="en-GB" smtClean="0"/>
              <a:pPr/>
              <a:t>17 July 2024</a:t>
            </a:fld>
            <a:endParaRPr lang="en-US"/>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5975" y="1956668"/>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282445"/>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076067" y="2110799"/>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076067" y="2696622"/>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3" name="Picture Placeholder 3">
            <a:extLst>
              <a:ext uri="{FF2B5EF4-FFF2-40B4-BE49-F238E27FC236}">
                <a16:creationId xmlns:a16="http://schemas.microsoft.com/office/drawing/2014/main" id="{392D5268-2F0A-D215-A7BB-EFB100CF96D2}"/>
              </a:ext>
            </a:extLst>
          </p:cNvPr>
          <p:cNvSpPr>
            <a:spLocks noGrp="1"/>
          </p:cNvSpPr>
          <p:nvPr>
            <p:ph type="pic" sz="quarter" idx="23"/>
          </p:nvPr>
        </p:nvSpPr>
        <p:spPr>
          <a:xfrm>
            <a:off x="4423561" y="1954891"/>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7" name="Text Placeholder 2">
            <a:extLst>
              <a:ext uri="{FF2B5EF4-FFF2-40B4-BE49-F238E27FC236}">
                <a16:creationId xmlns:a16="http://schemas.microsoft.com/office/drawing/2014/main" id="{4981AF6E-5575-586C-7E95-F8487F134162}"/>
              </a:ext>
            </a:extLst>
          </p:cNvPr>
          <p:cNvSpPr>
            <a:spLocks noGrp="1"/>
          </p:cNvSpPr>
          <p:nvPr>
            <p:ph type="body" sz="quarter" idx="24" hasCustomPrompt="1"/>
          </p:nvPr>
        </p:nvSpPr>
        <p:spPr>
          <a:xfrm>
            <a:off x="4422145" y="3280668"/>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CBC4B6E6-8772-3B70-144A-EACD64C7AED5}"/>
              </a:ext>
            </a:extLst>
          </p:cNvPr>
          <p:cNvSpPr>
            <a:spLocks noGrp="1"/>
          </p:cNvSpPr>
          <p:nvPr>
            <p:ph type="body" sz="quarter" idx="25" hasCustomPrompt="1"/>
          </p:nvPr>
        </p:nvSpPr>
        <p:spPr>
          <a:xfrm>
            <a:off x="5683653" y="2109022"/>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11" name="Text Placeholder 7">
            <a:extLst>
              <a:ext uri="{FF2B5EF4-FFF2-40B4-BE49-F238E27FC236}">
                <a16:creationId xmlns:a16="http://schemas.microsoft.com/office/drawing/2014/main" id="{66407540-F988-3611-ED4D-366C82FFE6C2}"/>
              </a:ext>
            </a:extLst>
          </p:cNvPr>
          <p:cNvSpPr>
            <a:spLocks noGrp="1"/>
          </p:cNvSpPr>
          <p:nvPr>
            <p:ph type="body" sz="quarter" idx="26" hasCustomPrompt="1"/>
          </p:nvPr>
        </p:nvSpPr>
        <p:spPr>
          <a:xfrm>
            <a:off x="5683653" y="2694845"/>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13" name="Picture Placeholder 3">
            <a:extLst>
              <a:ext uri="{FF2B5EF4-FFF2-40B4-BE49-F238E27FC236}">
                <a16:creationId xmlns:a16="http://schemas.microsoft.com/office/drawing/2014/main" id="{FAA941C1-6898-D7AB-B44C-9E08BC0C5C15}"/>
              </a:ext>
            </a:extLst>
          </p:cNvPr>
          <p:cNvSpPr>
            <a:spLocks noGrp="1"/>
          </p:cNvSpPr>
          <p:nvPr>
            <p:ph type="pic" sz="quarter" idx="27"/>
          </p:nvPr>
        </p:nvSpPr>
        <p:spPr>
          <a:xfrm>
            <a:off x="8015288" y="1959360"/>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14" name="Text Placeholder 2">
            <a:extLst>
              <a:ext uri="{FF2B5EF4-FFF2-40B4-BE49-F238E27FC236}">
                <a16:creationId xmlns:a16="http://schemas.microsoft.com/office/drawing/2014/main" id="{73E4BC0C-7F57-E414-4597-F740BB073E26}"/>
              </a:ext>
            </a:extLst>
          </p:cNvPr>
          <p:cNvSpPr>
            <a:spLocks noGrp="1"/>
          </p:cNvSpPr>
          <p:nvPr>
            <p:ph type="body" sz="quarter" idx="28" hasCustomPrompt="1"/>
          </p:nvPr>
        </p:nvSpPr>
        <p:spPr>
          <a:xfrm>
            <a:off x="8013872" y="3285137"/>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E0F91699-5314-781C-1820-506BD09E9523}"/>
              </a:ext>
            </a:extLst>
          </p:cNvPr>
          <p:cNvSpPr>
            <a:spLocks noGrp="1"/>
          </p:cNvSpPr>
          <p:nvPr>
            <p:ph type="body" sz="quarter" idx="29" hasCustomPrompt="1"/>
          </p:nvPr>
        </p:nvSpPr>
        <p:spPr>
          <a:xfrm>
            <a:off x="9275380" y="2113491"/>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5BB83E18-A80F-18CF-AD01-1CB0415B3763}"/>
              </a:ext>
            </a:extLst>
          </p:cNvPr>
          <p:cNvSpPr>
            <a:spLocks noGrp="1"/>
          </p:cNvSpPr>
          <p:nvPr>
            <p:ph type="body" sz="quarter" idx="30" hasCustomPrompt="1"/>
          </p:nvPr>
        </p:nvSpPr>
        <p:spPr>
          <a:xfrm>
            <a:off x="9275380" y="2699314"/>
            <a:ext cx="2159383"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55922928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9_Biog x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2DBD1081-2077-3303-650A-C68EE3B32E73}"/>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accent3"/>
                </a:solidFill>
              </a:defRPr>
            </a:lvl1pPr>
          </a:lstStyle>
          <a:p>
            <a:fld id="{BDB041B7-26DE-B547-9765-F299372B69C8}" type="datetime4">
              <a:rPr lang="en-GB" smtClean="0"/>
              <a:pPr/>
              <a:t>17 July 2024</a:t>
            </a:fld>
            <a:endParaRPr lang="en-US"/>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4559" y="1855452"/>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490780"/>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81455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81455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25" name="Picture Placeholder 3">
            <a:extLst>
              <a:ext uri="{FF2B5EF4-FFF2-40B4-BE49-F238E27FC236}">
                <a16:creationId xmlns:a16="http://schemas.microsoft.com/office/drawing/2014/main" id="{F2C6DF06-3670-710F-232B-A2F6BC3057F3}"/>
              </a:ext>
            </a:extLst>
          </p:cNvPr>
          <p:cNvSpPr>
            <a:spLocks noGrp="1"/>
          </p:cNvSpPr>
          <p:nvPr>
            <p:ph type="pic" sz="quarter" idx="23"/>
          </p:nvPr>
        </p:nvSpPr>
        <p:spPr>
          <a:xfrm>
            <a:off x="3526009" y="1859869"/>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6" name="Text Placeholder 2">
            <a:extLst>
              <a:ext uri="{FF2B5EF4-FFF2-40B4-BE49-F238E27FC236}">
                <a16:creationId xmlns:a16="http://schemas.microsoft.com/office/drawing/2014/main" id="{C12E0DEF-B1EE-488F-4918-3F9D52EA0CBC}"/>
              </a:ext>
            </a:extLst>
          </p:cNvPr>
          <p:cNvSpPr>
            <a:spLocks noGrp="1"/>
          </p:cNvSpPr>
          <p:nvPr>
            <p:ph type="body" sz="quarter" idx="24" hasCustomPrompt="1"/>
          </p:nvPr>
        </p:nvSpPr>
        <p:spPr>
          <a:xfrm>
            <a:off x="3526009" y="3495197"/>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Picture Placeholder 3">
            <a:extLst>
              <a:ext uri="{FF2B5EF4-FFF2-40B4-BE49-F238E27FC236}">
                <a16:creationId xmlns:a16="http://schemas.microsoft.com/office/drawing/2014/main" id="{AE0DACA8-7747-11D7-C695-1CF89E571370}"/>
              </a:ext>
            </a:extLst>
          </p:cNvPr>
          <p:cNvSpPr>
            <a:spLocks noGrp="1"/>
          </p:cNvSpPr>
          <p:nvPr>
            <p:ph type="pic" sz="quarter" idx="27"/>
          </p:nvPr>
        </p:nvSpPr>
        <p:spPr>
          <a:xfrm>
            <a:off x="6215998" y="1853727"/>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3" name="Text Placeholder 2">
            <a:extLst>
              <a:ext uri="{FF2B5EF4-FFF2-40B4-BE49-F238E27FC236}">
                <a16:creationId xmlns:a16="http://schemas.microsoft.com/office/drawing/2014/main" id="{0D44B368-DB8F-C365-A0DE-4D59C0AD1B16}"/>
              </a:ext>
            </a:extLst>
          </p:cNvPr>
          <p:cNvSpPr>
            <a:spLocks noGrp="1"/>
          </p:cNvSpPr>
          <p:nvPr>
            <p:ph type="body" sz="quarter" idx="28" hasCustomPrompt="1"/>
          </p:nvPr>
        </p:nvSpPr>
        <p:spPr>
          <a:xfrm>
            <a:off x="6215998" y="3489055"/>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6" name="Picture Placeholder 3">
            <a:extLst>
              <a:ext uri="{FF2B5EF4-FFF2-40B4-BE49-F238E27FC236}">
                <a16:creationId xmlns:a16="http://schemas.microsoft.com/office/drawing/2014/main" id="{32F9F671-F799-7F08-8D2F-F4494EDBEF29}"/>
              </a:ext>
            </a:extLst>
          </p:cNvPr>
          <p:cNvSpPr>
            <a:spLocks noGrp="1"/>
          </p:cNvSpPr>
          <p:nvPr>
            <p:ph type="pic" sz="quarter" idx="31"/>
          </p:nvPr>
        </p:nvSpPr>
        <p:spPr>
          <a:xfrm>
            <a:off x="8927448" y="1858144"/>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7" name="Text Placeholder 2">
            <a:extLst>
              <a:ext uri="{FF2B5EF4-FFF2-40B4-BE49-F238E27FC236}">
                <a16:creationId xmlns:a16="http://schemas.microsoft.com/office/drawing/2014/main" id="{FDB7CAFB-2D86-4193-4E1F-DF5A02DE5329}"/>
              </a:ext>
            </a:extLst>
          </p:cNvPr>
          <p:cNvSpPr>
            <a:spLocks noGrp="1"/>
          </p:cNvSpPr>
          <p:nvPr>
            <p:ph type="body" sz="quarter" idx="32" hasCustomPrompt="1"/>
          </p:nvPr>
        </p:nvSpPr>
        <p:spPr>
          <a:xfrm>
            <a:off x="8927448" y="3493472"/>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40" name="Text Placeholder 7">
            <a:extLst>
              <a:ext uri="{FF2B5EF4-FFF2-40B4-BE49-F238E27FC236}">
                <a16:creationId xmlns:a16="http://schemas.microsoft.com/office/drawing/2014/main" id="{6329F46C-FBCA-DB14-7528-E9A3EE7D87AE}"/>
              </a:ext>
            </a:extLst>
          </p:cNvPr>
          <p:cNvSpPr>
            <a:spLocks noGrp="1"/>
          </p:cNvSpPr>
          <p:nvPr>
            <p:ph type="body" sz="quarter" idx="35" hasCustomPrompt="1"/>
          </p:nvPr>
        </p:nvSpPr>
        <p:spPr>
          <a:xfrm>
            <a:off x="351527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6F250587-E67E-F574-4BA4-D27945398975}"/>
              </a:ext>
            </a:extLst>
          </p:cNvPr>
          <p:cNvSpPr>
            <a:spLocks noGrp="1"/>
          </p:cNvSpPr>
          <p:nvPr>
            <p:ph type="body" sz="quarter" idx="36" hasCustomPrompt="1"/>
          </p:nvPr>
        </p:nvSpPr>
        <p:spPr>
          <a:xfrm>
            <a:off x="351527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A49D5C32-44E8-4058-2C23-78C3248828D4}"/>
              </a:ext>
            </a:extLst>
          </p:cNvPr>
          <p:cNvSpPr>
            <a:spLocks noGrp="1"/>
          </p:cNvSpPr>
          <p:nvPr>
            <p:ph type="body" sz="quarter" idx="37" hasCustomPrompt="1"/>
          </p:nvPr>
        </p:nvSpPr>
        <p:spPr>
          <a:xfrm>
            <a:off x="621551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3FDDD2D5-A5A1-2E10-5CD4-2C02087E40A6}"/>
              </a:ext>
            </a:extLst>
          </p:cNvPr>
          <p:cNvSpPr>
            <a:spLocks noGrp="1"/>
          </p:cNvSpPr>
          <p:nvPr>
            <p:ph type="body" sz="quarter" idx="38" hasCustomPrompt="1"/>
          </p:nvPr>
        </p:nvSpPr>
        <p:spPr>
          <a:xfrm>
            <a:off x="6215517" y="3184603"/>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5188FEE3-D2FB-DEE9-71F9-951C5ECD73FF}"/>
              </a:ext>
            </a:extLst>
          </p:cNvPr>
          <p:cNvSpPr>
            <a:spLocks noGrp="1"/>
          </p:cNvSpPr>
          <p:nvPr>
            <p:ph type="body" sz="quarter" idx="39" hasCustomPrompt="1"/>
          </p:nvPr>
        </p:nvSpPr>
        <p:spPr>
          <a:xfrm>
            <a:off x="891623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5" name="Text Placeholder 7">
            <a:extLst>
              <a:ext uri="{FF2B5EF4-FFF2-40B4-BE49-F238E27FC236}">
                <a16:creationId xmlns:a16="http://schemas.microsoft.com/office/drawing/2014/main" id="{13A428F6-9A06-F8F4-18B0-417F7DBFBC65}"/>
              </a:ext>
            </a:extLst>
          </p:cNvPr>
          <p:cNvSpPr>
            <a:spLocks noGrp="1"/>
          </p:cNvSpPr>
          <p:nvPr>
            <p:ph type="body" sz="quarter" idx="40" hasCustomPrompt="1"/>
          </p:nvPr>
        </p:nvSpPr>
        <p:spPr>
          <a:xfrm>
            <a:off x="8916237" y="3184603"/>
            <a:ext cx="2542241"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184598514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2_One column">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C185154-DE9E-1C49-DA46-97DA2475048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4776022" y="1880073"/>
            <a:ext cx="5578603"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7078965" y="1389034"/>
            <a:ext cx="972716" cy="770954"/>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7078965" y="4674959"/>
            <a:ext cx="972716" cy="94004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5135676" y="2274151"/>
            <a:ext cx="4859295"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5135675" y="4542534"/>
            <a:ext cx="4859296" cy="231974"/>
          </a:xfrm>
        </p:spPr>
        <p:txBody>
          <a:bodyPr anchor="b"/>
          <a:lstStyle>
            <a:lvl1pPr algn="ctr">
              <a:defRPr sz="1600" b="1">
                <a:solidFill>
                  <a:schemeClr val="bg1"/>
                </a:solidFill>
              </a:defRPr>
            </a:lvl1pPr>
          </a:lstStyle>
          <a:p>
            <a:pPr lvl="0"/>
            <a:r>
              <a:rPr lang="en-GB"/>
              <a:t>Add source here</a:t>
            </a:r>
            <a:endParaRPr lang="en-US"/>
          </a:p>
        </p:txBody>
      </p:sp>
      <p:sp>
        <p:nvSpPr>
          <p:cNvPr id="5" name="Date Placeholder 10">
            <a:extLst>
              <a:ext uri="{FF2B5EF4-FFF2-40B4-BE49-F238E27FC236}">
                <a16:creationId xmlns:a16="http://schemas.microsoft.com/office/drawing/2014/main" id="{2E326348-B88B-9499-FAAB-AB8A660338B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581476D-03B7-9346-B3B0-A8FA49040A18}" type="datetime4">
              <a:rPr lang="en-GB" smtClean="0"/>
              <a:t>17 July 2024</a:t>
            </a:fld>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0858CD73-E67D-D3DA-75ED-F3EA01BC2EDF}"/>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82507458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3_One column">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C185154-DE9E-1C49-DA46-97DA2475048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5" name="Date Placeholder 10">
            <a:extLst>
              <a:ext uri="{FF2B5EF4-FFF2-40B4-BE49-F238E27FC236}">
                <a16:creationId xmlns:a16="http://schemas.microsoft.com/office/drawing/2014/main" id="{2E326348-B88B-9499-FAAB-AB8A660338B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581476D-03B7-9346-B3B0-A8FA49040A18}" type="datetime4">
              <a:rPr lang="en-GB" smtClean="0"/>
              <a:t>17 July 2024</a:t>
            </a:fld>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0858CD73-E67D-D3DA-75ED-F3EA01BC2EDF}"/>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173801542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5_One column">
    <p:bg>
      <p:bgPr>
        <a:solidFill>
          <a:schemeClr val="accent4"/>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2A6142CF-2833-6BE3-2566-D692B3B7672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sp>
        <p:nvSpPr>
          <p:cNvPr id="5" name="Date Placeholder 10">
            <a:extLst>
              <a:ext uri="{FF2B5EF4-FFF2-40B4-BE49-F238E27FC236}">
                <a16:creationId xmlns:a16="http://schemas.microsoft.com/office/drawing/2014/main" id="{2E326348-B88B-9499-FAAB-AB8A660338B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581476D-03B7-9346-B3B0-A8FA49040A18}" type="datetime4">
              <a:rPr lang="en-GB" smtClean="0"/>
              <a:t>17 July 2024</a:t>
            </a:fld>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45F0600F-C235-742D-9881-C219F6DD452A}"/>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417211439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6_One column">
    <p:bg>
      <p:bgPr>
        <a:solidFill>
          <a:schemeClr val="tx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32209796-E1C8-1724-F948-E33F1384071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sp>
        <p:nvSpPr>
          <p:cNvPr id="5" name="Date Placeholder 10">
            <a:extLst>
              <a:ext uri="{FF2B5EF4-FFF2-40B4-BE49-F238E27FC236}">
                <a16:creationId xmlns:a16="http://schemas.microsoft.com/office/drawing/2014/main" id="{2E326348-B88B-9499-FAAB-AB8A660338B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581476D-03B7-9346-B3B0-A8FA49040A18}" type="datetime4">
              <a:rPr lang="en-GB" smtClean="0"/>
              <a:t>17 July 2024</a:t>
            </a:fld>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F2C4770E-9211-7FB3-7372-6F2B0C655AF9}"/>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50085678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7_One column">
    <p:bg>
      <p:bgPr>
        <a:solidFill>
          <a:schemeClr val="accent1"/>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7DDC04EE-054E-6A2B-86EE-53993EAD7E0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sp>
        <p:nvSpPr>
          <p:cNvPr id="5" name="Date Placeholder 10">
            <a:extLst>
              <a:ext uri="{FF2B5EF4-FFF2-40B4-BE49-F238E27FC236}">
                <a16:creationId xmlns:a16="http://schemas.microsoft.com/office/drawing/2014/main" id="{2E326348-B88B-9499-FAAB-AB8A660338B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581476D-03B7-9346-B3B0-A8FA49040A18}" type="datetime4">
              <a:rPr lang="en-GB" smtClean="0"/>
              <a:t>17 July 2024</a:t>
            </a:fld>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30636B2E-53D6-0CD2-D523-390721D4E47F}"/>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3673344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8_One column">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bg2"/>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sp>
        <p:nvSpPr>
          <p:cNvPr id="5" name="Date Placeholder 10">
            <a:extLst>
              <a:ext uri="{FF2B5EF4-FFF2-40B4-BE49-F238E27FC236}">
                <a16:creationId xmlns:a16="http://schemas.microsoft.com/office/drawing/2014/main" id="{2E326348-B88B-9499-FAAB-AB8A660338B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581476D-03B7-9346-B3B0-A8FA49040A18}" type="datetime4">
              <a:rPr lang="en-GB" smtClean="0"/>
              <a:t>17 July 2024</a:t>
            </a:fld>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E40E75CB-AD93-73C7-81AE-2E27C8C5DC31}"/>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12929922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Introduction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8D93F-7746-7B38-F6CB-3BBB191843CC}"/>
              </a:ext>
            </a:extLst>
          </p:cNvPr>
          <p:cNvSpPr>
            <a:spLocks noGrp="1"/>
          </p:cNvSpPr>
          <p:nvPr>
            <p:ph type="title"/>
          </p:nvPr>
        </p:nvSpPr>
        <p:spPr>
          <a:xfrm>
            <a:off x="4410000" y="1170000"/>
            <a:ext cx="6996113" cy="553998"/>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EC47CF2A-56C1-F154-8DD1-03D084665FE9}"/>
              </a:ext>
            </a:extLst>
          </p:cNvPr>
          <p:cNvSpPr>
            <a:spLocks noGrp="1"/>
          </p:cNvSpPr>
          <p:nvPr>
            <p:ph type="body" sz="quarter" idx="25"/>
          </p:nvPr>
        </p:nvSpPr>
        <p:spPr>
          <a:xfrm>
            <a:off x="4410075" y="1898650"/>
            <a:ext cx="6996113" cy="3421063"/>
          </a:xfrm>
        </p:spPr>
        <p:txBody>
          <a:bodyPr numCol="1"/>
          <a:lstStyle>
            <a:lvl1pPr>
              <a:defRPr sz="1600">
                <a:solidFill>
                  <a:schemeClr val="tx1"/>
                </a:solidFill>
              </a:defRPr>
            </a:lvl1pPr>
            <a:lvl2pPr>
              <a:buClr>
                <a:schemeClr val="tx1"/>
              </a:buCl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Logo">
            <a:extLst>
              <a:ext uri="{FF2B5EF4-FFF2-40B4-BE49-F238E27FC236}">
                <a16:creationId xmlns:a16="http://schemas.microsoft.com/office/drawing/2014/main" id="{A7FBDCB7-2FDD-A3CA-BD6D-50A482160603}"/>
              </a:ext>
            </a:extLst>
          </p:cNvPr>
          <p:cNvPicPr>
            <a:picLocks/>
          </p:cNvPicPr>
          <p:nvPr>
            <p:custDataLst>
              <p:tags r:id="rId1"/>
            </p:custDataLst>
          </p:nvPr>
        </p:nvPicPr>
        <p:blipFill rotWithShape="1">
          <a:blip r:embed="rId3">
            <a:extLst>
              <a:ext uri="{96DAC541-7B7A-43D3-8B79-37D633B846F1}">
                <asvg:svgBlip xmlns:asvg="http://schemas.microsoft.com/office/drawing/2016/SVG/main" r:embed="rId4"/>
              </a:ext>
            </a:extLst>
          </a:blip>
          <a:srcRect t="80" b="80"/>
          <a:stretch/>
        </p:blipFill>
        <p:spPr bwMode="black">
          <a:xfrm>
            <a:off x="10866053" y="278965"/>
            <a:ext cx="900000" cy="385227"/>
          </a:xfrm>
          <a:prstGeom prst="rect">
            <a:avLst/>
          </a:prstGeom>
        </p:spPr>
      </p:pic>
    </p:spTree>
    <p:extLst>
      <p:ext uri="{BB962C8B-B14F-4D97-AF65-F5344CB8AC3E}">
        <p14:creationId xmlns:p14="http://schemas.microsoft.com/office/powerpoint/2010/main" val="3743565157"/>
      </p:ext>
    </p:extLst>
  </p:cSld>
  <p:clrMapOvr>
    <a:overrideClrMapping bg1="dk1" tx1="lt1" bg2="dk2" tx2="lt2" accent1="accent1" accent2="accent2" accent3="accent3" accent4="accent4" accent5="accent5" accent6="accent6" hlink="hlink" folHlink="folHlink"/>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9_One column">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sp>
        <p:nvSpPr>
          <p:cNvPr id="5" name="Date Placeholder 10">
            <a:extLst>
              <a:ext uri="{FF2B5EF4-FFF2-40B4-BE49-F238E27FC236}">
                <a16:creationId xmlns:a16="http://schemas.microsoft.com/office/drawing/2014/main" id="{2E326348-B88B-9499-FAAB-AB8A660338B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581476D-03B7-9346-B3B0-A8FA49040A18}" type="datetime4">
              <a:rPr lang="en-GB" smtClean="0"/>
              <a:t>17 July 2024</a:t>
            </a:fld>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9EB1D515-98A9-9F0B-506B-5637BC14D04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5744828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0_One column">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sp>
        <p:nvSpPr>
          <p:cNvPr id="5" name="Date Placeholder 10">
            <a:extLst>
              <a:ext uri="{FF2B5EF4-FFF2-40B4-BE49-F238E27FC236}">
                <a16:creationId xmlns:a16="http://schemas.microsoft.com/office/drawing/2014/main" id="{2E326348-B88B-9499-FAAB-AB8A660338B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581476D-03B7-9346-B3B0-A8FA49040A18}" type="datetime4">
              <a:rPr lang="en-GB" smtClean="0"/>
              <a:t>17 July 2024</a:t>
            </a:fld>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A00568B7-9F79-9FD5-965D-77EC43A786F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402519159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BACK Cover_Option 03">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C1C5AD7-5B65-FE5A-4963-D0EE1135923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Text Placeholder 4"/>
          <p:cNvSpPr>
            <a:spLocks noGrp="1"/>
          </p:cNvSpPr>
          <p:nvPr>
            <p:ph type="body" sz="quarter" idx="10" hasCustomPrompt="1"/>
          </p:nvPr>
        </p:nvSpPr>
        <p:spPr>
          <a:xfrm>
            <a:off x="839025" y="2590719"/>
            <a:ext cx="10393300" cy="1015663"/>
          </a:xfrm>
          <a:prstGeom prst="rect">
            <a:avLst/>
          </a:prstGeom>
        </p:spPr>
        <p:txBody>
          <a:bodyPr wrap="square" anchor="ctr">
            <a:spAutoFit/>
          </a:bodyPr>
          <a:lstStyle>
            <a:lvl1pPr>
              <a:defRPr sz="6600" b="0" cap="none" baseline="0">
                <a:solidFill>
                  <a:schemeClr val="bg1"/>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1496255789"/>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1_BACK Cover_Option 03">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7F51E2E-9137-5AEC-F2FD-1DEB64F5FF1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Text Placeholder 4"/>
          <p:cNvSpPr>
            <a:spLocks noGrp="1"/>
          </p:cNvSpPr>
          <p:nvPr>
            <p:ph type="body" sz="quarter" idx="10" hasCustomPrompt="1"/>
          </p:nvPr>
        </p:nvSpPr>
        <p:spPr>
          <a:xfrm>
            <a:off x="839025" y="2590719"/>
            <a:ext cx="10393300" cy="1015663"/>
          </a:xfrm>
          <a:prstGeom prst="rect">
            <a:avLst/>
          </a:prstGeom>
        </p:spPr>
        <p:txBody>
          <a:bodyPr wrap="square" anchor="ctr">
            <a:spAutoFit/>
          </a:bodyPr>
          <a:lstStyle>
            <a:lvl1pPr>
              <a:defRPr sz="6600" b="0" cap="none" baseline="0">
                <a:solidFill>
                  <a:schemeClr val="bg1"/>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3576154164"/>
      </p:ext>
    </p:extLst>
  </p:cSld>
  <p:clrMapOvr>
    <a:masterClrMapping/>
  </p:clrMapOvr>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2_BACK Cover_Option 03">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C302B1C-B129-CE3A-C6D0-46294EAB62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1160463"/>
            <a:ext cx="12210044" cy="5700071"/>
          </a:xfrm>
          <a:prstGeom prst="rect">
            <a:avLst/>
          </a:prstGeom>
        </p:spPr>
      </p:pic>
      <p:sp>
        <p:nvSpPr>
          <p:cNvPr id="7" name="Text Placeholder 4"/>
          <p:cNvSpPr>
            <a:spLocks noGrp="1"/>
          </p:cNvSpPr>
          <p:nvPr>
            <p:ph type="body" sz="quarter" idx="10" hasCustomPrompt="1"/>
          </p:nvPr>
        </p:nvSpPr>
        <p:spPr>
          <a:xfrm>
            <a:off x="815975" y="792326"/>
            <a:ext cx="10393300" cy="553998"/>
          </a:xfrm>
          <a:prstGeom prst="rect">
            <a:avLst/>
          </a:prstGeom>
        </p:spPr>
        <p:txBody>
          <a:bodyPr wrap="square" anchor="ctr">
            <a:spAutoFit/>
          </a:bodyPr>
          <a:lstStyle>
            <a:lvl1pPr>
              <a:defRPr sz="3600" b="0" cap="none" baseline="0">
                <a:solidFill>
                  <a:schemeClr val="bg1"/>
                </a:solidFill>
              </a:defRPr>
            </a:lvl1pPr>
          </a:lstStyle>
          <a:p>
            <a:pPr lvl="0"/>
            <a:r>
              <a:rPr lang="en-GB"/>
              <a:t>RSM UK</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781176613"/>
      </p:ext>
    </p:extLst>
  </p:cSld>
  <p:clrMapOvr>
    <a:masterClrMapping/>
  </p:clrMapOvr>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3_BACK Cover_Option 03">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C302B1C-B129-CE3A-C6D0-46294EAB62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1160463"/>
            <a:ext cx="12210044" cy="5700071"/>
          </a:xfrm>
          <a:prstGeom prst="rect">
            <a:avLst/>
          </a:prstGeom>
        </p:spPr>
      </p:pic>
      <p:sp>
        <p:nvSpPr>
          <p:cNvPr id="7" name="Text Placeholder 4"/>
          <p:cNvSpPr>
            <a:spLocks noGrp="1"/>
          </p:cNvSpPr>
          <p:nvPr>
            <p:ph type="body" sz="quarter" idx="10" hasCustomPrompt="1"/>
          </p:nvPr>
        </p:nvSpPr>
        <p:spPr>
          <a:xfrm>
            <a:off x="815975" y="788988"/>
            <a:ext cx="10393300" cy="553998"/>
          </a:xfrm>
          <a:prstGeom prst="rect">
            <a:avLst/>
          </a:prstGeom>
        </p:spPr>
        <p:txBody>
          <a:bodyPr wrap="square" anchor="ctr">
            <a:spAutoFit/>
          </a:bodyPr>
          <a:lstStyle>
            <a:lvl1pPr>
              <a:defRPr sz="3600" b="0" cap="none" baseline="0">
                <a:solidFill>
                  <a:schemeClr val="bg1"/>
                </a:solidFill>
              </a:defRPr>
            </a:lvl1pPr>
          </a:lstStyle>
          <a:p>
            <a:pPr lvl="0"/>
            <a:r>
              <a:rPr lang="en-GB"/>
              <a:t>RSM UK</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2580400102"/>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isclaimer slide – non-marketing">
    <p:bg>
      <p:bgPr>
        <a:solidFill>
          <a:schemeClr val="tx1"/>
        </a:solidFill>
        <a:effectLst/>
      </p:bgPr>
    </p:bg>
    <p:spTree>
      <p:nvGrpSpPr>
        <p:cNvPr id="1" name=""/>
        <p:cNvGrpSpPr/>
        <p:nvPr/>
      </p:nvGrpSpPr>
      <p:grpSpPr>
        <a:xfrm>
          <a:off x="0" y="0"/>
          <a:ext cx="0" cy="0"/>
          <a:chOff x="0" y="0"/>
          <a:chExt cx="0" cy="0"/>
        </a:xfrm>
      </p:grpSpPr>
      <p:sp>
        <p:nvSpPr>
          <p:cNvPr id="2" name="DisclaimerWhite">
            <a:extLst>
              <a:ext uri="{FF2B5EF4-FFF2-40B4-BE49-F238E27FC236}">
                <a16:creationId xmlns:a16="http://schemas.microsoft.com/office/drawing/2014/main" id="{246DB496-EF31-6BCE-489B-902B0C6C802B}"/>
              </a:ext>
            </a:extLst>
          </p:cNvPr>
          <p:cNvSpPr txBox="1">
            <a:spLocks/>
          </p:cNvSpPr>
          <p:nvPr userDrawn="1">
            <p:custDataLst>
              <p:tags r:id="rId1"/>
            </p:custDataLst>
          </p:nvPr>
        </p:nvSpPr>
        <p:spPr bwMode="auto">
          <a:xfrm>
            <a:off x="815975" y="4820955"/>
            <a:ext cx="10685145" cy="1451799"/>
          </a:xfrm>
          <a:prstGeom prst="rect">
            <a:avLst/>
          </a:prstGeom>
          <a:noFill/>
          <a:ln w="9525" algn="ctr">
            <a:noFill/>
            <a:miter lim="800000"/>
            <a:headEnd/>
            <a:tailEnd/>
          </a:ln>
          <a:effectLst/>
        </p:spPr>
        <p:txBody>
          <a:bodyPr vert="horz" wrap="square" lIns="0" tIns="0" rIns="0" bIns="7200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a:spcAft>
                <a:spcPts val="600"/>
              </a:spcAft>
            </a:pPr>
            <a:r>
              <a:rPr lang="en-US" sz="800">
                <a:solidFill>
                  <a:schemeClr val="bg1"/>
                </a:solidFill>
                <a:latin typeface="Arial" panose="020B0604020202020204" pitchFamily="34" charset="0"/>
                <a:cs typeface="Arial" panose="020B0604020202020204" pitchFamily="34" charset="0"/>
              </a:rPr>
              <a:t>This document contains general information, may be based on authorities that are subject to change, and is not a substitute for professional advice or services. This document does not constitute assurance, tax, consulting, business, financial, investment, legal or other professional advice, and you should consult a qualified professional advisor before taking any action based on the information herein. RSM US LLP, its affiliates and related entities are not responsible for any loss resulting from or relating to reliance on this document by any person. Internal Revenue Service rules require us to inform you that this communication may be deemed a solicitation to provide tax services. This communication is being sent to individuals who have subscribed to receive it or who we believe would have an interest in the topics discussed.</a:t>
            </a:r>
          </a:p>
          <a:p>
            <a:pPr>
              <a:spcAft>
                <a:spcPts val="600"/>
              </a:spcAft>
            </a:pPr>
            <a:r>
              <a:rPr lang="en-US" sz="800">
                <a:solidFill>
                  <a:schemeClr val="bg1"/>
                </a:solidFill>
                <a:latin typeface="Arial" panose="020B0604020202020204" pitchFamily="34" charset="0"/>
                <a:cs typeface="Arial" panose="020B0604020202020204" pitchFamily="34" charset="0"/>
              </a:rPr>
              <a:t>RSM US LLP is a limited liability partnership and the U.S. member firm of RSM International, a global network of independent assurance, tax and consulting firms. The member firms of RSM International collaborate to provide services to global clients, but are separate and distinct legal entities that cannot obligate each other. Each member firm is responsible only for its own acts and omissions, and not those of any other party. Visit rsmus.com/</a:t>
            </a:r>
            <a:r>
              <a:rPr lang="en-US" sz="800" err="1">
                <a:solidFill>
                  <a:schemeClr val="bg1"/>
                </a:solidFill>
                <a:latin typeface="Arial" panose="020B0604020202020204" pitchFamily="34" charset="0"/>
                <a:cs typeface="Arial" panose="020B0604020202020204" pitchFamily="34" charset="0"/>
              </a:rPr>
              <a:t>aboutus</a:t>
            </a:r>
            <a:r>
              <a:rPr lang="en-US" sz="800">
                <a:solidFill>
                  <a:schemeClr val="bg1"/>
                </a:solidFill>
                <a:latin typeface="Arial" panose="020B0604020202020204" pitchFamily="34" charset="0"/>
                <a:cs typeface="Arial" panose="020B0604020202020204" pitchFamily="34" charset="0"/>
              </a:rPr>
              <a:t> for more information regarding RSM US LLP and RSM International.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800" kern="1200">
                <a:solidFill>
                  <a:schemeClr val="bg1"/>
                </a:solidFill>
                <a:effectLst/>
                <a:latin typeface="+mn-lt"/>
                <a:ea typeface="+mn-ea"/>
                <a:cs typeface="+mn-cs"/>
              </a:rPr>
              <a:t>RSM</a:t>
            </a:r>
            <a:r>
              <a:rPr lang="en-US" sz="800" kern="1200" baseline="30000">
                <a:solidFill>
                  <a:schemeClr val="bg1"/>
                </a:solidFill>
                <a:effectLst/>
                <a:latin typeface="+mn-lt"/>
                <a:ea typeface="+mn-ea"/>
                <a:cs typeface="+mn-cs"/>
              </a:rPr>
              <a:t>®</a:t>
            </a:r>
            <a:r>
              <a:rPr lang="en-US" sz="800" kern="1200">
                <a:solidFill>
                  <a:schemeClr val="bg1"/>
                </a:solidFill>
                <a:effectLst/>
                <a:latin typeface="+mn-lt"/>
                <a:ea typeface="+mn-ea"/>
                <a:cs typeface="+mn-cs"/>
              </a:rPr>
              <a:t>, the RSM logo and </a:t>
            </a:r>
            <a:r>
              <a:rPr lang="en-US" sz="800" i="1" kern="1200">
                <a:solidFill>
                  <a:schemeClr val="bg1"/>
                </a:solidFill>
                <a:effectLst/>
                <a:latin typeface="+mn-lt"/>
                <a:ea typeface="+mn-ea"/>
                <a:cs typeface="+mn-cs"/>
              </a:rPr>
              <a:t>the power of being understood </a:t>
            </a:r>
            <a:r>
              <a:rPr lang="en-US" sz="800" kern="1200">
                <a:solidFill>
                  <a:schemeClr val="bg1"/>
                </a:solidFill>
                <a:effectLst/>
                <a:latin typeface="+mn-lt"/>
                <a:ea typeface="+mn-ea"/>
                <a:cs typeface="+mn-cs"/>
              </a:rPr>
              <a:t>are registered trademarks of RSM International Association</a:t>
            </a:r>
            <a:r>
              <a:rPr lang="en-US" sz="800">
                <a:solidFill>
                  <a:schemeClr val="bg1"/>
                </a:solidFill>
                <a:latin typeface="Arial" panose="020B0604020202020204" pitchFamily="34" charset="0"/>
                <a:cs typeface="Arial" panose="020B0604020202020204" pitchFamily="34" charset="0"/>
              </a:rPr>
              <a:t>. </a:t>
            </a:r>
          </a:p>
          <a:p>
            <a:pPr>
              <a:spcAft>
                <a:spcPts val="600"/>
              </a:spcAft>
            </a:pPr>
            <a:r>
              <a:rPr lang="en-US" sz="800">
                <a:solidFill>
                  <a:schemeClr val="bg1"/>
                </a:solidFill>
                <a:latin typeface="Arial" panose="020B0604020202020204" pitchFamily="34" charset="0"/>
                <a:cs typeface="Arial" panose="020B0604020202020204" pitchFamily="34" charset="0"/>
              </a:rPr>
              <a:t>© </a:t>
            </a:r>
            <a:fld id="{AD14D0EA-4971-4294-AA6E-B450ADDDB240}" type="datetimeyyyy">
              <a:rPr lang="en-US" sz="800" smtClean="0">
                <a:solidFill>
                  <a:schemeClr val="bg1"/>
                </a:solidFill>
                <a:latin typeface="Arial" panose="020B0604020202020204" pitchFamily="34" charset="0"/>
                <a:cs typeface="Arial" panose="020B0604020202020204" pitchFamily="34" charset="0"/>
              </a:rPr>
              <a:t>2024</a:t>
            </a:fld>
            <a:r>
              <a:rPr lang="en-US" sz="800">
                <a:solidFill>
                  <a:schemeClr val="bg1"/>
                </a:solidFill>
                <a:latin typeface="Arial" panose="020B0604020202020204" pitchFamily="34" charset="0"/>
                <a:cs typeface="Arial" panose="020B0604020202020204" pitchFamily="34" charset="0"/>
              </a:rPr>
              <a:t> RSM US LLP. All Rights Reserved.</a:t>
            </a:r>
          </a:p>
        </p:txBody>
      </p:sp>
      <p:pic>
        <p:nvPicPr>
          <p:cNvPr id="3" name="Graphic 2">
            <a:extLst>
              <a:ext uri="{FF2B5EF4-FFF2-40B4-BE49-F238E27FC236}">
                <a16:creationId xmlns:a16="http://schemas.microsoft.com/office/drawing/2014/main" id="{52E601E8-B767-0AE7-3083-9C1B02C9B57B}"/>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
        <p:nvSpPr>
          <p:cNvPr id="5" name="Instructions">
            <a:extLst>
              <a:ext uri="{FF2B5EF4-FFF2-40B4-BE49-F238E27FC236}">
                <a16:creationId xmlns:a16="http://schemas.microsoft.com/office/drawing/2014/main" id="{3CFDD514-1B5A-5B15-F742-EA9D8F1A7929}"/>
              </a:ext>
            </a:extLst>
          </p:cNvPr>
          <p:cNvSpPr/>
          <p:nvPr userDrawn="1">
            <p:custDataLst>
              <p:tags r:id="rId2"/>
            </p:custDataLst>
          </p:nvPr>
        </p:nvSpPr>
        <p:spPr>
          <a:xfrm>
            <a:off x="7236114" y="-650932"/>
            <a:ext cx="4912638" cy="6509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t">
            <a:noAutofit/>
          </a:bodyPr>
          <a:lstStyle/>
          <a:p>
            <a:r>
              <a:rPr lang="en-GB" sz="1200">
                <a:solidFill>
                  <a:srgbClr val="E40046"/>
                </a:solidFill>
              </a:rPr>
              <a:t>This slide contains the disclaimer for </a:t>
            </a:r>
            <a:r>
              <a:rPr lang="en-GB" sz="1200" b="1">
                <a:solidFill>
                  <a:srgbClr val="E40046"/>
                </a:solidFill>
              </a:rPr>
              <a:t>non- Marketing</a:t>
            </a:r>
            <a:r>
              <a:rPr lang="en-GB" sz="1200">
                <a:solidFill>
                  <a:srgbClr val="E40046"/>
                </a:solidFill>
              </a:rPr>
              <a:t> presentations.</a:t>
            </a:r>
          </a:p>
          <a:p>
            <a:pPr marL="171450" indent="-171450">
              <a:buFont typeface="Arial" panose="020B0604020202020204" pitchFamily="34" charset="0"/>
              <a:buChar char="•"/>
            </a:pPr>
            <a:r>
              <a:rPr lang="en-GB" sz="1200">
                <a:solidFill>
                  <a:srgbClr val="E40046"/>
                </a:solidFill>
              </a:rPr>
              <a:t>Delete this slide if not required</a:t>
            </a:r>
          </a:p>
          <a:p>
            <a:pPr marL="171450" indent="-171450">
              <a:buFont typeface="Arial" panose="020B0604020202020204" pitchFamily="34" charset="0"/>
              <a:buChar char="•"/>
            </a:pPr>
            <a:r>
              <a:rPr lang="en-GB" sz="1200">
                <a:solidFill>
                  <a:srgbClr val="E40046"/>
                </a:solidFill>
              </a:rPr>
              <a:t>Reinsert from Layouts if necessary</a:t>
            </a:r>
          </a:p>
        </p:txBody>
      </p:sp>
    </p:spTree>
    <p:extLst>
      <p:ext uri="{BB962C8B-B14F-4D97-AF65-F5344CB8AC3E}">
        <p14:creationId xmlns:p14="http://schemas.microsoft.com/office/powerpoint/2010/main" val="1754924791"/>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sclaimer slide – marketing">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2E601E8-B767-0AE7-3083-9C1B02C9B57B}"/>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
        <p:nvSpPr>
          <p:cNvPr id="4" name="Marketing disclaimer">
            <a:extLst>
              <a:ext uri="{FF2B5EF4-FFF2-40B4-BE49-F238E27FC236}">
                <a16:creationId xmlns:a16="http://schemas.microsoft.com/office/drawing/2014/main" id="{957ECB3C-3145-704C-E170-D1825B622270}"/>
              </a:ext>
            </a:extLst>
          </p:cNvPr>
          <p:cNvSpPr txBox="1">
            <a:spLocks/>
          </p:cNvSpPr>
          <p:nvPr userDrawn="1">
            <p:custDataLst>
              <p:tags r:id="rId1"/>
            </p:custDataLst>
          </p:nvPr>
        </p:nvSpPr>
        <p:spPr bwMode="auto">
          <a:xfrm>
            <a:off x="815974" y="4995270"/>
            <a:ext cx="10620375" cy="1272903"/>
          </a:xfrm>
          <a:prstGeom prst="rect">
            <a:avLst/>
          </a:prstGeom>
          <a:noFill/>
          <a:ln w="9525" algn="ctr">
            <a:noFill/>
            <a:miter lim="800000"/>
            <a:headEnd/>
            <a:tailEnd/>
          </a:ln>
          <a:effectLst/>
        </p:spPr>
        <p:txBody>
          <a:bodyPr vert="horz" wrap="square" lIns="0" tIns="0" rIns="0" bIns="7200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rtl="0"/>
            <a:r>
              <a:rPr lang="en-GB" sz="700" b="0" i="0" u="none" strike="noStrike" kern="1200" baseline="0">
                <a:solidFill>
                  <a:schemeClr val="bg1"/>
                </a:solidFill>
                <a:latin typeface="Arial" panose="020B0604020202020204" pitchFamily="34" charset="0"/>
              </a:rPr>
              <a:t>The UK group of companies and LLPs trading as RSM is a member of the RSM network. RSM is the trading name used by the members of the RSM network. Each member of the RSM network is an independent accounting and consulting firm each of which practises in its own right. The RSM network is not itself a separate legal entity of any description in any jurisdiction. The RSM network is administered by RSM International Limited, a company registered in England and Wales (company number 4040598) whose registered office is at 50 Cannon Street, London EC4N 6JJ. The brand and trademark RSM and other intellectual property rights used by members of the network are owned by RSM International Association, an association governed by article 60 et seq of the Civil Code of Switzerland whose seat is in Zug.</a:t>
            </a:r>
          </a:p>
          <a:p>
            <a:pPr rtl="0"/>
            <a:r>
              <a:rPr lang="en-GB" sz="700" b="0" i="0" u="none" strike="noStrike" kern="1200" baseline="0">
                <a:solidFill>
                  <a:schemeClr val="bg1"/>
                </a:solidFill>
                <a:latin typeface="Arial" panose="020B0604020202020204" pitchFamily="34" charset="0"/>
              </a:rPr>
              <a:t>RSM UK Corporate Finance LLP, RSM UK Restructuring Advisory LLP, RSM UK Risk Assurance Services LLP, RSM UK Tax and Advisory Services LLP, RSM UK Audit LLP, RSM UK Consulting LLP, RSM Northern Ireland (UK) Limited and RSM UK Tax and Accounting Limited are not authorised under the Financial Services and Markets Act 2000 but we are able in certain circumstances to offer a limited range of investment services because we are licensed by the Institute of Chartered Accountants in England and Wales. We can provide these investment services if they are an incidental part of the professional services we have been engaged to provide. RSM UK Legal LLP is authorised and regulated by the Solicitors Regulation Authority, reference number 626317, to undertake reserved and non-reserved legal activities. It is not authorised under the Financial Services and Markets Act 2000 but is able in certain circumstances to offer a limited range of investment services because it is authorised and regulated by the Solicitors Regulation Authority and may provide investment services if they are an incidental part of the professional services that it has been engaged to provide. Whilst every effort has been made to ensure accuracy, information contained in this communication may not be comprehensive and recipients should not act upon it without seeking professional advice.</a:t>
            </a:r>
          </a:p>
        </p:txBody>
      </p:sp>
      <p:sp>
        <p:nvSpPr>
          <p:cNvPr id="5" name="Instructions">
            <a:extLst>
              <a:ext uri="{FF2B5EF4-FFF2-40B4-BE49-F238E27FC236}">
                <a16:creationId xmlns:a16="http://schemas.microsoft.com/office/drawing/2014/main" id="{8E1D85CF-B520-D396-03F9-B71362372C48}"/>
              </a:ext>
            </a:extLst>
          </p:cNvPr>
          <p:cNvSpPr/>
          <p:nvPr userDrawn="1">
            <p:custDataLst>
              <p:tags r:id="rId2"/>
            </p:custDataLst>
          </p:nvPr>
        </p:nvSpPr>
        <p:spPr>
          <a:xfrm>
            <a:off x="7525524" y="-650932"/>
            <a:ext cx="4666476" cy="6509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t">
            <a:noAutofit/>
          </a:bodyPr>
          <a:lstStyle/>
          <a:p>
            <a:r>
              <a:rPr lang="en-GB" sz="1200">
                <a:solidFill>
                  <a:srgbClr val="E40046"/>
                </a:solidFill>
              </a:rPr>
              <a:t>This slide contains the disclaimer for </a:t>
            </a:r>
            <a:r>
              <a:rPr lang="en-GB" sz="1200" b="1">
                <a:solidFill>
                  <a:srgbClr val="E40046"/>
                </a:solidFill>
              </a:rPr>
              <a:t>Marketing</a:t>
            </a:r>
            <a:r>
              <a:rPr lang="en-GB" sz="1200">
                <a:solidFill>
                  <a:srgbClr val="E40046"/>
                </a:solidFill>
              </a:rPr>
              <a:t> presentations.</a:t>
            </a:r>
          </a:p>
          <a:p>
            <a:pPr marL="171450" indent="-171450">
              <a:buFont typeface="Arial" panose="020B0604020202020204" pitchFamily="34" charset="0"/>
              <a:buChar char="•"/>
            </a:pPr>
            <a:r>
              <a:rPr lang="en-GB" sz="1200">
                <a:solidFill>
                  <a:srgbClr val="E40046"/>
                </a:solidFill>
              </a:rPr>
              <a:t>Delete this slide if not required</a:t>
            </a:r>
          </a:p>
          <a:p>
            <a:pPr marL="171450" indent="-171450">
              <a:buFont typeface="Arial" panose="020B0604020202020204" pitchFamily="34" charset="0"/>
              <a:buChar char="•"/>
            </a:pPr>
            <a:r>
              <a:rPr lang="en-GB" sz="1200">
                <a:solidFill>
                  <a:srgbClr val="E40046"/>
                </a:solidFill>
              </a:rPr>
              <a:t>Reinsert from Layouts if necessary</a:t>
            </a:r>
          </a:p>
        </p:txBody>
      </p:sp>
    </p:spTree>
    <p:extLst>
      <p:ext uri="{BB962C8B-B14F-4D97-AF65-F5344CB8AC3E}">
        <p14:creationId xmlns:p14="http://schemas.microsoft.com/office/powerpoint/2010/main" val="847070397"/>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53FDD9E-0240-916C-6114-F547B128D9E8}"/>
              </a:ext>
            </a:extLst>
          </p:cNvPr>
          <p:cNvGrpSpPr/>
          <p:nvPr userDrawn="1"/>
        </p:nvGrpSpPr>
        <p:grpSpPr>
          <a:xfrm>
            <a:off x="813893" y="849313"/>
            <a:ext cx="10624539" cy="5351462"/>
            <a:chOff x="813893" y="189054"/>
            <a:chExt cx="10624539" cy="6858000"/>
          </a:xfrm>
        </p:grpSpPr>
        <p:grpSp>
          <p:nvGrpSpPr>
            <p:cNvPr id="5" name="Group 4">
              <a:extLst>
                <a:ext uri="{FF2B5EF4-FFF2-40B4-BE49-F238E27FC236}">
                  <a16:creationId xmlns:a16="http://schemas.microsoft.com/office/drawing/2014/main" id="{2679E0AA-C61C-73E5-E135-7AF6AE5F1CAC}"/>
                </a:ext>
              </a:extLst>
            </p:cNvPr>
            <p:cNvGrpSpPr/>
            <p:nvPr userDrawn="1"/>
          </p:nvGrpSpPr>
          <p:grpSpPr>
            <a:xfrm>
              <a:off x="813893" y="189054"/>
              <a:ext cx="5221782" cy="6858000"/>
              <a:chOff x="813893" y="189054"/>
              <a:chExt cx="5221782" cy="6858000"/>
            </a:xfrm>
          </p:grpSpPr>
          <p:sp>
            <p:nvSpPr>
              <p:cNvPr id="13" name="Rectangle 12">
                <a:extLst>
                  <a:ext uri="{FF2B5EF4-FFF2-40B4-BE49-F238E27FC236}">
                    <a16:creationId xmlns:a16="http://schemas.microsoft.com/office/drawing/2014/main" id="{F6942CDA-8C59-3EBC-D222-432850BFCE31}"/>
                  </a:ext>
                </a:extLst>
              </p:cNvPr>
              <p:cNvSpPr/>
              <p:nvPr userDrawn="1"/>
            </p:nvSpPr>
            <p:spPr>
              <a:xfrm>
                <a:off x="5316537"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14" name="Rectangle 13">
                <a:extLst>
                  <a:ext uri="{FF2B5EF4-FFF2-40B4-BE49-F238E27FC236}">
                    <a16:creationId xmlns:a16="http://schemas.microsoft.com/office/drawing/2014/main" id="{81E0493B-4EC7-E2F2-F36B-BCA24F391094}"/>
                  </a:ext>
                </a:extLst>
              </p:cNvPr>
              <p:cNvSpPr/>
              <p:nvPr userDrawn="1"/>
            </p:nvSpPr>
            <p:spPr>
              <a:xfrm>
                <a:off x="4416425"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15" name="Rectangle 14">
                <a:extLst>
                  <a:ext uri="{FF2B5EF4-FFF2-40B4-BE49-F238E27FC236}">
                    <a16:creationId xmlns:a16="http://schemas.microsoft.com/office/drawing/2014/main" id="{961E4B17-825C-B88C-0434-97BB35AC1BD7}"/>
                  </a:ext>
                </a:extLst>
              </p:cNvPr>
              <p:cNvSpPr/>
              <p:nvPr userDrawn="1"/>
            </p:nvSpPr>
            <p:spPr>
              <a:xfrm>
                <a:off x="3516312"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16" name="Rectangle 15">
                <a:extLst>
                  <a:ext uri="{FF2B5EF4-FFF2-40B4-BE49-F238E27FC236}">
                    <a16:creationId xmlns:a16="http://schemas.microsoft.com/office/drawing/2014/main" id="{35A246AB-34B3-B892-52FF-952A25F4134D}"/>
                  </a:ext>
                </a:extLst>
              </p:cNvPr>
              <p:cNvSpPr/>
              <p:nvPr userDrawn="1"/>
            </p:nvSpPr>
            <p:spPr>
              <a:xfrm>
                <a:off x="2615506"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28" name="Rectangle 27">
                <a:extLst>
                  <a:ext uri="{FF2B5EF4-FFF2-40B4-BE49-F238E27FC236}">
                    <a16:creationId xmlns:a16="http://schemas.microsoft.com/office/drawing/2014/main" id="{A41085A2-A947-799E-0627-627E8CF34F51}"/>
                  </a:ext>
                </a:extLst>
              </p:cNvPr>
              <p:cNvSpPr/>
              <p:nvPr userDrawn="1"/>
            </p:nvSpPr>
            <p:spPr>
              <a:xfrm>
                <a:off x="1714700"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29" name="Rectangle 28">
                <a:extLst>
                  <a:ext uri="{FF2B5EF4-FFF2-40B4-BE49-F238E27FC236}">
                    <a16:creationId xmlns:a16="http://schemas.microsoft.com/office/drawing/2014/main" id="{E354E8EC-3D86-198D-24DD-632BF6B4DBBE}"/>
                  </a:ext>
                </a:extLst>
              </p:cNvPr>
              <p:cNvSpPr/>
              <p:nvPr userDrawn="1"/>
            </p:nvSpPr>
            <p:spPr>
              <a:xfrm>
                <a:off x="813893" y="189054"/>
                <a:ext cx="719139"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grpSp>
        <p:grpSp>
          <p:nvGrpSpPr>
            <p:cNvPr id="6" name="Group 5">
              <a:extLst>
                <a:ext uri="{FF2B5EF4-FFF2-40B4-BE49-F238E27FC236}">
                  <a16:creationId xmlns:a16="http://schemas.microsoft.com/office/drawing/2014/main" id="{605CC708-B0BB-BB81-B605-0E322CDA575E}"/>
                </a:ext>
              </a:extLst>
            </p:cNvPr>
            <p:cNvGrpSpPr/>
            <p:nvPr userDrawn="1"/>
          </p:nvGrpSpPr>
          <p:grpSpPr>
            <a:xfrm>
              <a:off x="6216650" y="189054"/>
              <a:ext cx="5221782" cy="6858000"/>
              <a:chOff x="813893" y="189054"/>
              <a:chExt cx="5221782" cy="6858000"/>
            </a:xfrm>
          </p:grpSpPr>
          <p:sp>
            <p:nvSpPr>
              <p:cNvPr id="7" name="Rectangle 6">
                <a:extLst>
                  <a:ext uri="{FF2B5EF4-FFF2-40B4-BE49-F238E27FC236}">
                    <a16:creationId xmlns:a16="http://schemas.microsoft.com/office/drawing/2014/main" id="{33F2C2DF-561D-008F-22A5-FAF0554D4EF0}"/>
                  </a:ext>
                </a:extLst>
              </p:cNvPr>
              <p:cNvSpPr/>
              <p:nvPr userDrawn="1"/>
            </p:nvSpPr>
            <p:spPr>
              <a:xfrm>
                <a:off x="5316537"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8" name="Rectangle 7">
                <a:extLst>
                  <a:ext uri="{FF2B5EF4-FFF2-40B4-BE49-F238E27FC236}">
                    <a16:creationId xmlns:a16="http://schemas.microsoft.com/office/drawing/2014/main" id="{60B80983-E9C0-F395-C686-DDF15F3ED445}"/>
                  </a:ext>
                </a:extLst>
              </p:cNvPr>
              <p:cNvSpPr/>
              <p:nvPr userDrawn="1"/>
            </p:nvSpPr>
            <p:spPr>
              <a:xfrm>
                <a:off x="4416425"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9" name="Rectangle 8">
                <a:extLst>
                  <a:ext uri="{FF2B5EF4-FFF2-40B4-BE49-F238E27FC236}">
                    <a16:creationId xmlns:a16="http://schemas.microsoft.com/office/drawing/2014/main" id="{2E22F8A7-F333-655F-575F-F13ECA824547}"/>
                  </a:ext>
                </a:extLst>
              </p:cNvPr>
              <p:cNvSpPr/>
              <p:nvPr userDrawn="1"/>
            </p:nvSpPr>
            <p:spPr>
              <a:xfrm>
                <a:off x="3516312"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10" name="Rectangle 9">
                <a:extLst>
                  <a:ext uri="{FF2B5EF4-FFF2-40B4-BE49-F238E27FC236}">
                    <a16:creationId xmlns:a16="http://schemas.microsoft.com/office/drawing/2014/main" id="{9C074924-1882-5ED3-FAB1-76F3D06BF523}"/>
                  </a:ext>
                </a:extLst>
              </p:cNvPr>
              <p:cNvSpPr/>
              <p:nvPr userDrawn="1"/>
            </p:nvSpPr>
            <p:spPr>
              <a:xfrm>
                <a:off x="2615506"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11" name="Rectangle 10">
                <a:extLst>
                  <a:ext uri="{FF2B5EF4-FFF2-40B4-BE49-F238E27FC236}">
                    <a16:creationId xmlns:a16="http://schemas.microsoft.com/office/drawing/2014/main" id="{254F941B-5952-699E-B2DF-0ECE9DB7E938}"/>
                  </a:ext>
                </a:extLst>
              </p:cNvPr>
              <p:cNvSpPr/>
              <p:nvPr userDrawn="1"/>
            </p:nvSpPr>
            <p:spPr>
              <a:xfrm>
                <a:off x="1714700"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12" name="Rectangle 11">
                <a:extLst>
                  <a:ext uri="{FF2B5EF4-FFF2-40B4-BE49-F238E27FC236}">
                    <a16:creationId xmlns:a16="http://schemas.microsoft.com/office/drawing/2014/main" id="{8217DE00-7A6F-1FE6-8D2E-9A1182D2954D}"/>
                  </a:ext>
                </a:extLst>
              </p:cNvPr>
              <p:cNvSpPr/>
              <p:nvPr userDrawn="1"/>
            </p:nvSpPr>
            <p:spPr>
              <a:xfrm>
                <a:off x="813893" y="189054"/>
                <a:ext cx="719139"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grpSp>
      </p:grpSp>
    </p:spTree>
    <p:extLst>
      <p:ext uri="{BB962C8B-B14F-4D97-AF65-F5344CB8AC3E}">
        <p14:creationId xmlns:p14="http://schemas.microsoft.com/office/powerpoint/2010/main" val="182015333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CD255-47AD-A97B-FF10-426E8AFFA04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24458B-09E6-81BD-AD46-0622B71AC61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909BBE6E-0EDA-F203-8408-35D4FAB8A8C8}"/>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5" name="Date Placeholder 4">
            <a:extLst>
              <a:ext uri="{FF2B5EF4-FFF2-40B4-BE49-F238E27FC236}">
                <a16:creationId xmlns:a16="http://schemas.microsoft.com/office/drawing/2014/main" id="{DBF95649-4881-31CB-B6F7-1BD4882F93DD}"/>
              </a:ext>
            </a:extLst>
          </p:cNvPr>
          <p:cNvSpPr>
            <a:spLocks noGrp="1"/>
          </p:cNvSpPr>
          <p:nvPr>
            <p:ph type="dt" sz="half" idx="11"/>
          </p:nvPr>
        </p:nvSpPr>
        <p:spPr/>
        <p:txBody>
          <a:bodyPr/>
          <a:lstStyle/>
          <a:p>
            <a:fld id="{1A37F609-4045-8142-AC92-C9E54E64945B}" type="datetime4">
              <a:rPr lang="en-GB" smtClean="0"/>
              <a:t>17 July 2024</a:t>
            </a:fld>
            <a:endParaRPr lang="en-US"/>
          </a:p>
        </p:txBody>
      </p:sp>
    </p:spTree>
    <p:extLst>
      <p:ext uri="{BB962C8B-B14F-4D97-AF65-F5344CB8AC3E}">
        <p14:creationId xmlns:p14="http://schemas.microsoft.com/office/powerpoint/2010/main" val="18255084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with PoBU">
    <p:bg>
      <p:bgPr>
        <a:solidFill>
          <a:schemeClr val="bg2"/>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73D5DB45-4269-99F7-3A66-E68CAE1CA056}"/>
              </a:ext>
            </a:extLst>
          </p:cNvPr>
          <p:cNvSpPr>
            <a:spLocks noGrp="1"/>
          </p:cNvSpPr>
          <p:nvPr>
            <p:ph type="title"/>
          </p:nvPr>
        </p:nvSpPr>
        <p:spPr>
          <a:xfrm>
            <a:off x="6210000" y="4770000"/>
            <a:ext cx="4500050" cy="1225290"/>
          </a:xfrm>
          <a:solidFill>
            <a:schemeClr val="accent1"/>
          </a:solidFill>
        </p:spPr>
        <p:txBody>
          <a:bodyPr lIns="180000" tIns="180000" rIns="180000" bIns="180000" anchor="ctr" anchorCtr="0"/>
          <a:lstStyle>
            <a:lvl1pPr>
              <a:defRPr sz="2800">
                <a:solidFill>
                  <a:schemeClr val="tx1"/>
                </a:solidFill>
              </a:defRPr>
            </a:lvl1pPr>
          </a:lstStyle>
          <a:p>
            <a:r>
              <a:rPr lang="en-US"/>
              <a:t>Click to edit Master title style</a:t>
            </a:r>
            <a:endParaRPr lang="en-GB" dirty="0"/>
          </a:p>
        </p:txBody>
      </p:sp>
      <p:sp>
        <p:nvSpPr>
          <p:cNvPr id="2" name="Subtitle 15">
            <a:extLst>
              <a:ext uri="{FF2B5EF4-FFF2-40B4-BE49-F238E27FC236}">
                <a16:creationId xmlns:a16="http://schemas.microsoft.com/office/drawing/2014/main" id="{1BE0BC5E-629C-8EFA-DDCB-C8DB8CD1ACF9}"/>
              </a:ext>
            </a:extLst>
          </p:cNvPr>
          <p:cNvSpPr>
            <a:spLocks noGrp="1"/>
          </p:cNvSpPr>
          <p:nvPr>
            <p:ph type="body" sz="quarter" idx="15"/>
          </p:nvPr>
        </p:nvSpPr>
        <p:spPr>
          <a:xfrm>
            <a:off x="1145945" y="7373083"/>
            <a:ext cx="1440016" cy="285964"/>
          </a:xfrm>
        </p:spPr>
        <p:txBody>
          <a:bodyPr/>
          <a:lstStyle>
            <a:lvl1pPr>
              <a:defRPr sz="800"/>
            </a:lvl1pPr>
          </a:lstStyle>
          <a:p>
            <a:pPr lvl="0"/>
            <a:r>
              <a:rPr lang="en-US"/>
              <a:t>Click to edit Master text styles</a:t>
            </a:r>
          </a:p>
        </p:txBody>
      </p:sp>
    </p:spTree>
    <p:extLst>
      <p:ext uri="{BB962C8B-B14F-4D97-AF65-F5344CB8AC3E}">
        <p14:creationId xmlns:p14="http://schemas.microsoft.com/office/powerpoint/2010/main" val="27145563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 Introduction slide 2">
    <p:bg>
      <p:bgRef idx="1001">
        <a:schemeClr val="bg2"/>
      </p:bgRef>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C47CF2A-56C1-F154-8DD1-03D084665FE9}"/>
              </a:ext>
            </a:extLst>
          </p:cNvPr>
          <p:cNvSpPr>
            <a:spLocks noGrp="1"/>
          </p:cNvSpPr>
          <p:nvPr>
            <p:ph type="body" sz="quarter" idx="25"/>
          </p:nvPr>
        </p:nvSpPr>
        <p:spPr>
          <a:xfrm>
            <a:off x="5286375" y="2592000"/>
            <a:ext cx="6119813" cy="1015200"/>
          </a:xfrm>
        </p:spPr>
        <p:txBody>
          <a:bodyPr numCol="1" anchor="ctr" anchorCtr="0">
            <a:noAutofit/>
          </a:bodyPr>
          <a:lstStyle>
            <a:lvl1pPr>
              <a:defRPr sz="6000">
                <a:solidFill>
                  <a:schemeClr val="tx1"/>
                </a:solidFill>
              </a:defRPr>
            </a:lvl1pPr>
            <a:lvl2pPr>
              <a:buClr>
                <a:schemeClr val="tx1"/>
              </a:buClr>
              <a:defRPr sz="6000">
                <a:solidFill>
                  <a:schemeClr val="tx1"/>
                </a:solidFill>
              </a:defRPr>
            </a:lvl2pPr>
            <a:lvl3pPr>
              <a:defRPr sz="6000">
                <a:solidFill>
                  <a:schemeClr val="tx1"/>
                </a:solidFill>
              </a:defRPr>
            </a:lvl3pPr>
            <a:lvl4pPr>
              <a:defRPr sz="6000">
                <a:solidFill>
                  <a:schemeClr val="tx1"/>
                </a:solidFill>
              </a:defRPr>
            </a:lvl4pPr>
            <a:lvl5pPr>
              <a:defRPr sz="6000">
                <a:solidFill>
                  <a:schemeClr val="tx1"/>
                </a:solidFill>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Logo">
            <a:extLst>
              <a:ext uri="{FF2B5EF4-FFF2-40B4-BE49-F238E27FC236}">
                <a16:creationId xmlns:a16="http://schemas.microsoft.com/office/drawing/2014/main" id="{A7FBDCB7-2FDD-A3CA-BD6D-50A482160603}"/>
              </a:ext>
            </a:extLst>
          </p:cNvPr>
          <p:cNvPicPr>
            <a:picLocks/>
          </p:cNvPicPr>
          <p:nvPr>
            <p:custDataLst>
              <p:tags r:id="rId1"/>
            </p:custDataLst>
          </p:nvPr>
        </p:nvPicPr>
        <p:blipFill rotWithShape="1">
          <a:blip r:embed="rId3">
            <a:extLst>
              <a:ext uri="{96DAC541-7B7A-43D3-8B79-37D633B846F1}">
                <asvg:svgBlip xmlns:asvg="http://schemas.microsoft.com/office/drawing/2016/SVG/main" r:embed="rId4"/>
              </a:ext>
            </a:extLst>
          </a:blip>
          <a:srcRect t="80" b="80"/>
          <a:stretch/>
        </p:blipFill>
        <p:spPr bwMode="black">
          <a:xfrm>
            <a:off x="10866053" y="278965"/>
            <a:ext cx="900000" cy="385227"/>
          </a:xfrm>
          <a:prstGeom prst="rect">
            <a:avLst/>
          </a:prstGeom>
        </p:spPr>
      </p:pic>
    </p:spTree>
    <p:extLst>
      <p:ext uri="{BB962C8B-B14F-4D97-AF65-F5344CB8AC3E}">
        <p14:creationId xmlns:p14="http://schemas.microsoft.com/office/powerpoint/2010/main" val="1985039126"/>
      </p:ext>
    </p:extLst>
  </p:cSld>
  <p:clrMapOvr>
    <a:overrideClrMapping bg1="dk1" tx1="lt1" bg2="dk2" tx2="lt2" accent1="accent1" accent2="accent2" accent3="accent3" accent4="accent4" accent5="accent5" accent6="accent6" hlink="hlink" folHlink="folHlink"/>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B8136-4330-4480-80D9-0F6FD970617C}"/>
              </a:ext>
            </a:extLst>
          </p:cNvPr>
          <p:cNvSpPr>
            <a:spLocks noGrp="1"/>
          </p:cNvSpPr>
          <p:nvPr>
            <p:ph type="ctrTitle"/>
          </p:nvPr>
        </p:nvSpPr>
        <p:spPr>
          <a:xfrm>
            <a:off x="576072" y="1124712"/>
            <a:ext cx="11036808" cy="3172968"/>
          </a:xfrm>
        </p:spPr>
        <p:txBody>
          <a:bodyPr anchor="b">
            <a:normAutofit/>
          </a:bodyPr>
          <a:lstStyle>
            <a:lvl1pPr algn="l">
              <a:defRPr sz="8000"/>
            </a:lvl1pPr>
          </a:lstStyle>
          <a:p>
            <a:r>
              <a:rPr lang="en-US"/>
              <a:t>Click to edit Master title style</a:t>
            </a:r>
          </a:p>
        </p:txBody>
      </p:sp>
      <p:sp>
        <p:nvSpPr>
          <p:cNvPr id="3" name="Subtitle 2">
            <a:extLst>
              <a:ext uri="{FF2B5EF4-FFF2-40B4-BE49-F238E27FC236}">
                <a16:creationId xmlns:a16="http://schemas.microsoft.com/office/drawing/2014/main" id="{566E5739-DD96-45FB-B609-3E3447A52FED}"/>
              </a:ext>
            </a:extLst>
          </p:cNvPr>
          <p:cNvSpPr>
            <a:spLocks noGrp="1"/>
          </p:cNvSpPr>
          <p:nvPr>
            <p:ph type="subTitle" idx="1"/>
          </p:nvPr>
        </p:nvSpPr>
        <p:spPr>
          <a:xfrm>
            <a:off x="576072" y="4727448"/>
            <a:ext cx="11036808" cy="1481328"/>
          </a:xfrm>
        </p:spPr>
        <p:txBody>
          <a:bodyPr>
            <a:normAutofit/>
          </a:bodyPr>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B9FF558-51F9-42A2-9944-DBE23DA8B224}"/>
              </a:ext>
            </a:extLst>
          </p:cNvPr>
          <p:cNvSpPr>
            <a:spLocks noGrp="1"/>
          </p:cNvSpPr>
          <p:nvPr>
            <p:ph type="dt" sz="half" idx="10"/>
          </p:nvPr>
        </p:nvSpPr>
        <p:spPr>
          <a:xfrm>
            <a:off x="576072" y="6356350"/>
            <a:ext cx="2743200" cy="365125"/>
          </a:xfrm>
        </p:spPr>
        <p:txBody>
          <a:bodyPr/>
          <a:lstStyle/>
          <a:p>
            <a:fld id="{02AC24A9-CCB6-4F8D-B8DB-C2F3692CFA5A}" type="datetimeFigureOut">
              <a:rPr lang="en-US" smtClean="0"/>
              <a:t>7/17/2024</a:t>
            </a:fld>
            <a:endParaRPr lang="en-US"/>
          </a:p>
        </p:txBody>
      </p:sp>
      <p:sp>
        <p:nvSpPr>
          <p:cNvPr id="5" name="Footer Placeholder 4">
            <a:extLst>
              <a:ext uri="{FF2B5EF4-FFF2-40B4-BE49-F238E27FC236}">
                <a16:creationId xmlns:a16="http://schemas.microsoft.com/office/drawing/2014/main" id="{8B8C0E86-A7F7-4BDC-A637-254E5252DE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D10ADE-E9DA-4E57-BF57-1CCB65219839}"/>
              </a:ext>
            </a:extLst>
          </p:cNvPr>
          <p:cNvSpPr>
            <a:spLocks noGrp="1"/>
          </p:cNvSpPr>
          <p:nvPr>
            <p:ph type="sldNum" sz="quarter" idx="12"/>
          </p:nvPr>
        </p:nvSpPr>
        <p:spPr>
          <a:xfrm>
            <a:off x="8869680" y="6356350"/>
            <a:ext cx="2743200" cy="365125"/>
          </a:xfrm>
        </p:spPr>
        <p:txBody>
          <a:bodyPr/>
          <a:lstStyle/>
          <a:p>
            <a:fld id="{B2DC25EE-239B-4C5F-AAD1-255A7D5F1EE2}" type="slidenum">
              <a:rPr lang="en-US" smtClean="0"/>
              <a:t>‹#›</a:t>
            </a:fld>
            <a:endParaRPr lang="en-US"/>
          </a:p>
        </p:txBody>
      </p:sp>
      <p:sp>
        <p:nvSpPr>
          <p:cNvPr id="8" name="Rectangle 7">
            <a:extLst>
              <a:ext uri="{FF2B5EF4-FFF2-40B4-BE49-F238E27FC236}">
                <a16:creationId xmlns:a16="http://schemas.microsoft.com/office/drawing/2014/main" id="{8D06CE56-3881-4ADA-8CEF-D18B02C242A3}"/>
              </a:ext>
            </a:extLst>
          </p:cNvPr>
          <p:cNvSpPr/>
          <p:nvPr/>
        </p:nvSpPr>
        <p:spPr>
          <a:xfrm rot="5400000">
            <a:off x="857544" y="346791"/>
            <a:ext cx="146304" cy="704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9F3C543-62EC-4433-9C93-A2CD8764E9B4}"/>
              </a:ext>
            </a:extLst>
          </p:cNvPr>
          <p:cNvSpPr/>
          <p:nvPr/>
        </p:nvSpPr>
        <p:spPr>
          <a:xfrm flipV="1">
            <a:off x="578652" y="4501201"/>
            <a:ext cx="11034696" cy="18288"/>
          </a:xfrm>
          <a:prstGeom prst="rect">
            <a:avLst/>
          </a:prstGeom>
          <a:solidFill>
            <a:schemeClr val="tx2">
              <a:lumMod val="25000"/>
              <a:lumOff val="7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108814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076262E-36A0-40C6-ADE6-90CD9FB9B9EA}"/>
              </a:ext>
            </a:extLst>
          </p:cNvPr>
          <p:cNvSpPr/>
          <p:nvPr/>
        </p:nvSpPr>
        <p:spPr>
          <a:xfrm>
            <a:off x="558209" y="0"/>
            <a:ext cx="11167447" cy="2018806"/>
          </a:xfrm>
          <a:prstGeom prst="rect">
            <a:avLst/>
          </a:prstGeom>
          <a:ln w="9525">
            <a:solidFill>
              <a:schemeClr val="tx2">
                <a:lumMod val="10000"/>
                <a:lumOff val="90000"/>
              </a:schemeClr>
            </a:solidFill>
          </a:ln>
          <a:effectLst>
            <a:outerShdw blurRad="50800" dist="38100" dir="2700000" algn="t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1" name="Rectangle 10">
            <a:extLst>
              <a:ext uri="{FF2B5EF4-FFF2-40B4-BE49-F238E27FC236}">
                <a16:creationId xmlns:a16="http://schemas.microsoft.com/office/drawing/2014/main" id="{42677A9B-4D1D-4D80-912C-24570140A650}"/>
              </a:ext>
            </a:extLst>
          </p:cNvPr>
          <p:cNvSpPr/>
          <p:nvPr/>
        </p:nvSpPr>
        <p:spPr>
          <a:xfrm>
            <a:off x="566928" y="0"/>
            <a:ext cx="11155680" cy="201168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03DC8C98-510F-48C9-82B2-9E4F760A68DF}"/>
              </a:ext>
            </a:extLst>
          </p:cNvPr>
          <p:cNvSpPr/>
          <p:nvPr/>
        </p:nvSpPr>
        <p:spPr>
          <a:xfrm>
            <a:off x="498834" y="787352"/>
            <a:ext cx="128016" cy="704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078AE-0BC3-48F9-87EC-2DB0CCE7E2AE}"/>
              </a:ext>
            </a:extLst>
          </p:cNvPr>
          <p:cNvSpPr>
            <a:spLocks noGrp="1"/>
          </p:cNvSpPr>
          <p:nvPr>
            <p:ph type="title"/>
          </p:nvPr>
        </p:nvSpPr>
        <p:spPr>
          <a:xfrm>
            <a:off x="1115568" y="548640"/>
            <a:ext cx="10168128" cy="1179576"/>
          </a:xfrm>
        </p:spPr>
        <p:txBody>
          <a:bodyPr>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292A20DF-0829-4336-B59F-FF9D7AA9D8B6}"/>
              </a:ext>
            </a:extLst>
          </p:cNvPr>
          <p:cNvSpPr>
            <a:spLocks noGrp="1"/>
          </p:cNvSpPr>
          <p:nvPr>
            <p:ph sz="half" idx="1"/>
          </p:nvPr>
        </p:nvSpPr>
        <p:spPr>
          <a:xfrm>
            <a:off x="1115568" y="2478024"/>
            <a:ext cx="4937760" cy="3694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935D01C-CF67-4DF6-B96C-FFC9D5BF847B}"/>
              </a:ext>
            </a:extLst>
          </p:cNvPr>
          <p:cNvSpPr>
            <a:spLocks noGrp="1"/>
          </p:cNvSpPr>
          <p:nvPr>
            <p:ph sz="half" idx="2"/>
          </p:nvPr>
        </p:nvSpPr>
        <p:spPr>
          <a:xfrm>
            <a:off x="6345936" y="2478024"/>
            <a:ext cx="4937760" cy="3694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9BBD797-6031-4F82-8726-EAB757027FF5}"/>
              </a:ext>
            </a:extLst>
          </p:cNvPr>
          <p:cNvSpPr>
            <a:spLocks noGrp="1"/>
          </p:cNvSpPr>
          <p:nvPr>
            <p:ph type="dt" sz="half" idx="10"/>
          </p:nvPr>
        </p:nvSpPr>
        <p:spPr>
          <a:xfrm>
            <a:off x="1115568" y="6356350"/>
            <a:ext cx="2743200" cy="365125"/>
          </a:xfrm>
        </p:spPr>
        <p:txBody>
          <a:bodyPr/>
          <a:lstStyle/>
          <a:p>
            <a:fld id="{02AC24A9-CCB6-4F8D-B8DB-C2F3692CFA5A}" type="datetimeFigureOut">
              <a:rPr lang="en-US" smtClean="0"/>
              <a:t>7/17/2024</a:t>
            </a:fld>
            <a:endParaRPr lang="en-US"/>
          </a:p>
        </p:txBody>
      </p:sp>
      <p:sp>
        <p:nvSpPr>
          <p:cNvPr id="6" name="Footer Placeholder 5">
            <a:extLst>
              <a:ext uri="{FF2B5EF4-FFF2-40B4-BE49-F238E27FC236}">
                <a16:creationId xmlns:a16="http://schemas.microsoft.com/office/drawing/2014/main" id="{76B3F71C-B897-4909-A75E-8716AD49C1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78BC14-5BB1-405F-A6F3-C07230F085C8}"/>
              </a:ext>
            </a:extLst>
          </p:cNvPr>
          <p:cNvSpPr>
            <a:spLocks noGrp="1"/>
          </p:cNvSpPr>
          <p:nvPr>
            <p:ph type="sldNum" sz="quarter" idx="12"/>
          </p:nvPr>
        </p:nvSpPr>
        <p:spPr>
          <a:xfrm>
            <a:off x="8540496" y="6356350"/>
            <a:ext cx="2743200" cy="365125"/>
          </a:xfrm>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260755994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Chart Layout_N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936A99BC-3C9D-4DF8-8B8C-E1FD2BDF0AD4}" type="slidenum">
              <a:rPr lang="en-US" smtClean="0"/>
              <a:pPr/>
              <a:t>‹#›</a:t>
            </a:fld>
            <a:endParaRPr lang="en-US"/>
          </a:p>
        </p:txBody>
      </p:sp>
      <p:sp>
        <p:nvSpPr>
          <p:cNvPr id="4" name="bg object 20">
            <a:extLst>
              <a:ext uri="{FF2B5EF4-FFF2-40B4-BE49-F238E27FC236}">
                <a16:creationId xmlns:a16="http://schemas.microsoft.com/office/drawing/2014/main" id="{3A2059B7-B4A6-E886-E419-401C20065CF9}"/>
              </a:ext>
            </a:extLst>
          </p:cNvPr>
          <p:cNvSpPr/>
          <p:nvPr userDrawn="1"/>
        </p:nvSpPr>
        <p:spPr>
          <a:xfrm>
            <a:off x="11199875" y="309372"/>
            <a:ext cx="574675" cy="96520"/>
          </a:xfrm>
          <a:custGeom>
            <a:avLst/>
            <a:gdLst/>
            <a:ahLst/>
            <a:cxnLst/>
            <a:rect l="l" t="t" r="r" b="b"/>
            <a:pathLst>
              <a:path w="574675" h="96520">
                <a:moveTo>
                  <a:pt x="574548" y="0"/>
                </a:moveTo>
                <a:lnTo>
                  <a:pt x="0" y="0"/>
                </a:lnTo>
                <a:lnTo>
                  <a:pt x="0" y="96012"/>
                </a:lnTo>
                <a:lnTo>
                  <a:pt x="574548" y="96012"/>
                </a:lnTo>
                <a:lnTo>
                  <a:pt x="574548" y="0"/>
                </a:lnTo>
                <a:close/>
              </a:path>
            </a:pathLst>
          </a:custGeom>
          <a:solidFill>
            <a:srgbClr val="009CDE"/>
          </a:solidFill>
        </p:spPr>
        <p:txBody>
          <a:bodyPr wrap="square" lIns="0" tIns="0" rIns="0" bIns="0" rtlCol="0"/>
          <a:lstStyle/>
          <a:p>
            <a:endParaRPr/>
          </a:p>
        </p:txBody>
      </p:sp>
      <p:sp>
        <p:nvSpPr>
          <p:cNvPr id="5" name="bg object 21">
            <a:extLst>
              <a:ext uri="{FF2B5EF4-FFF2-40B4-BE49-F238E27FC236}">
                <a16:creationId xmlns:a16="http://schemas.microsoft.com/office/drawing/2014/main" id="{FEFA45F9-97E4-0F9C-D34D-0925014A8FCE}"/>
              </a:ext>
            </a:extLst>
          </p:cNvPr>
          <p:cNvSpPr/>
          <p:nvPr userDrawn="1"/>
        </p:nvSpPr>
        <p:spPr>
          <a:xfrm>
            <a:off x="10863071" y="309372"/>
            <a:ext cx="73660" cy="96520"/>
          </a:xfrm>
          <a:custGeom>
            <a:avLst/>
            <a:gdLst/>
            <a:ahLst/>
            <a:cxnLst/>
            <a:rect l="l" t="t" r="r" b="b"/>
            <a:pathLst>
              <a:path w="73659" h="96520">
                <a:moveTo>
                  <a:pt x="73151" y="0"/>
                </a:moveTo>
                <a:lnTo>
                  <a:pt x="0" y="0"/>
                </a:lnTo>
                <a:lnTo>
                  <a:pt x="0" y="96012"/>
                </a:lnTo>
                <a:lnTo>
                  <a:pt x="73151" y="96012"/>
                </a:lnTo>
                <a:lnTo>
                  <a:pt x="73151" y="0"/>
                </a:lnTo>
                <a:close/>
              </a:path>
            </a:pathLst>
          </a:custGeom>
          <a:solidFill>
            <a:srgbClr val="878A8D"/>
          </a:solidFill>
        </p:spPr>
        <p:txBody>
          <a:bodyPr wrap="square" lIns="0" tIns="0" rIns="0" bIns="0" rtlCol="0"/>
          <a:lstStyle/>
          <a:p>
            <a:endParaRPr/>
          </a:p>
        </p:txBody>
      </p:sp>
      <p:sp>
        <p:nvSpPr>
          <p:cNvPr id="6" name="bg object 22">
            <a:extLst>
              <a:ext uri="{FF2B5EF4-FFF2-40B4-BE49-F238E27FC236}">
                <a16:creationId xmlns:a16="http://schemas.microsoft.com/office/drawing/2014/main" id="{9C706A16-2E7C-5F91-E076-483E1E7978AD}"/>
              </a:ext>
            </a:extLst>
          </p:cNvPr>
          <p:cNvSpPr/>
          <p:nvPr userDrawn="1"/>
        </p:nvSpPr>
        <p:spPr>
          <a:xfrm>
            <a:off x="10977371" y="309372"/>
            <a:ext cx="181610" cy="96520"/>
          </a:xfrm>
          <a:custGeom>
            <a:avLst/>
            <a:gdLst/>
            <a:ahLst/>
            <a:cxnLst/>
            <a:rect l="l" t="t" r="r" b="b"/>
            <a:pathLst>
              <a:path w="181609" h="96520">
                <a:moveTo>
                  <a:pt x="181355" y="0"/>
                </a:moveTo>
                <a:lnTo>
                  <a:pt x="0" y="0"/>
                </a:lnTo>
                <a:lnTo>
                  <a:pt x="0" y="96012"/>
                </a:lnTo>
                <a:lnTo>
                  <a:pt x="181355" y="96012"/>
                </a:lnTo>
                <a:lnTo>
                  <a:pt x="181355" y="0"/>
                </a:lnTo>
                <a:close/>
              </a:path>
            </a:pathLst>
          </a:custGeom>
          <a:solidFill>
            <a:srgbClr val="3E9C35"/>
          </a:solidFill>
        </p:spPr>
        <p:txBody>
          <a:bodyPr wrap="square" lIns="0" tIns="0" rIns="0" bIns="0" rtlCol="0"/>
          <a:lstStyle/>
          <a:p>
            <a:endParaRPr/>
          </a:p>
        </p:txBody>
      </p:sp>
      <p:pic>
        <p:nvPicPr>
          <p:cNvPr id="7" name="bg object 23">
            <a:extLst>
              <a:ext uri="{FF2B5EF4-FFF2-40B4-BE49-F238E27FC236}">
                <a16:creationId xmlns:a16="http://schemas.microsoft.com/office/drawing/2014/main" id="{3A611FA8-9A99-4837-E834-9A7D0B0B6A87}"/>
              </a:ext>
            </a:extLst>
          </p:cNvPr>
          <p:cNvPicPr/>
          <p:nvPr userDrawn="1"/>
        </p:nvPicPr>
        <p:blipFill>
          <a:blip r:embed="rId2" cstate="print"/>
          <a:stretch>
            <a:fillRect/>
          </a:stretch>
        </p:blipFill>
        <p:spPr>
          <a:xfrm>
            <a:off x="11199876" y="477012"/>
            <a:ext cx="333755" cy="214884"/>
          </a:xfrm>
          <a:prstGeom prst="rect">
            <a:avLst/>
          </a:prstGeom>
        </p:spPr>
      </p:pic>
      <p:pic>
        <p:nvPicPr>
          <p:cNvPr id="8" name="bg object 24">
            <a:extLst>
              <a:ext uri="{FF2B5EF4-FFF2-40B4-BE49-F238E27FC236}">
                <a16:creationId xmlns:a16="http://schemas.microsoft.com/office/drawing/2014/main" id="{A4AC5B4E-37DF-EAE7-B2B9-D6E0B316EF89}"/>
              </a:ext>
            </a:extLst>
          </p:cNvPr>
          <p:cNvPicPr/>
          <p:nvPr userDrawn="1"/>
        </p:nvPicPr>
        <p:blipFill>
          <a:blip r:embed="rId3" cstate="print"/>
          <a:stretch>
            <a:fillRect/>
          </a:stretch>
        </p:blipFill>
        <p:spPr>
          <a:xfrm>
            <a:off x="11554968" y="481584"/>
            <a:ext cx="219455" cy="207263"/>
          </a:xfrm>
          <a:prstGeom prst="rect">
            <a:avLst/>
          </a:prstGeom>
        </p:spPr>
      </p:pic>
    </p:spTree>
    <p:extLst>
      <p:ext uri="{BB962C8B-B14F-4D97-AF65-F5344CB8AC3E}">
        <p14:creationId xmlns:p14="http://schemas.microsoft.com/office/powerpoint/2010/main" val="131871379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with portait and secondary images">
    <p:bg>
      <p:bgPr>
        <a:solidFill>
          <a:schemeClr val="bg2"/>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73D5DB45-4269-99F7-3A66-E68CAE1CA056}"/>
              </a:ext>
            </a:extLst>
          </p:cNvPr>
          <p:cNvSpPr>
            <a:spLocks noGrp="1"/>
          </p:cNvSpPr>
          <p:nvPr>
            <p:ph type="title"/>
          </p:nvPr>
        </p:nvSpPr>
        <p:spPr>
          <a:xfrm>
            <a:off x="785813" y="1047600"/>
            <a:ext cx="5220000" cy="1108800"/>
          </a:xfrm>
        </p:spPr>
        <p:txBody>
          <a:bodyPr/>
          <a:lstStyle>
            <a:lvl1pPr>
              <a:defRPr>
                <a:solidFill>
                  <a:schemeClr val="tx1"/>
                </a:solidFill>
              </a:defRPr>
            </a:lvl1pPr>
          </a:lstStyle>
          <a:p>
            <a:r>
              <a:rPr lang="en-US"/>
              <a:t>Click to edit Master title style</a:t>
            </a:r>
            <a:endParaRPr lang="en-GB" dirty="0"/>
          </a:p>
        </p:txBody>
      </p:sp>
      <p:sp>
        <p:nvSpPr>
          <p:cNvPr id="16" name="Subtitle 15">
            <a:extLst>
              <a:ext uri="{FF2B5EF4-FFF2-40B4-BE49-F238E27FC236}">
                <a16:creationId xmlns:a16="http://schemas.microsoft.com/office/drawing/2014/main" id="{9F3DA2FF-7188-63AA-76BC-BD6192A78923}"/>
              </a:ext>
            </a:extLst>
          </p:cNvPr>
          <p:cNvSpPr>
            <a:spLocks noGrp="1"/>
          </p:cNvSpPr>
          <p:nvPr>
            <p:ph type="body" sz="quarter" idx="15"/>
          </p:nvPr>
        </p:nvSpPr>
        <p:spPr>
          <a:xfrm>
            <a:off x="784800" y="2708992"/>
            <a:ext cx="5220000" cy="716400"/>
          </a:xfrm>
        </p:spPr>
        <p:txBody>
          <a:bodyPr/>
          <a:lstStyle>
            <a:lvl1pPr>
              <a:defRPr sz="2000"/>
            </a:lvl1pPr>
          </a:lstStyle>
          <a:p>
            <a:pPr lvl="0"/>
            <a:r>
              <a:rPr lang="en-US"/>
              <a:t>Click to edit Master text styles</a:t>
            </a:r>
          </a:p>
        </p:txBody>
      </p:sp>
    </p:spTree>
    <p:extLst>
      <p:ext uri="{BB962C8B-B14F-4D97-AF65-F5344CB8AC3E}">
        <p14:creationId xmlns:p14="http://schemas.microsoft.com/office/powerpoint/2010/main" val="4171335618"/>
      </p:ext>
    </p:extLst>
  </p:cSld>
  <p:clrMapOvr>
    <a:overrideClrMapping bg1="dk1" tx1="lt1" bg2="dk2" tx2="lt2" accent1="accent1" accent2="accent2" accent3="accent3" accent4="accent4" accent5="accent5" accent6="accent6" hlink="hlink" folHlink="folHlink"/>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Title with PoBU">
    <p:bg>
      <p:bgPr>
        <a:solidFill>
          <a:schemeClr val="bg2"/>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73D5DB45-4269-99F7-3A66-E68CAE1CA056}"/>
              </a:ext>
            </a:extLst>
          </p:cNvPr>
          <p:cNvSpPr>
            <a:spLocks noGrp="1"/>
          </p:cNvSpPr>
          <p:nvPr>
            <p:ph type="title"/>
          </p:nvPr>
        </p:nvSpPr>
        <p:spPr>
          <a:xfrm>
            <a:off x="6210000" y="4770000"/>
            <a:ext cx="4500050" cy="1225290"/>
          </a:xfrm>
          <a:solidFill>
            <a:schemeClr val="accent1"/>
          </a:solidFill>
        </p:spPr>
        <p:txBody>
          <a:bodyPr lIns="180000" tIns="180000" rIns="180000" bIns="180000" anchor="ctr" anchorCtr="0"/>
          <a:lstStyle>
            <a:lvl1pPr>
              <a:defRPr sz="2800">
                <a:solidFill>
                  <a:schemeClr val="tx1"/>
                </a:solidFill>
              </a:defRPr>
            </a:lvl1pPr>
          </a:lstStyle>
          <a:p>
            <a:r>
              <a:rPr lang="en-US"/>
              <a:t>Click to edit Master title style</a:t>
            </a:r>
            <a:endParaRPr lang="en-GB" dirty="0"/>
          </a:p>
        </p:txBody>
      </p:sp>
      <p:sp>
        <p:nvSpPr>
          <p:cNvPr id="2" name="Subtitle 15">
            <a:extLst>
              <a:ext uri="{FF2B5EF4-FFF2-40B4-BE49-F238E27FC236}">
                <a16:creationId xmlns:a16="http://schemas.microsoft.com/office/drawing/2014/main" id="{1BE0BC5E-629C-8EFA-DDCB-C8DB8CD1ACF9}"/>
              </a:ext>
            </a:extLst>
          </p:cNvPr>
          <p:cNvSpPr>
            <a:spLocks noGrp="1"/>
          </p:cNvSpPr>
          <p:nvPr>
            <p:ph type="body" sz="quarter" idx="15"/>
          </p:nvPr>
        </p:nvSpPr>
        <p:spPr>
          <a:xfrm>
            <a:off x="1145945" y="7373083"/>
            <a:ext cx="1440016" cy="285964"/>
          </a:xfrm>
        </p:spPr>
        <p:txBody>
          <a:bodyPr/>
          <a:lstStyle>
            <a:lvl1pPr>
              <a:defRPr sz="800"/>
            </a:lvl1pPr>
          </a:lstStyle>
          <a:p>
            <a:pPr lvl="0"/>
            <a:r>
              <a:rPr lang="en-US"/>
              <a:t>Click to edit Master text styles</a:t>
            </a:r>
          </a:p>
        </p:txBody>
      </p:sp>
    </p:spTree>
    <p:extLst>
      <p:ext uri="{BB962C8B-B14F-4D97-AF65-F5344CB8AC3E}">
        <p14:creationId xmlns:p14="http://schemas.microsoft.com/office/powerpoint/2010/main" val="220210751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Create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p:txBody>
          <a:bodyPr/>
          <a:lstStyle/>
          <a:p>
            <a:r>
              <a:rPr lang="en-US"/>
              <a:t>Click to edit Master title style</a:t>
            </a:r>
            <a:endParaRPr lang="en-GB" dirty="0"/>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a:extLst>
              <a:ext uri="{FF2B5EF4-FFF2-40B4-BE49-F238E27FC236}">
                <a16:creationId xmlns:a16="http://schemas.microsoft.com/office/drawing/2014/main" id="{2BCB024D-B642-6479-9437-663AA294E4E3}"/>
              </a:ext>
            </a:extLst>
          </p:cNvPr>
          <p:cNvSpPr>
            <a:spLocks noGrp="1"/>
          </p:cNvSpPr>
          <p:nvPr>
            <p:ph type="sldNum" sz="quarter" idx="33"/>
          </p:nvPr>
        </p:nvSpPr>
        <p:spPr/>
        <p:txBody>
          <a:bodyPr/>
          <a:lstStyle/>
          <a:p>
            <a:fld id="{6686A102-957E-47D3-A22D-E8508A8052D6}" type="slidenum">
              <a:rPr lang="en-GB" smtClean="0"/>
              <a:pPr/>
              <a:t>‹#›</a:t>
            </a:fld>
            <a:endParaRPr lang="en-GB" dirty="0"/>
          </a:p>
        </p:txBody>
      </p:sp>
    </p:spTree>
    <p:extLst>
      <p:ext uri="{BB962C8B-B14F-4D97-AF65-F5344CB8AC3E}">
        <p14:creationId xmlns:p14="http://schemas.microsoft.com/office/powerpoint/2010/main" val="283195281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Create Layout 1 sid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a:xfrm>
            <a:off x="785813" y="2221200"/>
            <a:ext cx="3419475" cy="1107996"/>
          </a:xfrm>
        </p:spPr>
        <p:txBody>
          <a:bodyPr/>
          <a:lstStyle>
            <a:lvl1pPr>
              <a:spcBef>
                <a:spcPts val="600"/>
              </a:spcBef>
              <a:defRPr/>
            </a:lvl1pPr>
          </a:lstStyle>
          <a:p>
            <a:r>
              <a:rPr lang="en-US"/>
              <a:t>Click to edit Master title style</a:t>
            </a:r>
            <a:endParaRPr lang="en-GB" dirty="0"/>
          </a:p>
        </p:txBody>
      </p:sp>
      <p:sp>
        <p:nvSpPr>
          <p:cNvPr id="5" name="Slide Number Placeholder 4">
            <a:extLst>
              <a:ext uri="{FF2B5EF4-FFF2-40B4-BE49-F238E27FC236}">
                <a16:creationId xmlns:a16="http://schemas.microsoft.com/office/drawing/2014/main" id="{97FC0791-90B0-E90A-3F40-E62CE7D9B6F2}"/>
              </a:ext>
            </a:extLst>
          </p:cNvPr>
          <p:cNvSpPr>
            <a:spLocks noGrp="1"/>
          </p:cNvSpPr>
          <p:nvPr>
            <p:ph type="sldNum" sz="quarter" idx="12"/>
          </p:nvPr>
        </p:nvSpPr>
        <p:spPr/>
        <p:txBody>
          <a:bodyPr/>
          <a:lstStyle/>
          <a:p>
            <a:fld id="{6686A102-957E-47D3-A22D-E8508A8052D6}" type="slidenum">
              <a:rPr lang="en-GB" smtClean="0"/>
              <a:pPr/>
              <a:t>‹#›</a:t>
            </a:fld>
            <a:endParaRPr lang="en-GB"/>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a:xfrm>
            <a:off x="5286375" y="1179513"/>
            <a:ext cx="6119813" cy="4319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361146708"/>
      </p:ext>
    </p:extLst>
  </p:cSld>
  <p:clrMapOvr>
    <a:masterClrMapping/>
  </p:clrMapOvr>
  <p:extLst>
    <p:ext uri="{DCECCB84-F9BA-43D5-87BE-67443E8EF086}">
      <p15:sldGuideLst xmlns:p15="http://schemas.microsoft.com/office/powerpoint/2012/main">
        <p15:guide id="1" orient="horz" pos="743">
          <p15:clr>
            <a:srgbClr val="FBAE40"/>
          </p15:clr>
        </p15:guide>
        <p15:guide id="2" pos="333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Create Layout 1 side title r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a:xfrm>
            <a:off x="785812" y="1179513"/>
            <a:ext cx="5219701" cy="4319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a:xfrm>
            <a:off x="6186489" y="2221200"/>
            <a:ext cx="3420000" cy="1108800"/>
          </a:xfrm>
        </p:spPr>
        <p:txBody>
          <a:bodyPr/>
          <a:lstStyle/>
          <a:p>
            <a:r>
              <a:rPr lang="en-US"/>
              <a:t>Click to edit Master title style</a:t>
            </a:r>
            <a:endParaRPr lang="en-GB" dirty="0"/>
          </a:p>
        </p:txBody>
      </p:sp>
      <p:sp>
        <p:nvSpPr>
          <p:cNvPr id="5" name="Slide Number Placeholder 4">
            <a:extLst>
              <a:ext uri="{FF2B5EF4-FFF2-40B4-BE49-F238E27FC236}">
                <a16:creationId xmlns:a16="http://schemas.microsoft.com/office/drawing/2014/main" id="{97FC0791-90B0-E90A-3F40-E62CE7D9B6F2}"/>
              </a:ext>
            </a:extLst>
          </p:cNvPr>
          <p:cNvSpPr>
            <a:spLocks noGrp="1"/>
          </p:cNvSpPr>
          <p:nvPr>
            <p:ph type="sldNum" sz="quarter" idx="12"/>
          </p:nvPr>
        </p:nvSpPr>
        <p:spPr/>
        <p:txBody>
          <a:bodyPr/>
          <a:lstStyle/>
          <a:p>
            <a:fld id="{6686A102-957E-47D3-A22D-E8508A8052D6}" type="slidenum">
              <a:rPr lang="en-GB" smtClean="0"/>
              <a:pPr/>
              <a:t>‹#›</a:t>
            </a:fld>
            <a:endParaRPr lang="en-GB"/>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8951844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iograph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p:txBody>
          <a:bodyPr/>
          <a:lstStyle/>
          <a:p>
            <a:r>
              <a:rPr lang="en-US"/>
              <a:t>Click to edit Master title style</a:t>
            </a:r>
            <a:endParaRPr lang="en-GB"/>
          </a:p>
        </p:txBody>
      </p:sp>
      <p:sp>
        <p:nvSpPr>
          <p:cNvPr id="5" name="Slide Number Placeholder 4">
            <a:extLst>
              <a:ext uri="{FF2B5EF4-FFF2-40B4-BE49-F238E27FC236}">
                <a16:creationId xmlns:a16="http://schemas.microsoft.com/office/drawing/2014/main" id="{97FC0791-90B0-E90A-3F40-E62CE7D9B6F2}"/>
              </a:ext>
            </a:extLst>
          </p:cNvPr>
          <p:cNvSpPr>
            <a:spLocks noGrp="1"/>
          </p:cNvSpPr>
          <p:nvPr>
            <p:ph type="sldNum" sz="quarter" idx="12"/>
          </p:nvPr>
        </p:nvSpPr>
        <p:spPr/>
        <p:txBody>
          <a:bodyPr/>
          <a:lstStyle/>
          <a:p>
            <a:fld id="{6686A102-957E-47D3-A22D-E8508A8052D6}" type="slidenum">
              <a:rPr lang="en-GB" smtClean="0"/>
              <a:pPr/>
              <a:t>‹#›</a:t>
            </a:fld>
            <a:endParaRPr lang="en-GB" dirty="0"/>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p:txBody>
          <a:bodyPr/>
          <a:lstStyle>
            <a:lvl1pPr>
              <a:defRPr sz="1200">
                <a:solidFill>
                  <a:srgbClr val="FFFFFF"/>
                </a:solidFill>
              </a:defRPr>
            </a:lvl1pPr>
            <a:lvl2pPr>
              <a:buClr>
                <a:schemeClr val="bg1"/>
              </a:buClr>
              <a:defRPr sz="1200">
                <a:solidFill>
                  <a:srgbClr val="FFFFFF"/>
                </a:solidFill>
              </a:defRPr>
            </a:lvl2pPr>
            <a:lvl3pPr>
              <a:defRPr sz="1200">
                <a:solidFill>
                  <a:srgbClr val="FFFFFF"/>
                </a:solidFill>
              </a:defRPr>
            </a:lvl3pPr>
            <a:lvl4pPr>
              <a:defRPr sz="1200">
                <a:solidFill>
                  <a:srgbClr val="FFFFFF"/>
                </a:solidFill>
              </a:defRPr>
            </a:lvl4pPr>
            <a:lvl5pPr>
              <a:defRPr sz="1200">
                <a:solidFill>
                  <a:srgbClr val="FFFFFF"/>
                </a:solidFill>
              </a:defRPr>
            </a:lvl5pPr>
            <a:lvl6pPr>
              <a:defRPr sz="1600" b="1">
                <a:solidFill>
                  <a:srgbClr val="FFFFFF"/>
                </a:solidFill>
              </a:defRPr>
            </a:lvl6pPr>
            <a:lvl7pPr>
              <a:defRPr sz="1400">
                <a:solidFill>
                  <a:srgbClr val="FFFFFF"/>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9031588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Create Layout Midn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a:xfrm>
            <a:off x="785813" y="694800"/>
            <a:ext cx="7020000" cy="553998"/>
          </a:xfrm>
        </p:spPr>
        <p:txBody>
          <a:bodyPr/>
          <a:lstStyle/>
          <a:p>
            <a:r>
              <a:rPr lang="en-US"/>
              <a:t>Click to edit Master title style</a:t>
            </a:r>
            <a:endParaRPr lang="en-GB" dirty="0"/>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a:xfrm>
            <a:off x="785813" y="1898650"/>
            <a:ext cx="7020000" cy="36003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3" name="Logo">
            <a:extLst>
              <a:ext uri="{FF2B5EF4-FFF2-40B4-BE49-F238E27FC236}">
                <a16:creationId xmlns:a16="http://schemas.microsoft.com/office/drawing/2014/main" id="{CE96F35C-7C8C-7FDB-E144-5299B485F3BC}"/>
              </a:ext>
            </a:extLst>
          </p:cNvPr>
          <p:cNvPicPr>
            <a:picLocks/>
          </p:cNvPicPr>
          <p:nvPr>
            <p:custDataLst>
              <p:tags r:id="rId21"/>
            </p:custDataLst>
          </p:nvPr>
        </p:nvPicPr>
        <p:blipFill rotWithShape="1">
          <a:blip r:embed="rId23">
            <a:extLst>
              <a:ext uri="{96DAC541-7B7A-43D3-8B79-37D633B846F1}">
                <asvg:svgBlip xmlns:asvg="http://schemas.microsoft.com/office/drawing/2016/SVG/main" r:embed="rId24"/>
              </a:ext>
            </a:extLst>
          </a:blip>
          <a:srcRect t="80" b="80"/>
          <a:stretch/>
        </p:blipFill>
        <p:spPr bwMode="black">
          <a:xfrm>
            <a:off x="10866053" y="278965"/>
            <a:ext cx="900000" cy="378445"/>
          </a:xfrm>
          <a:prstGeom prst="rect">
            <a:avLst/>
          </a:prstGeom>
        </p:spPr>
      </p:pic>
    </p:spTree>
    <p:extLst>
      <p:ext uri="{BB962C8B-B14F-4D97-AF65-F5344CB8AC3E}">
        <p14:creationId xmlns:p14="http://schemas.microsoft.com/office/powerpoint/2010/main" val="3328935418"/>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121D6-28C3-188B-B05C-8C9C1257723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777D4EA-6A18-7C68-D50C-B6C55258B8F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7F01C4D1-D39C-68C5-3163-C54A39F0A412}"/>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382823361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p:cSld name="Create Layout Light Grey">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a:xfrm>
            <a:off x="785813" y="694800"/>
            <a:ext cx="7020000" cy="553998"/>
          </a:xfrm>
        </p:spPr>
        <p:txBody>
          <a:bodyPr/>
          <a:lstStyle/>
          <a:p>
            <a:r>
              <a:rPr lang="en-US"/>
              <a:t>Click to edit Master title style</a:t>
            </a:r>
            <a:endParaRPr lang="en-GB" dirty="0"/>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a:xfrm>
            <a:off x="785813" y="1898650"/>
            <a:ext cx="7020000" cy="36003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3" name="Logo">
            <a:extLst>
              <a:ext uri="{FF2B5EF4-FFF2-40B4-BE49-F238E27FC236}">
                <a16:creationId xmlns:a16="http://schemas.microsoft.com/office/drawing/2014/main" id="{E2C80EE3-71D5-AD3C-9F14-55FBAD812E7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866053" y="278965"/>
            <a:ext cx="900000" cy="378445"/>
          </a:xfrm>
          <a:prstGeom prst="rect">
            <a:avLst/>
          </a:prstGeom>
        </p:spPr>
      </p:pic>
    </p:spTree>
    <p:extLst>
      <p:ext uri="{BB962C8B-B14F-4D97-AF65-F5344CB8AC3E}">
        <p14:creationId xmlns:p14="http://schemas.microsoft.com/office/powerpoint/2010/main" val="989596353"/>
      </p:ext>
    </p:extLst>
  </p:cSld>
  <p:clrMapOvr>
    <a:overrideClrMapping bg1="lt1" tx1="dk1" bg2="lt2" tx2="dk2" accent1="accent1" accent2="accent2" accent3="accent3" accent4="accent4" accent5="accent5" accent6="accent6" hlink="hlink" folHlink="folHlink"/>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p:cSld name="Midnight blue">
    <p:bg>
      <p:bgRef idx="1001">
        <a:schemeClr val="bg2"/>
      </p:bgRef>
    </p:bg>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EBCE3016-E5AD-E4ED-8714-1410EDC945A5}"/>
              </a:ext>
            </a:extLst>
          </p:cNvPr>
          <p:cNvPicPr>
            <a:picLocks/>
          </p:cNvPicPr>
          <p:nvPr>
            <p:custDataLst>
              <p:tags r:id="rId1"/>
            </p:custDataLst>
          </p:nvPr>
        </p:nvPicPr>
        <p:blipFill rotWithShape="1">
          <a:blip r:embed="rId4">
            <a:extLst>
              <a:ext uri="{96DAC541-7B7A-43D3-8B79-37D633B846F1}">
                <asvg:svgBlip xmlns:asvg="http://schemas.microsoft.com/office/drawing/2016/SVG/main" r:embed="rId5"/>
              </a:ext>
            </a:extLst>
          </a:blip>
          <a:srcRect t="80" b="80"/>
          <a:stretch/>
        </p:blipFill>
        <p:spPr bwMode="black">
          <a:xfrm>
            <a:off x="10866053" y="278965"/>
            <a:ext cx="900000" cy="378445"/>
          </a:xfrm>
          <a:prstGeom prst="rect">
            <a:avLst/>
          </a:prstGeom>
        </p:spPr>
      </p:pic>
      <p:sp>
        <p:nvSpPr>
          <p:cNvPr id="3" name="PoP">
            <a:extLst>
              <a:ext uri="{FF2B5EF4-FFF2-40B4-BE49-F238E27FC236}">
                <a16:creationId xmlns:a16="http://schemas.microsoft.com/office/drawing/2014/main" id="{47B1854B-DD9E-FFD8-F643-CDF4586B23A6}"/>
              </a:ext>
            </a:extLst>
          </p:cNvPr>
          <p:cNvSpPr>
            <a:spLocks noChangeAspect="1"/>
          </p:cNvSpPr>
          <p:nvPr>
            <p:custDataLst>
              <p:tags r:id="rId2"/>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2484735845"/>
      </p:ext>
    </p:extLst>
  </p:cSld>
  <p:clrMapOvr>
    <a:overrideClrMapping bg1="dk1" tx1="lt1" bg2="dk2" tx2="lt2" accent1="accent1" accent2="accent2" accent3="accent3" accent4="accent4" accent5="accent5" accent6="accent6" hlink="hlink" folHlink="folHlink"/>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p:cSld name="Dark grey">
    <p:bg>
      <p:bgPr>
        <a:solidFill>
          <a:srgbClr val="63666A"/>
        </a:solidFill>
        <a:effectLst/>
      </p:bgPr>
    </p:bg>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A82C8FE1-7B67-4CBD-25F4-B479A5C5FF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572"/>
          </a:xfrm>
          <a:prstGeom prst="rect">
            <a:avLst/>
          </a:prstGeom>
        </p:spPr>
      </p:pic>
      <p:sp>
        <p:nvSpPr>
          <p:cNvPr id="4" name="PoP">
            <a:extLst>
              <a:ext uri="{FF2B5EF4-FFF2-40B4-BE49-F238E27FC236}">
                <a16:creationId xmlns:a16="http://schemas.microsoft.com/office/drawing/2014/main" id="{D6337EF5-9A10-BF0A-3BE2-117178035E0E}"/>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3184061217"/>
      </p:ext>
    </p:extLst>
  </p:cSld>
  <p:clrMapOvr>
    <a:overrideClrMapping bg1="dk1" tx1="lt1" bg2="dk2" tx2="lt2" accent1="accent1" accent2="accent2" accent3="accent3" accent4="accent4" accent5="accent5" accent6="accent6" hlink="hlink" folHlink="folHlink"/>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Green">
    <p:bg>
      <p:bgPr>
        <a:solidFill>
          <a:srgbClr val="3F9C35"/>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C9F3E570-0A6A-CD8B-4A6C-0A0920D002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572"/>
          </a:xfrm>
          <a:prstGeom prst="rect">
            <a:avLst/>
          </a:prstGeom>
        </p:spPr>
      </p:pic>
      <p:sp>
        <p:nvSpPr>
          <p:cNvPr id="5" name="PoP">
            <a:extLst>
              <a:ext uri="{FF2B5EF4-FFF2-40B4-BE49-F238E27FC236}">
                <a16:creationId xmlns:a16="http://schemas.microsoft.com/office/drawing/2014/main" id="{4B5E4DB3-9D13-71C8-BC3C-01054E29F7D1}"/>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1681392823"/>
      </p:ext>
    </p:extLst>
  </p:cSld>
  <p:clrMapOvr>
    <a:overrideClrMapping bg1="dk1" tx1="lt1" bg2="dk2" tx2="lt2" accent1="accent1" accent2="accent2" accent3="accent3" accent4="accent4" accent5="accent5" accent6="accent6" hlink="hlink" folHlink="folHlink"/>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p:cSld name="Blue">
    <p:bg>
      <p:bgPr>
        <a:solidFill>
          <a:srgbClr val="009CDE"/>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1A2844F0-C6AD-56C8-EBE3-ADAAFB49AC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572"/>
          </a:xfrm>
          <a:prstGeom prst="rect">
            <a:avLst/>
          </a:prstGeom>
        </p:spPr>
      </p:pic>
      <p:sp>
        <p:nvSpPr>
          <p:cNvPr id="5" name="PoP">
            <a:extLst>
              <a:ext uri="{FF2B5EF4-FFF2-40B4-BE49-F238E27FC236}">
                <a16:creationId xmlns:a16="http://schemas.microsoft.com/office/drawing/2014/main" id="{38944547-6E47-6086-504B-25DE7F63102C}"/>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2551151696"/>
      </p:ext>
    </p:extLst>
  </p:cSld>
  <p:clrMapOvr>
    <a:overrideClrMapping bg1="dk1" tx1="lt1" bg2="dk2" tx2="lt2" accent1="accent1" accent2="accent2" accent3="accent3" accent4="accent4" accent5="accent5" accent6="accent6" hlink="hlink" folHlink="folHlink"/>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Light grey">
    <p:bg>
      <p:bgRef idx="1001">
        <a:schemeClr val="bg2"/>
      </p:bgRef>
    </p:bg>
    <p:spTree>
      <p:nvGrpSpPr>
        <p:cNvPr id="1" name=""/>
        <p:cNvGrpSpPr/>
        <p:nvPr/>
      </p:nvGrpSpPr>
      <p:grpSpPr>
        <a:xfrm>
          <a:off x="0" y="0"/>
          <a:ext cx="0" cy="0"/>
          <a:chOff x="0" y="0"/>
          <a:chExt cx="0" cy="0"/>
        </a:xfrm>
      </p:grpSpPr>
      <p:sp>
        <p:nvSpPr>
          <p:cNvPr id="2" name="PoP">
            <a:extLst>
              <a:ext uri="{FF2B5EF4-FFF2-40B4-BE49-F238E27FC236}">
                <a16:creationId xmlns:a16="http://schemas.microsoft.com/office/drawing/2014/main" id="{F19C7962-6067-2B78-942F-0DD0ECAB1188}"/>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pic>
        <p:nvPicPr>
          <p:cNvPr id="3" name="Logo">
            <a:extLst>
              <a:ext uri="{FF2B5EF4-FFF2-40B4-BE49-F238E27FC236}">
                <a16:creationId xmlns:a16="http://schemas.microsoft.com/office/drawing/2014/main" id="{5383F5CB-CF9D-5992-F111-BDBC77774F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445"/>
          </a:xfrm>
          <a:prstGeom prst="rect">
            <a:avLst/>
          </a:prstGeom>
        </p:spPr>
      </p:pic>
    </p:spTree>
    <p:extLst>
      <p:ext uri="{BB962C8B-B14F-4D97-AF65-F5344CB8AC3E}">
        <p14:creationId xmlns:p14="http://schemas.microsoft.com/office/powerpoint/2010/main" val="2552749913"/>
      </p:ext>
    </p:extLst>
  </p:cSld>
  <p:clrMapOvr>
    <a:overrideClrMapping bg1="lt1" tx1="dk1" bg2="lt2" tx2="dk2" accent1="accent1" accent2="accent2" accent3="accent3" accent4="accent4" accent5="accent5" accent6="accent6" hlink="hlink" folHlink="folHlink"/>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Section Divider blue PoP">
    <p:bg>
      <p:bgRef idx="1001">
        <a:schemeClr val="bg2"/>
      </p:bgRef>
    </p:bg>
    <p:spTree>
      <p:nvGrpSpPr>
        <p:cNvPr id="1" name=""/>
        <p:cNvGrpSpPr/>
        <p:nvPr/>
      </p:nvGrpSpPr>
      <p:grpSpPr>
        <a:xfrm>
          <a:off x="0" y="0"/>
          <a:ext cx="0" cy="0"/>
          <a:chOff x="0" y="0"/>
          <a:chExt cx="0" cy="0"/>
        </a:xfrm>
      </p:grpSpPr>
      <p:sp>
        <p:nvSpPr>
          <p:cNvPr id="6" name="PoP">
            <a:extLst>
              <a:ext uri="{FF2B5EF4-FFF2-40B4-BE49-F238E27FC236}">
                <a16:creationId xmlns:a16="http://schemas.microsoft.com/office/drawing/2014/main" id="{1959936E-3E0B-E12E-F24B-8A18D051934D}"/>
              </a:ext>
            </a:extLst>
          </p:cNvPr>
          <p:cNvSpPr/>
          <p:nvPr>
            <p:custDataLst>
              <p:tags r:id="rId1"/>
            </p:custDataLst>
          </p:nvPr>
        </p:nvSpPr>
        <p:spPr>
          <a:xfrm>
            <a:off x="-1200" y="0"/>
            <a:ext cx="12193200" cy="6858000"/>
          </a:xfrm>
          <a:custGeom>
            <a:avLst/>
            <a:gdLst>
              <a:gd name="connsiteX0" fmla="*/ 1148287 w 12193200"/>
              <a:gd name="connsiteY0" fmla="*/ 2128273 h 6858000"/>
              <a:gd name="connsiteX1" fmla="*/ 1148287 w 12193200"/>
              <a:gd name="connsiteY1" fmla="*/ 2364952 h 6858000"/>
              <a:gd name="connsiteX2" fmla="*/ 1249720 w 12193200"/>
              <a:gd name="connsiteY2" fmla="*/ 2364952 h 6858000"/>
              <a:gd name="connsiteX3" fmla="*/ 1249720 w 12193200"/>
              <a:gd name="connsiteY3" fmla="*/ 2128273 h 6858000"/>
              <a:gd name="connsiteX4" fmla="*/ 2959359 w 12193200"/>
              <a:gd name="connsiteY4" fmla="*/ 1419521 h 6858000"/>
              <a:gd name="connsiteX5" fmla="*/ 2959359 w 12193200"/>
              <a:gd name="connsiteY5" fmla="*/ 1656317 h 6858000"/>
              <a:gd name="connsiteX6" fmla="*/ 3060792 w 12193200"/>
              <a:gd name="connsiteY6" fmla="*/ 1656317 h 6858000"/>
              <a:gd name="connsiteX7" fmla="*/ 3060792 w 12193200"/>
              <a:gd name="connsiteY7" fmla="*/ 1419521 h 6858000"/>
              <a:gd name="connsiteX8" fmla="*/ 1694416 w 12193200"/>
              <a:gd name="connsiteY8" fmla="*/ 1418235 h 6858000"/>
              <a:gd name="connsiteX9" fmla="*/ 1874821 w 12193200"/>
              <a:gd name="connsiteY9" fmla="*/ 1418235 h 6858000"/>
              <a:gd name="connsiteX10" fmla="*/ 1874821 w 12193200"/>
              <a:gd name="connsiteY10" fmla="*/ 1655031 h 6858000"/>
              <a:gd name="connsiteX11" fmla="*/ 1694416 w 12193200"/>
              <a:gd name="connsiteY11" fmla="*/ 1655031 h 6858000"/>
              <a:gd name="connsiteX12" fmla="*/ 3397151 w 12193200"/>
              <a:gd name="connsiteY12" fmla="*/ 1181438 h 6858000"/>
              <a:gd name="connsiteX13" fmla="*/ 3397151 w 12193200"/>
              <a:gd name="connsiteY13" fmla="*/ 1181672 h 6858000"/>
              <a:gd name="connsiteX14" fmla="*/ 3396917 w 12193200"/>
              <a:gd name="connsiteY14" fmla="*/ 1182023 h 6858000"/>
              <a:gd name="connsiteX15" fmla="*/ 3396917 w 12193200"/>
              <a:gd name="connsiteY15" fmla="*/ 1419521 h 6858000"/>
              <a:gd name="connsiteX16" fmla="*/ 3497532 w 12193200"/>
              <a:gd name="connsiteY16" fmla="*/ 1419521 h 6858000"/>
              <a:gd name="connsiteX17" fmla="*/ 3497532 w 12193200"/>
              <a:gd name="connsiteY17" fmla="*/ 1181438 h 6858000"/>
              <a:gd name="connsiteX18" fmla="*/ 3997448 w 12193200"/>
              <a:gd name="connsiteY18" fmla="*/ 1181320 h 6858000"/>
              <a:gd name="connsiteX19" fmla="*/ 3997448 w 12193200"/>
              <a:gd name="connsiteY19" fmla="*/ 1418117 h 6858000"/>
              <a:gd name="connsiteX20" fmla="*/ 4177853 w 12193200"/>
              <a:gd name="connsiteY20" fmla="*/ 1418117 h 6858000"/>
              <a:gd name="connsiteX21" fmla="*/ 4177853 w 12193200"/>
              <a:gd name="connsiteY21" fmla="*/ 1181320 h 6858000"/>
              <a:gd name="connsiteX22" fmla="*/ 5869826 w 12193200"/>
              <a:gd name="connsiteY22" fmla="*/ 470580 h 6858000"/>
              <a:gd name="connsiteX23" fmla="*/ 5869826 w 12193200"/>
              <a:gd name="connsiteY23" fmla="*/ 707377 h 6858000"/>
              <a:gd name="connsiteX24" fmla="*/ 5971259 w 12193200"/>
              <a:gd name="connsiteY24" fmla="*/ 707377 h 6858000"/>
              <a:gd name="connsiteX25" fmla="*/ 5971259 w 12193200"/>
              <a:gd name="connsiteY25" fmla="*/ 470580 h 6858000"/>
              <a:gd name="connsiteX26" fmla="*/ 4750308 w 12193200"/>
              <a:gd name="connsiteY26" fmla="*/ 234369 h 6858000"/>
              <a:gd name="connsiteX27" fmla="*/ 5201320 w 12193200"/>
              <a:gd name="connsiteY27" fmla="*/ 234369 h 6858000"/>
              <a:gd name="connsiteX28" fmla="*/ 5201320 w 12193200"/>
              <a:gd name="connsiteY28" fmla="*/ 471165 h 6858000"/>
              <a:gd name="connsiteX29" fmla="*/ 4750308 w 12193200"/>
              <a:gd name="connsiteY29" fmla="*/ 471165 h 6858000"/>
              <a:gd name="connsiteX30" fmla="*/ 4468468 w 12193200"/>
              <a:gd name="connsiteY30" fmla="*/ 234369 h 6858000"/>
              <a:gd name="connsiteX31" fmla="*/ 4648874 w 12193200"/>
              <a:gd name="connsiteY31" fmla="*/ 234369 h 6858000"/>
              <a:gd name="connsiteX32" fmla="*/ 4648874 w 12193200"/>
              <a:gd name="connsiteY32" fmla="*/ 471165 h 6858000"/>
              <a:gd name="connsiteX33" fmla="*/ 4468468 w 12193200"/>
              <a:gd name="connsiteY33" fmla="*/ 471165 h 6858000"/>
              <a:gd name="connsiteX34" fmla="*/ 6042859 w 12193200"/>
              <a:gd name="connsiteY34" fmla="*/ 0 h 6858000"/>
              <a:gd name="connsiteX35" fmla="*/ 7423510 w 12193200"/>
              <a:gd name="connsiteY35" fmla="*/ 0 h 6858000"/>
              <a:gd name="connsiteX36" fmla="*/ 7423510 w 12193200"/>
              <a:gd name="connsiteY36" fmla="*/ 234369 h 6858000"/>
              <a:gd name="connsiteX37" fmla="*/ 7524943 w 12193200"/>
              <a:gd name="connsiteY37" fmla="*/ 234369 h 6858000"/>
              <a:gd name="connsiteX38" fmla="*/ 7524943 w 12193200"/>
              <a:gd name="connsiteY38" fmla="*/ 0 h 6858000"/>
              <a:gd name="connsiteX39" fmla="*/ 12193200 w 12193200"/>
              <a:gd name="connsiteY39" fmla="*/ 0 h 6858000"/>
              <a:gd name="connsiteX40" fmla="*/ 12193200 w 12193200"/>
              <a:gd name="connsiteY40" fmla="*/ 6858000 h 6858000"/>
              <a:gd name="connsiteX41" fmla="*/ 0 w 12193200"/>
              <a:gd name="connsiteY41" fmla="*/ 6858000 h 6858000"/>
              <a:gd name="connsiteX42" fmla="*/ 0 w 12193200"/>
              <a:gd name="connsiteY42" fmla="*/ 2364601 h 6858000"/>
              <a:gd name="connsiteX43" fmla="*/ 133594 w 12193200"/>
              <a:gd name="connsiteY43" fmla="*/ 2364601 h 6858000"/>
              <a:gd name="connsiteX44" fmla="*/ 133594 w 12193200"/>
              <a:gd name="connsiteY44" fmla="*/ 2127805 h 6858000"/>
              <a:gd name="connsiteX45" fmla="*/ 231284 w 12193200"/>
              <a:gd name="connsiteY45" fmla="*/ 2127805 h 6858000"/>
              <a:gd name="connsiteX46" fmla="*/ 231284 w 12193200"/>
              <a:gd name="connsiteY46" fmla="*/ 2364601 h 6858000"/>
              <a:gd name="connsiteX47" fmla="*/ 415668 w 12193200"/>
              <a:gd name="connsiteY47" fmla="*/ 2364601 h 6858000"/>
              <a:gd name="connsiteX48" fmla="*/ 415668 w 12193200"/>
              <a:gd name="connsiteY48" fmla="*/ 2601046 h 6858000"/>
              <a:gd name="connsiteX49" fmla="*/ 517102 w 12193200"/>
              <a:gd name="connsiteY49" fmla="*/ 2601046 h 6858000"/>
              <a:gd name="connsiteX50" fmla="*/ 517102 w 12193200"/>
              <a:gd name="connsiteY50" fmla="*/ 2364601 h 6858000"/>
              <a:gd name="connsiteX51" fmla="*/ 697507 w 12193200"/>
              <a:gd name="connsiteY51" fmla="*/ 2364601 h 6858000"/>
              <a:gd name="connsiteX52" fmla="*/ 697507 w 12193200"/>
              <a:gd name="connsiteY52" fmla="*/ 2127921 h 6858000"/>
              <a:gd name="connsiteX53" fmla="*/ 517102 w 12193200"/>
              <a:gd name="connsiteY53" fmla="*/ 2127921 h 6858000"/>
              <a:gd name="connsiteX54" fmla="*/ 517102 w 12193200"/>
              <a:gd name="connsiteY54" fmla="*/ 1891125 h 6858000"/>
              <a:gd name="connsiteX55" fmla="*/ 1353611 w 12193200"/>
              <a:gd name="connsiteY55" fmla="*/ 1891125 h 6858000"/>
              <a:gd name="connsiteX56" fmla="*/ 1353611 w 12193200"/>
              <a:gd name="connsiteY56" fmla="*/ 1655031 h 6858000"/>
              <a:gd name="connsiteX57" fmla="*/ 1694416 w 12193200"/>
              <a:gd name="connsiteY57" fmla="*/ 1655031 h 6858000"/>
              <a:gd name="connsiteX58" fmla="*/ 1694416 w 12193200"/>
              <a:gd name="connsiteY58" fmla="*/ 1891360 h 6858000"/>
              <a:gd name="connsiteX59" fmla="*/ 1976255 w 12193200"/>
              <a:gd name="connsiteY59" fmla="*/ 1891360 h 6858000"/>
              <a:gd name="connsiteX60" fmla="*/ 1976255 w 12193200"/>
              <a:gd name="connsiteY60" fmla="*/ 1418235 h 6858000"/>
              <a:gd name="connsiteX61" fmla="*/ 2427268 w 12193200"/>
              <a:gd name="connsiteY61" fmla="*/ 1418235 h 6858000"/>
              <a:gd name="connsiteX62" fmla="*/ 2523204 w 12193200"/>
              <a:gd name="connsiteY62" fmla="*/ 1418235 h 6858000"/>
              <a:gd name="connsiteX63" fmla="*/ 2523204 w 12193200"/>
              <a:gd name="connsiteY63" fmla="*/ 1180970 h 6858000"/>
              <a:gd name="connsiteX64" fmla="*/ 2940171 w 12193200"/>
              <a:gd name="connsiteY64" fmla="*/ 1180970 h 6858000"/>
              <a:gd name="connsiteX65" fmla="*/ 2940171 w 12193200"/>
              <a:gd name="connsiteY65" fmla="*/ 944174 h 6858000"/>
              <a:gd name="connsiteX66" fmla="*/ 3126426 w 12193200"/>
              <a:gd name="connsiteY66" fmla="*/ 944174 h 6858000"/>
              <a:gd name="connsiteX67" fmla="*/ 3126426 w 12193200"/>
              <a:gd name="connsiteY67" fmla="*/ 706909 h 6858000"/>
              <a:gd name="connsiteX68" fmla="*/ 3227977 w 12193200"/>
              <a:gd name="connsiteY68" fmla="*/ 706909 h 6858000"/>
              <a:gd name="connsiteX69" fmla="*/ 3227977 w 12193200"/>
              <a:gd name="connsiteY69" fmla="*/ 944174 h 6858000"/>
              <a:gd name="connsiteX70" fmla="*/ 3677938 w 12193200"/>
              <a:gd name="connsiteY70" fmla="*/ 944174 h 6858000"/>
              <a:gd name="connsiteX71" fmla="*/ 3677938 w 12193200"/>
              <a:gd name="connsiteY71" fmla="*/ 1180970 h 6858000"/>
              <a:gd name="connsiteX72" fmla="*/ 3778553 w 12193200"/>
              <a:gd name="connsiteY72" fmla="*/ 1180970 h 6858000"/>
              <a:gd name="connsiteX73" fmla="*/ 3778553 w 12193200"/>
              <a:gd name="connsiteY73" fmla="*/ 944174 h 6858000"/>
              <a:gd name="connsiteX74" fmla="*/ 3987855 w 12193200"/>
              <a:gd name="connsiteY74" fmla="*/ 944174 h 6858000"/>
              <a:gd name="connsiteX75" fmla="*/ 3987855 w 12193200"/>
              <a:gd name="connsiteY75" fmla="*/ 706909 h 6858000"/>
              <a:gd name="connsiteX76" fmla="*/ 4569902 w 12193200"/>
              <a:gd name="connsiteY76" fmla="*/ 706909 h 6858000"/>
              <a:gd name="connsiteX77" fmla="*/ 4569902 w 12193200"/>
              <a:gd name="connsiteY77" fmla="*/ 944174 h 6858000"/>
              <a:gd name="connsiteX78" fmla="*/ 5039400 w 12193200"/>
              <a:gd name="connsiteY78" fmla="*/ 944174 h 6858000"/>
              <a:gd name="connsiteX79" fmla="*/ 5039400 w 12193200"/>
              <a:gd name="connsiteY79" fmla="*/ 707377 h 6858000"/>
              <a:gd name="connsiteX80" fmla="*/ 5496262 w 12193200"/>
              <a:gd name="connsiteY80" fmla="*/ 707377 h 6858000"/>
              <a:gd name="connsiteX81" fmla="*/ 5496262 w 12193200"/>
              <a:gd name="connsiteY81" fmla="*/ 470580 h 6858000"/>
              <a:gd name="connsiteX82" fmla="*/ 5302755 w 12193200"/>
              <a:gd name="connsiteY82" fmla="*/ 470580 h 6858000"/>
              <a:gd name="connsiteX83" fmla="*/ 5302755 w 12193200"/>
              <a:gd name="connsiteY83" fmla="*/ 233784 h 6858000"/>
              <a:gd name="connsiteX84" fmla="*/ 6042859 w 12193200"/>
              <a:gd name="connsiteY84" fmla="*/ 2337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193200" h="6858000">
                <a:moveTo>
                  <a:pt x="1148287" y="2128273"/>
                </a:moveTo>
                <a:lnTo>
                  <a:pt x="1148287" y="2364952"/>
                </a:lnTo>
                <a:lnTo>
                  <a:pt x="1249720" y="2364952"/>
                </a:lnTo>
                <a:lnTo>
                  <a:pt x="1249720" y="2128273"/>
                </a:lnTo>
                <a:close/>
                <a:moveTo>
                  <a:pt x="2959359" y="1419521"/>
                </a:moveTo>
                <a:lnTo>
                  <a:pt x="2959359" y="1656317"/>
                </a:lnTo>
                <a:lnTo>
                  <a:pt x="3060792" y="1656317"/>
                </a:lnTo>
                <a:lnTo>
                  <a:pt x="3060792" y="1419521"/>
                </a:lnTo>
                <a:close/>
                <a:moveTo>
                  <a:pt x="1694416" y="1418235"/>
                </a:moveTo>
                <a:lnTo>
                  <a:pt x="1874821" y="1418235"/>
                </a:lnTo>
                <a:lnTo>
                  <a:pt x="1874821" y="1655031"/>
                </a:lnTo>
                <a:lnTo>
                  <a:pt x="1694416" y="1655031"/>
                </a:lnTo>
                <a:close/>
                <a:moveTo>
                  <a:pt x="3397151" y="1181438"/>
                </a:moveTo>
                <a:lnTo>
                  <a:pt x="3397151" y="1181672"/>
                </a:lnTo>
                <a:cubicBezTo>
                  <a:pt x="3397151" y="1181672"/>
                  <a:pt x="3396917" y="1182023"/>
                  <a:pt x="3396917" y="1182023"/>
                </a:cubicBezTo>
                <a:lnTo>
                  <a:pt x="3396917" y="1419521"/>
                </a:lnTo>
                <a:lnTo>
                  <a:pt x="3497532" y="1419521"/>
                </a:lnTo>
                <a:lnTo>
                  <a:pt x="3497532" y="1181438"/>
                </a:lnTo>
                <a:close/>
                <a:moveTo>
                  <a:pt x="3997448" y="1181320"/>
                </a:moveTo>
                <a:lnTo>
                  <a:pt x="3997448" y="1418117"/>
                </a:lnTo>
                <a:lnTo>
                  <a:pt x="4177853" y="1418117"/>
                </a:lnTo>
                <a:lnTo>
                  <a:pt x="4177853" y="1181320"/>
                </a:lnTo>
                <a:close/>
                <a:moveTo>
                  <a:pt x="5869826" y="470580"/>
                </a:moveTo>
                <a:lnTo>
                  <a:pt x="5869826" y="707377"/>
                </a:lnTo>
                <a:lnTo>
                  <a:pt x="5971259" y="707377"/>
                </a:lnTo>
                <a:lnTo>
                  <a:pt x="5971259" y="470580"/>
                </a:lnTo>
                <a:close/>
                <a:moveTo>
                  <a:pt x="4750308" y="234369"/>
                </a:moveTo>
                <a:lnTo>
                  <a:pt x="5201320" y="234369"/>
                </a:lnTo>
                <a:lnTo>
                  <a:pt x="5201320" y="471165"/>
                </a:lnTo>
                <a:lnTo>
                  <a:pt x="4750308" y="471165"/>
                </a:lnTo>
                <a:close/>
                <a:moveTo>
                  <a:pt x="4468468" y="234369"/>
                </a:moveTo>
                <a:lnTo>
                  <a:pt x="4648874" y="234369"/>
                </a:lnTo>
                <a:lnTo>
                  <a:pt x="4648874" y="471165"/>
                </a:lnTo>
                <a:lnTo>
                  <a:pt x="4468468" y="471165"/>
                </a:lnTo>
                <a:close/>
                <a:moveTo>
                  <a:pt x="6042859" y="0"/>
                </a:moveTo>
                <a:lnTo>
                  <a:pt x="7423510" y="0"/>
                </a:lnTo>
                <a:lnTo>
                  <a:pt x="7423510" y="234369"/>
                </a:lnTo>
                <a:lnTo>
                  <a:pt x="7524943" y="234369"/>
                </a:lnTo>
                <a:lnTo>
                  <a:pt x="7524943" y="0"/>
                </a:lnTo>
                <a:lnTo>
                  <a:pt x="12193200" y="0"/>
                </a:lnTo>
                <a:lnTo>
                  <a:pt x="12193200" y="6858000"/>
                </a:lnTo>
                <a:lnTo>
                  <a:pt x="0" y="6858000"/>
                </a:lnTo>
                <a:lnTo>
                  <a:pt x="0" y="2364601"/>
                </a:lnTo>
                <a:lnTo>
                  <a:pt x="133594" y="2364601"/>
                </a:lnTo>
                <a:lnTo>
                  <a:pt x="133594" y="2127805"/>
                </a:lnTo>
                <a:lnTo>
                  <a:pt x="231284" y="2127805"/>
                </a:lnTo>
                <a:lnTo>
                  <a:pt x="231284" y="2364601"/>
                </a:lnTo>
                <a:lnTo>
                  <a:pt x="415668" y="2364601"/>
                </a:lnTo>
                <a:lnTo>
                  <a:pt x="415668" y="2601046"/>
                </a:lnTo>
                <a:lnTo>
                  <a:pt x="517102" y="2601046"/>
                </a:lnTo>
                <a:lnTo>
                  <a:pt x="517102" y="2364601"/>
                </a:lnTo>
                <a:lnTo>
                  <a:pt x="697507" y="2364601"/>
                </a:lnTo>
                <a:lnTo>
                  <a:pt x="697507" y="2127921"/>
                </a:lnTo>
                <a:lnTo>
                  <a:pt x="517102" y="2127921"/>
                </a:lnTo>
                <a:lnTo>
                  <a:pt x="517102" y="1891125"/>
                </a:lnTo>
                <a:lnTo>
                  <a:pt x="1353611" y="1891125"/>
                </a:lnTo>
                <a:lnTo>
                  <a:pt x="1353611" y="1655031"/>
                </a:lnTo>
                <a:lnTo>
                  <a:pt x="1694416" y="1655031"/>
                </a:lnTo>
                <a:lnTo>
                  <a:pt x="1694416" y="1891360"/>
                </a:lnTo>
                <a:lnTo>
                  <a:pt x="1976255" y="1891360"/>
                </a:lnTo>
                <a:lnTo>
                  <a:pt x="1976255" y="1418235"/>
                </a:lnTo>
                <a:cubicBezTo>
                  <a:pt x="1976255" y="1418235"/>
                  <a:pt x="2427268" y="1418235"/>
                  <a:pt x="2427268" y="1418235"/>
                </a:cubicBezTo>
                <a:lnTo>
                  <a:pt x="2523204" y="1418235"/>
                </a:lnTo>
                <a:lnTo>
                  <a:pt x="2523204" y="1180970"/>
                </a:lnTo>
                <a:lnTo>
                  <a:pt x="2940171" y="1180970"/>
                </a:lnTo>
                <a:lnTo>
                  <a:pt x="2940171" y="944174"/>
                </a:lnTo>
                <a:lnTo>
                  <a:pt x="3126426" y="944174"/>
                </a:lnTo>
                <a:lnTo>
                  <a:pt x="3126426" y="706909"/>
                </a:lnTo>
                <a:lnTo>
                  <a:pt x="3227977" y="706909"/>
                </a:lnTo>
                <a:lnTo>
                  <a:pt x="3227977" y="944174"/>
                </a:lnTo>
                <a:lnTo>
                  <a:pt x="3677938" y="944174"/>
                </a:lnTo>
                <a:lnTo>
                  <a:pt x="3677938" y="1180970"/>
                </a:lnTo>
                <a:lnTo>
                  <a:pt x="3778553" y="1180970"/>
                </a:lnTo>
                <a:lnTo>
                  <a:pt x="3778553" y="944174"/>
                </a:lnTo>
                <a:lnTo>
                  <a:pt x="3987855" y="944174"/>
                </a:lnTo>
                <a:lnTo>
                  <a:pt x="3987855" y="706909"/>
                </a:lnTo>
                <a:lnTo>
                  <a:pt x="4569902" y="706909"/>
                </a:lnTo>
                <a:lnTo>
                  <a:pt x="4569902" y="944174"/>
                </a:lnTo>
                <a:lnTo>
                  <a:pt x="5039400" y="944174"/>
                </a:lnTo>
                <a:lnTo>
                  <a:pt x="5039400" y="707377"/>
                </a:lnTo>
                <a:lnTo>
                  <a:pt x="5496262" y="707377"/>
                </a:lnTo>
                <a:lnTo>
                  <a:pt x="5496262" y="470580"/>
                </a:lnTo>
                <a:lnTo>
                  <a:pt x="5302755" y="470580"/>
                </a:lnTo>
                <a:lnTo>
                  <a:pt x="5302755" y="233784"/>
                </a:lnTo>
                <a:lnTo>
                  <a:pt x="6042859" y="233784"/>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Text Placeholder 2">
            <a:extLst>
              <a:ext uri="{FF2B5EF4-FFF2-40B4-BE49-F238E27FC236}">
                <a16:creationId xmlns:a16="http://schemas.microsoft.com/office/drawing/2014/main" id="{61B2ABDA-DDAF-9A77-BDC2-22003E3AAD92}"/>
              </a:ext>
            </a:extLst>
          </p:cNvPr>
          <p:cNvSpPr>
            <a:spLocks noGrp="1"/>
          </p:cNvSpPr>
          <p:nvPr>
            <p:ph type="body" idx="1"/>
          </p:nvPr>
        </p:nvSpPr>
        <p:spPr>
          <a:xfrm>
            <a:off x="2586038" y="3789005"/>
            <a:ext cx="4319587" cy="1590188"/>
          </a:xfrm>
        </p:spPr>
        <p:txBody>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Section Title">
            <a:extLst>
              <a:ext uri="{FF2B5EF4-FFF2-40B4-BE49-F238E27FC236}">
                <a16:creationId xmlns:a16="http://schemas.microsoft.com/office/drawing/2014/main" id="{2251077D-1245-F768-6D1A-DF5DA28DC78D}"/>
              </a:ext>
            </a:extLst>
          </p:cNvPr>
          <p:cNvSpPr>
            <a:spLocks noGrp="1"/>
          </p:cNvSpPr>
          <p:nvPr>
            <p:ph type="title"/>
          </p:nvPr>
        </p:nvSpPr>
        <p:spPr>
          <a:xfrm>
            <a:off x="2586038" y="2429999"/>
            <a:ext cx="4319587" cy="1260000"/>
          </a:xfrm>
        </p:spPr>
        <p:txBody>
          <a:bodyPr anchor="t" anchorCtr="0"/>
          <a:lstStyle>
            <a:lvl1pPr>
              <a:defRPr sz="4000">
                <a:solidFill>
                  <a:schemeClr val="tx1"/>
                </a:solidFill>
              </a:defRPr>
            </a:lvl1pPr>
          </a:lstStyle>
          <a:p>
            <a:r>
              <a:rPr lang="en-US"/>
              <a:t>Click to edit Master title style</a:t>
            </a:r>
            <a:endParaRPr lang="en-GB" dirty="0"/>
          </a:p>
        </p:txBody>
      </p:sp>
      <p:pic>
        <p:nvPicPr>
          <p:cNvPr id="8" name="Logo">
            <a:extLst>
              <a:ext uri="{FF2B5EF4-FFF2-40B4-BE49-F238E27FC236}">
                <a16:creationId xmlns:a16="http://schemas.microsoft.com/office/drawing/2014/main" id="{405ED556-94E1-A715-9091-DBEEB77B26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71388" y="684213"/>
            <a:ext cx="1232421" cy="518400"/>
          </a:xfrm>
          <a:prstGeom prst="rect">
            <a:avLst/>
          </a:prstGeom>
        </p:spPr>
      </p:pic>
    </p:spTree>
    <p:extLst>
      <p:ext uri="{BB962C8B-B14F-4D97-AF65-F5344CB8AC3E}">
        <p14:creationId xmlns:p14="http://schemas.microsoft.com/office/powerpoint/2010/main" val="972335789"/>
      </p:ext>
    </p:extLst>
  </p:cSld>
  <p:clrMapOvr>
    <a:overrideClrMapping bg1="dk1" tx1="lt1" bg2="dk2" tx2="lt2" accent1="accent1" accent2="accent2" accent3="accent3" accent4="accent4" accent5="accent5" accent6="accent6" hlink="hlink" folHlink="folHlink"/>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Section Divider green PoP">
    <p:bg>
      <p:bgRef idx="1001">
        <a:schemeClr val="bg2"/>
      </p:bgRef>
    </p:bg>
    <p:spTree>
      <p:nvGrpSpPr>
        <p:cNvPr id="1" name=""/>
        <p:cNvGrpSpPr/>
        <p:nvPr/>
      </p:nvGrpSpPr>
      <p:grpSpPr>
        <a:xfrm>
          <a:off x="0" y="0"/>
          <a:ext cx="0" cy="0"/>
          <a:chOff x="0" y="0"/>
          <a:chExt cx="0" cy="0"/>
        </a:xfrm>
      </p:grpSpPr>
      <p:sp>
        <p:nvSpPr>
          <p:cNvPr id="6" name="PoP">
            <a:extLst>
              <a:ext uri="{FF2B5EF4-FFF2-40B4-BE49-F238E27FC236}">
                <a16:creationId xmlns:a16="http://schemas.microsoft.com/office/drawing/2014/main" id="{3C85F80A-028E-C256-4277-46CD9C05A03F}"/>
              </a:ext>
            </a:extLst>
          </p:cNvPr>
          <p:cNvSpPr/>
          <p:nvPr>
            <p:custDataLst>
              <p:tags r:id="rId1"/>
            </p:custDataLst>
          </p:nvPr>
        </p:nvSpPr>
        <p:spPr>
          <a:xfrm>
            <a:off x="-1200" y="0"/>
            <a:ext cx="12193200" cy="6858000"/>
          </a:xfrm>
          <a:custGeom>
            <a:avLst/>
            <a:gdLst>
              <a:gd name="connsiteX0" fmla="*/ 1148287 w 12193200"/>
              <a:gd name="connsiteY0" fmla="*/ 2128273 h 6858000"/>
              <a:gd name="connsiteX1" fmla="*/ 1148287 w 12193200"/>
              <a:gd name="connsiteY1" fmla="*/ 2364952 h 6858000"/>
              <a:gd name="connsiteX2" fmla="*/ 1249720 w 12193200"/>
              <a:gd name="connsiteY2" fmla="*/ 2364952 h 6858000"/>
              <a:gd name="connsiteX3" fmla="*/ 1249720 w 12193200"/>
              <a:gd name="connsiteY3" fmla="*/ 2128273 h 6858000"/>
              <a:gd name="connsiteX4" fmla="*/ 2959359 w 12193200"/>
              <a:gd name="connsiteY4" fmla="*/ 1419521 h 6858000"/>
              <a:gd name="connsiteX5" fmla="*/ 2959359 w 12193200"/>
              <a:gd name="connsiteY5" fmla="*/ 1656317 h 6858000"/>
              <a:gd name="connsiteX6" fmla="*/ 3060792 w 12193200"/>
              <a:gd name="connsiteY6" fmla="*/ 1656317 h 6858000"/>
              <a:gd name="connsiteX7" fmla="*/ 3060792 w 12193200"/>
              <a:gd name="connsiteY7" fmla="*/ 1419521 h 6858000"/>
              <a:gd name="connsiteX8" fmla="*/ 1694416 w 12193200"/>
              <a:gd name="connsiteY8" fmla="*/ 1418235 h 6858000"/>
              <a:gd name="connsiteX9" fmla="*/ 1874821 w 12193200"/>
              <a:gd name="connsiteY9" fmla="*/ 1418235 h 6858000"/>
              <a:gd name="connsiteX10" fmla="*/ 1874821 w 12193200"/>
              <a:gd name="connsiteY10" fmla="*/ 1655031 h 6858000"/>
              <a:gd name="connsiteX11" fmla="*/ 1694416 w 12193200"/>
              <a:gd name="connsiteY11" fmla="*/ 1655031 h 6858000"/>
              <a:gd name="connsiteX12" fmla="*/ 3397151 w 12193200"/>
              <a:gd name="connsiteY12" fmla="*/ 1181438 h 6858000"/>
              <a:gd name="connsiteX13" fmla="*/ 3397151 w 12193200"/>
              <a:gd name="connsiteY13" fmla="*/ 1181672 h 6858000"/>
              <a:gd name="connsiteX14" fmla="*/ 3396917 w 12193200"/>
              <a:gd name="connsiteY14" fmla="*/ 1182023 h 6858000"/>
              <a:gd name="connsiteX15" fmla="*/ 3396917 w 12193200"/>
              <a:gd name="connsiteY15" fmla="*/ 1419521 h 6858000"/>
              <a:gd name="connsiteX16" fmla="*/ 3497532 w 12193200"/>
              <a:gd name="connsiteY16" fmla="*/ 1419521 h 6858000"/>
              <a:gd name="connsiteX17" fmla="*/ 3497532 w 12193200"/>
              <a:gd name="connsiteY17" fmla="*/ 1181438 h 6858000"/>
              <a:gd name="connsiteX18" fmla="*/ 3997448 w 12193200"/>
              <a:gd name="connsiteY18" fmla="*/ 1181320 h 6858000"/>
              <a:gd name="connsiteX19" fmla="*/ 3997448 w 12193200"/>
              <a:gd name="connsiteY19" fmla="*/ 1418117 h 6858000"/>
              <a:gd name="connsiteX20" fmla="*/ 4177853 w 12193200"/>
              <a:gd name="connsiteY20" fmla="*/ 1418117 h 6858000"/>
              <a:gd name="connsiteX21" fmla="*/ 4177853 w 12193200"/>
              <a:gd name="connsiteY21" fmla="*/ 1181320 h 6858000"/>
              <a:gd name="connsiteX22" fmla="*/ 5869826 w 12193200"/>
              <a:gd name="connsiteY22" fmla="*/ 470580 h 6858000"/>
              <a:gd name="connsiteX23" fmla="*/ 5869826 w 12193200"/>
              <a:gd name="connsiteY23" fmla="*/ 707377 h 6858000"/>
              <a:gd name="connsiteX24" fmla="*/ 5971259 w 12193200"/>
              <a:gd name="connsiteY24" fmla="*/ 707377 h 6858000"/>
              <a:gd name="connsiteX25" fmla="*/ 5971259 w 12193200"/>
              <a:gd name="connsiteY25" fmla="*/ 470580 h 6858000"/>
              <a:gd name="connsiteX26" fmla="*/ 4750308 w 12193200"/>
              <a:gd name="connsiteY26" fmla="*/ 234369 h 6858000"/>
              <a:gd name="connsiteX27" fmla="*/ 5201320 w 12193200"/>
              <a:gd name="connsiteY27" fmla="*/ 234369 h 6858000"/>
              <a:gd name="connsiteX28" fmla="*/ 5201320 w 12193200"/>
              <a:gd name="connsiteY28" fmla="*/ 471165 h 6858000"/>
              <a:gd name="connsiteX29" fmla="*/ 4750308 w 12193200"/>
              <a:gd name="connsiteY29" fmla="*/ 471165 h 6858000"/>
              <a:gd name="connsiteX30" fmla="*/ 4468468 w 12193200"/>
              <a:gd name="connsiteY30" fmla="*/ 234369 h 6858000"/>
              <a:gd name="connsiteX31" fmla="*/ 4648874 w 12193200"/>
              <a:gd name="connsiteY31" fmla="*/ 234369 h 6858000"/>
              <a:gd name="connsiteX32" fmla="*/ 4648874 w 12193200"/>
              <a:gd name="connsiteY32" fmla="*/ 471165 h 6858000"/>
              <a:gd name="connsiteX33" fmla="*/ 4468468 w 12193200"/>
              <a:gd name="connsiteY33" fmla="*/ 471165 h 6858000"/>
              <a:gd name="connsiteX34" fmla="*/ 6042859 w 12193200"/>
              <a:gd name="connsiteY34" fmla="*/ 0 h 6858000"/>
              <a:gd name="connsiteX35" fmla="*/ 7423510 w 12193200"/>
              <a:gd name="connsiteY35" fmla="*/ 0 h 6858000"/>
              <a:gd name="connsiteX36" fmla="*/ 7423510 w 12193200"/>
              <a:gd name="connsiteY36" fmla="*/ 234369 h 6858000"/>
              <a:gd name="connsiteX37" fmla="*/ 7524943 w 12193200"/>
              <a:gd name="connsiteY37" fmla="*/ 234369 h 6858000"/>
              <a:gd name="connsiteX38" fmla="*/ 7524943 w 12193200"/>
              <a:gd name="connsiteY38" fmla="*/ 0 h 6858000"/>
              <a:gd name="connsiteX39" fmla="*/ 12193200 w 12193200"/>
              <a:gd name="connsiteY39" fmla="*/ 0 h 6858000"/>
              <a:gd name="connsiteX40" fmla="*/ 12193200 w 12193200"/>
              <a:gd name="connsiteY40" fmla="*/ 6858000 h 6858000"/>
              <a:gd name="connsiteX41" fmla="*/ 0 w 12193200"/>
              <a:gd name="connsiteY41" fmla="*/ 6858000 h 6858000"/>
              <a:gd name="connsiteX42" fmla="*/ 0 w 12193200"/>
              <a:gd name="connsiteY42" fmla="*/ 2364601 h 6858000"/>
              <a:gd name="connsiteX43" fmla="*/ 133594 w 12193200"/>
              <a:gd name="connsiteY43" fmla="*/ 2364601 h 6858000"/>
              <a:gd name="connsiteX44" fmla="*/ 133594 w 12193200"/>
              <a:gd name="connsiteY44" fmla="*/ 2127805 h 6858000"/>
              <a:gd name="connsiteX45" fmla="*/ 231284 w 12193200"/>
              <a:gd name="connsiteY45" fmla="*/ 2127805 h 6858000"/>
              <a:gd name="connsiteX46" fmla="*/ 231284 w 12193200"/>
              <a:gd name="connsiteY46" fmla="*/ 2364601 h 6858000"/>
              <a:gd name="connsiteX47" fmla="*/ 415668 w 12193200"/>
              <a:gd name="connsiteY47" fmla="*/ 2364601 h 6858000"/>
              <a:gd name="connsiteX48" fmla="*/ 415668 w 12193200"/>
              <a:gd name="connsiteY48" fmla="*/ 2601046 h 6858000"/>
              <a:gd name="connsiteX49" fmla="*/ 517102 w 12193200"/>
              <a:gd name="connsiteY49" fmla="*/ 2601046 h 6858000"/>
              <a:gd name="connsiteX50" fmla="*/ 517102 w 12193200"/>
              <a:gd name="connsiteY50" fmla="*/ 2364601 h 6858000"/>
              <a:gd name="connsiteX51" fmla="*/ 697507 w 12193200"/>
              <a:gd name="connsiteY51" fmla="*/ 2364601 h 6858000"/>
              <a:gd name="connsiteX52" fmla="*/ 697507 w 12193200"/>
              <a:gd name="connsiteY52" fmla="*/ 2127921 h 6858000"/>
              <a:gd name="connsiteX53" fmla="*/ 517102 w 12193200"/>
              <a:gd name="connsiteY53" fmla="*/ 2127921 h 6858000"/>
              <a:gd name="connsiteX54" fmla="*/ 517102 w 12193200"/>
              <a:gd name="connsiteY54" fmla="*/ 1891125 h 6858000"/>
              <a:gd name="connsiteX55" fmla="*/ 1353611 w 12193200"/>
              <a:gd name="connsiteY55" fmla="*/ 1891125 h 6858000"/>
              <a:gd name="connsiteX56" fmla="*/ 1353611 w 12193200"/>
              <a:gd name="connsiteY56" fmla="*/ 1655031 h 6858000"/>
              <a:gd name="connsiteX57" fmla="*/ 1694416 w 12193200"/>
              <a:gd name="connsiteY57" fmla="*/ 1655031 h 6858000"/>
              <a:gd name="connsiteX58" fmla="*/ 1694416 w 12193200"/>
              <a:gd name="connsiteY58" fmla="*/ 1891360 h 6858000"/>
              <a:gd name="connsiteX59" fmla="*/ 1976255 w 12193200"/>
              <a:gd name="connsiteY59" fmla="*/ 1891360 h 6858000"/>
              <a:gd name="connsiteX60" fmla="*/ 1976255 w 12193200"/>
              <a:gd name="connsiteY60" fmla="*/ 1418235 h 6858000"/>
              <a:gd name="connsiteX61" fmla="*/ 2427268 w 12193200"/>
              <a:gd name="connsiteY61" fmla="*/ 1418235 h 6858000"/>
              <a:gd name="connsiteX62" fmla="*/ 2523204 w 12193200"/>
              <a:gd name="connsiteY62" fmla="*/ 1418235 h 6858000"/>
              <a:gd name="connsiteX63" fmla="*/ 2523204 w 12193200"/>
              <a:gd name="connsiteY63" fmla="*/ 1180970 h 6858000"/>
              <a:gd name="connsiteX64" fmla="*/ 2940171 w 12193200"/>
              <a:gd name="connsiteY64" fmla="*/ 1180970 h 6858000"/>
              <a:gd name="connsiteX65" fmla="*/ 2940171 w 12193200"/>
              <a:gd name="connsiteY65" fmla="*/ 944174 h 6858000"/>
              <a:gd name="connsiteX66" fmla="*/ 3126426 w 12193200"/>
              <a:gd name="connsiteY66" fmla="*/ 944174 h 6858000"/>
              <a:gd name="connsiteX67" fmla="*/ 3126426 w 12193200"/>
              <a:gd name="connsiteY67" fmla="*/ 706909 h 6858000"/>
              <a:gd name="connsiteX68" fmla="*/ 3227977 w 12193200"/>
              <a:gd name="connsiteY68" fmla="*/ 706909 h 6858000"/>
              <a:gd name="connsiteX69" fmla="*/ 3227977 w 12193200"/>
              <a:gd name="connsiteY69" fmla="*/ 944174 h 6858000"/>
              <a:gd name="connsiteX70" fmla="*/ 3677938 w 12193200"/>
              <a:gd name="connsiteY70" fmla="*/ 944174 h 6858000"/>
              <a:gd name="connsiteX71" fmla="*/ 3677938 w 12193200"/>
              <a:gd name="connsiteY71" fmla="*/ 1180970 h 6858000"/>
              <a:gd name="connsiteX72" fmla="*/ 3778553 w 12193200"/>
              <a:gd name="connsiteY72" fmla="*/ 1180970 h 6858000"/>
              <a:gd name="connsiteX73" fmla="*/ 3778553 w 12193200"/>
              <a:gd name="connsiteY73" fmla="*/ 944174 h 6858000"/>
              <a:gd name="connsiteX74" fmla="*/ 3987855 w 12193200"/>
              <a:gd name="connsiteY74" fmla="*/ 944174 h 6858000"/>
              <a:gd name="connsiteX75" fmla="*/ 3987855 w 12193200"/>
              <a:gd name="connsiteY75" fmla="*/ 706909 h 6858000"/>
              <a:gd name="connsiteX76" fmla="*/ 4569902 w 12193200"/>
              <a:gd name="connsiteY76" fmla="*/ 706909 h 6858000"/>
              <a:gd name="connsiteX77" fmla="*/ 4569902 w 12193200"/>
              <a:gd name="connsiteY77" fmla="*/ 944174 h 6858000"/>
              <a:gd name="connsiteX78" fmla="*/ 5039400 w 12193200"/>
              <a:gd name="connsiteY78" fmla="*/ 944174 h 6858000"/>
              <a:gd name="connsiteX79" fmla="*/ 5039400 w 12193200"/>
              <a:gd name="connsiteY79" fmla="*/ 707377 h 6858000"/>
              <a:gd name="connsiteX80" fmla="*/ 5496262 w 12193200"/>
              <a:gd name="connsiteY80" fmla="*/ 707377 h 6858000"/>
              <a:gd name="connsiteX81" fmla="*/ 5496262 w 12193200"/>
              <a:gd name="connsiteY81" fmla="*/ 470580 h 6858000"/>
              <a:gd name="connsiteX82" fmla="*/ 5302755 w 12193200"/>
              <a:gd name="connsiteY82" fmla="*/ 470580 h 6858000"/>
              <a:gd name="connsiteX83" fmla="*/ 5302755 w 12193200"/>
              <a:gd name="connsiteY83" fmla="*/ 233784 h 6858000"/>
              <a:gd name="connsiteX84" fmla="*/ 6042859 w 12193200"/>
              <a:gd name="connsiteY84" fmla="*/ 2337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193200" h="6858000">
                <a:moveTo>
                  <a:pt x="1148287" y="2128273"/>
                </a:moveTo>
                <a:lnTo>
                  <a:pt x="1148287" y="2364952"/>
                </a:lnTo>
                <a:lnTo>
                  <a:pt x="1249720" y="2364952"/>
                </a:lnTo>
                <a:lnTo>
                  <a:pt x="1249720" y="2128273"/>
                </a:lnTo>
                <a:close/>
                <a:moveTo>
                  <a:pt x="2959359" y="1419521"/>
                </a:moveTo>
                <a:lnTo>
                  <a:pt x="2959359" y="1656317"/>
                </a:lnTo>
                <a:lnTo>
                  <a:pt x="3060792" y="1656317"/>
                </a:lnTo>
                <a:lnTo>
                  <a:pt x="3060792" y="1419521"/>
                </a:lnTo>
                <a:close/>
                <a:moveTo>
                  <a:pt x="1694416" y="1418235"/>
                </a:moveTo>
                <a:lnTo>
                  <a:pt x="1874821" y="1418235"/>
                </a:lnTo>
                <a:lnTo>
                  <a:pt x="1874821" y="1655031"/>
                </a:lnTo>
                <a:lnTo>
                  <a:pt x="1694416" y="1655031"/>
                </a:lnTo>
                <a:close/>
                <a:moveTo>
                  <a:pt x="3397151" y="1181438"/>
                </a:moveTo>
                <a:lnTo>
                  <a:pt x="3397151" y="1181672"/>
                </a:lnTo>
                <a:cubicBezTo>
                  <a:pt x="3397151" y="1181672"/>
                  <a:pt x="3396917" y="1182023"/>
                  <a:pt x="3396917" y="1182023"/>
                </a:cubicBezTo>
                <a:lnTo>
                  <a:pt x="3396917" y="1419521"/>
                </a:lnTo>
                <a:lnTo>
                  <a:pt x="3497532" y="1419521"/>
                </a:lnTo>
                <a:lnTo>
                  <a:pt x="3497532" y="1181438"/>
                </a:lnTo>
                <a:close/>
                <a:moveTo>
                  <a:pt x="3997448" y="1181320"/>
                </a:moveTo>
                <a:lnTo>
                  <a:pt x="3997448" y="1418117"/>
                </a:lnTo>
                <a:lnTo>
                  <a:pt x="4177853" y="1418117"/>
                </a:lnTo>
                <a:lnTo>
                  <a:pt x="4177853" y="1181320"/>
                </a:lnTo>
                <a:close/>
                <a:moveTo>
                  <a:pt x="5869826" y="470580"/>
                </a:moveTo>
                <a:lnTo>
                  <a:pt x="5869826" y="707377"/>
                </a:lnTo>
                <a:lnTo>
                  <a:pt x="5971259" y="707377"/>
                </a:lnTo>
                <a:lnTo>
                  <a:pt x="5971259" y="470580"/>
                </a:lnTo>
                <a:close/>
                <a:moveTo>
                  <a:pt x="4750308" y="234369"/>
                </a:moveTo>
                <a:lnTo>
                  <a:pt x="5201320" y="234369"/>
                </a:lnTo>
                <a:lnTo>
                  <a:pt x="5201320" y="471165"/>
                </a:lnTo>
                <a:lnTo>
                  <a:pt x="4750308" y="471165"/>
                </a:lnTo>
                <a:close/>
                <a:moveTo>
                  <a:pt x="4468468" y="234369"/>
                </a:moveTo>
                <a:lnTo>
                  <a:pt x="4648874" y="234369"/>
                </a:lnTo>
                <a:lnTo>
                  <a:pt x="4648874" y="471165"/>
                </a:lnTo>
                <a:lnTo>
                  <a:pt x="4468468" y="471165"/>
                </a:lnTo>
                <a:close/>
                <a:moveTo>
                  <a:pt x="6042859" y="0"/>
                </a:moveTo>
                <a:lnTo>
                  <a:pt x="7423510" y="0"/>
                </a:lnTo>
                <a:lnTo>
                  <a:pt x="7423510" y="234369"/>
                </a:lnTo>
                <a:lnTo>
                  <a:pt x="7524943" y="234369"/>
                </a:lnTo>
                <a:lnTo>
                  <a:pt x="7524943" y="0"/>
                </a:lnTo>
                <a:lnTo>
                  <a:pt x="12193200" y="0"/>
                </a:lnTo>
                <a:lnTo>
                  <a:pt x="12193200" y="6858000"/>
                </a:lnTo>
                <a:lnTo>
                  <a:pt x="0" y="6858000"/>
                </a:lnTo>
                <a:lnTo>
                  <a:pt x="0" y="2364601"/>
                </a:lnTo>
                <a:lnTo>
                  <a:pt x="133594" y="2364601"/>
                </a:lnTo>
                <a:lnTo>
                  <a:pt x="133594" y="2127805"/>
                </a:lnTo>
                <a:lnTo>
                  <a:pt x="231284" y="2127805"/>
                </a:lnTo>
                <a:lnTo>
                  <a:pt x="231284" y="2364601"/>
                </a:lnTo>
                <a:lnTo>
                  <a:pt x="415668" y="2364601"/>
                </a:lnTo>
                <a:lnTo>
                  <a:pt x="415668" y="2601046"/>
                </a:lnTo>
                <a:lnTo>
                  <a:pt x="517102" y="2601046"/>
                </a:lnTo>
                <a:lnTo>
                  <a:pt x="517102" y="2364601"/>
                </a:lnTo>
                <a:lnTo>
                  <a:pt x="697507" y="2364601"/>
                </a:lnTo>
                <a:lnTo>
                  <a:pt x="697507" y="2127921"/>
                </a:lnTo>
                <a:lnTo>
                  <a:pt x="517102" y="2127921"/>
                </a:lnTo>
                <a:lnTo>
                  <a:pt x="517102" y="1891125"/>
                </a:lnTo>
                <a:lnTo>
                  <a:pt x="1353611" y="1891125"/>
                </a:lnTo>
                <a:lnTo>
                  <a:pt x="1353611" y="1655031"/>
                </a:lnTo>
                <a:lnTo>
                  <a:pt x="1694416" y="1655031"/>
                </a:lnTo>
                <a:lnTo>
                  <a:pt x="1694416" y="1891360"/>
                </a:lnTo>
                <a:lnTo>
                  <a:pt x="1976255" y="1891360"/>
                </a:lnTo>
                <a:lnTo>
                  <a:pt x="1976255" y="1418235"/>
                </a:lnTo>
                <a:cubicBezTo>
                  <a:pt x="1976255" y="1418235"/>
                  <a:pt x="2427268" y="1418235"/>
                  <a:pt x="2427268" y="1418235"/>
                </a:cubicBezTo>
                <a:lnTo>
                  <a:pt x="2523204" y="1418235"/>
                </a:lnTo>
                <a:lnTo>
                  <a:pt x="2523204" y="1180970"/>
                </a:lnTo>
                <a:lnTo>
                  <a:pt x="2940171" y="1180970"/>
                </a:lnTo>
                <a:lnTo>
                  <a:pt x="2940171" y="944174"/>
                </a:lnTo>
                <a:lnTo>
                  <a:pt x="3126426" y="944174"/>
                </a:lnTo>
                <a:lnTo>
                  <a:pt x="3126426" y="706909"/>
                </a:lnTo>
                <a:lnTo>
                  <a:pt x="3227977" y="706909"/>
                </a:lnTo>
                <a:lnTo>
                  <a:pt x="3227977" y="944174"/>
                </a:lnTo>
                <a:lnTo>
                  <a:pt x="3677938" y="944174"/>
                </a:lnTo>
                <a:lnTo>
                  <a:pt x="3677938" y="1180970"/>
                </a:lnTo>
                <a:lnTo>
                  <a:pt x="3778553" y="1180970"/>
                </a:lnTo>
                <a:lnTo>
                  <a:pt x="3778553" y="944174"/>
                </a:lnTo>
                <a:lnTo>
                  <a:pt x="3987855" y="944174"/>
                </a:lnTo>
                <a:lnTo>
                  <a:pt x="3987855" y="706909"/>
                </a:lnTo>
                <a:lnTo>
                  <a:pt x="4569902" y="706909"/>
                </a:lnTo>
                <a:lnTo>
                  <a:pt x="4569902" y="944174"/>
                </a:lnTo>
                <a:lnTo>
                  <a:pt x="5039400" y="944174"/>
                </a:lnTo>
                <a:lnTo>
                  <a:pt x="5039400" y="707377"/>
                </a:lnTo>
                <a:lnTo>
                  <a:pt x="5496262" y="707377"/>
                </a:lnTo>
                <a:lnTo>
                  <a:pt x="5496262" y="470580"/>
                </a:lnTo>
                <a:lnTo>
                  <a:pt x="5302755" y="470580"/>
                </a:lnTo>
                <a:lnTo>
                  <a:pt x="5302755" y="233784"/>
                </a:lnTo>
                <a:lnTo>
                  <a:pt x="6042859" y="233784"/>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Text Placeholder 2">
            <a:extLst>
              <a:ext uri="{FF2B5EF4-FFF2-40B4-BE49-F238E27FC236}">
                <a16:creationId xmlns:a16="http://schemas.microsoft.com/office/drawing/2014/main" id="{61B2ABDA-DDAF-9A77-BDC2-22003E3AAD92}"/>
              </a:ext>
            </a:extLst>
          </p:cNvPr>
          <p:cNvSpPr>
            <a:spLocks noGrp="1"/>
          </p:cNvSpPr>
          <p:nvPr>
            <p:ph type="body" idx="1"/>
          </p:nvPr>
        </p:nvSpPr>
        <p:spPr>
          <a:xfrm>
            <a:off x="2586038" y="3789005"/>
            <a:ext cx="4319587" cy="1590188"/>
          </a:xfrm>
        </p:spPr>
        <p:txBody>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Section Title">
            <a:extLst>
              <a:ext uri="{FF2B5EF4-FFF2-40B4-BE49-F238E27FC236}">
                <a16:creationId xmlns:a16="http://schemas.microsoft.com/office/drawing/2014/main" id="{2251077D-1245-F768-6D1A-DF5DA28DC78D}"/>
              </a:ext>
            </a:extLst>
          </p:cNvPr>
          <p:cNvSpPr>
            <a:spLocks noGrp="1"/>
          </p:cNvSpPr>
          <p:nvPr>
            <p:ph type="title"/>
          </p:nvPr>
        </p:nvSpPr>
        <p:spPr>
          <a:xfrm>
            <a:off x="2586038" y="2429999"/>
            <a:ext cx="4319587" cy="1260000"/>
          </a:xfrm>
        </p:spPr>
        <p:txBody>
          <a:bodyPr anchor="t" anchorCtr="0"/>
          <a:lstStyle>
            <a:lvl1pPr>
              <a:defRPr sz="4000">
                <a:solidFill>
                  <a:schemeClr val="tx1"/>
                </a:solidFill>
              </a:defRPr>
            </a:lvl1pPr>
          </a:lstStyle>
          <a:p>
            <a:r>
              <a:rPr lang="en-US"/>
              <a:t>Click to edit Master title style</a:t>
            </a:r>
            <a:endParaRPr lang="en-GB" dirty="0"/>
          </a:p>
        </p:txBody>
      </p:sp>
      <p:pic>
        <p:nvPicPr>
          <p:cNvPr id="4" name="Logo">
            <a:extLst>
              <a:ext uri="{FF2B5EF4-FFF2-40B4-BE49-F238E27FC236}">
                <a16:creationId xmlns:a16="http://schemas.microsoft.com/office/drawing/2014/main" id="{8E8AD914-0C21-90CD-ED7A-DD6881D6C8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71388" y="684213"/>
            <a:ext cx="1232421" cy="518400"/>
          </a:xfrm>
          <a:prstGeom prst="rect">
            <a:avLst/>
          </a:prstGeom>
        </p:spPr>
      </p:pic>
    </p:spTree>
    <p:extLst>
      <p:ext uri="{BB962C8B-B14F-4D97-AF65-F5344CB8AC3E}">
        <p14:creationId xmlns:p14="http://schemas.microsoft.com/office/powerpoint/2010/main" val="1882297893"/>
      </p:ext>
    </p:extLst>
  </p:cSld>
  <p:clrMapOvr>
    <a:overrideClrMapping bg1="dk1" tx1="lt1" bg2="dk2" tx2="lt2" accent1="accent1" accent2="accent2" accent3="accent3" accent4="accent4" accent5="accent5" accent6="accent6" hlink="hlink" folHlink="folHlink"/>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p:cSld name="Divider with message container">
    <p:bg>
      <p:bgRef idx="1001">
        <a:schemeClr val="bg2"/>
      </p:bgRef>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BF2C6C35-F716-BA99-3DF4-BED7E07AAA5F}"/>
              </a:ext>
            </a:extLst>
          </p:cNvPr>
          <p:cNvSpPr>
            <a:spLocks noGrp="1"/>
          </p:cNvSpPr>
          <p:nvPr>
            <p:ph type="title"/>
          </p:nvPr>
        </p:nvSpPr>
        <p:spPr>
          <a:xfrm>
            <a:off x="2584800" y="2430000"/>
            <a:ext cx="4320000" cy="1594622"/>
          </a:xfrm>
          <a:solidFill>
            <a:srgbClr val="3F9C35"/>
          </a:solidFill>
        </p:spPr>
        <p:txBody>
          <a:bodyPr lIns="180000" tIns="180000" rIns="180000" bIns="180000"/>
          <a:lstStyle>
            <a:lvl1pPr>
              <a:defRPr sz="4000">
                <a:solidFill>
                  <a:schemeClr val="tx1"/>
                </a:solidFill>
              </a:defRPr>
            </a:lvl1pPr>
          </a:lstStyle>
          <a:p>
            <a:r>
              <a:rPr lang="en-US"/>
              <a:t>Click to edit Master title style</a:t>
            </a:r>
            <a:endParaRPr lang="en-GB" dirty="0"/>
          </a:p>
        </p:txBody>
      </p:sp>
    </p:spTree>
    <p:extLst>
      <p:ext uri="{BB962C8B-B14F-4D97-AF65-F5344CB8AC3E}">
        <p14:creationId xmlns:p14="http://schemas.microsoft.com/office/powerpoint/2010/main" val="3729133684"/>
      </p:ext>
    </p:extLst>
  </p:cSld>
  <p:clrMapOvr>
    <a:overrideClrMapping bg1="dk1" tx1="lt1" bg2="dk2" tx2="lt2" accent1="accent1" accent2="accent2" accent3="accent3" accent4="accent4" accent5="accent5" accent6="accent6" hlink="hlink" folHlink="folHlink"/>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Agenda">
    <p:bg>
      <p:bgPr>
        <a:solidFill>
          <a:srgbClr val="FFFFFF"/>
        </a:solidFill>
        <a:effectLst/>
      </p:bgPr>
    </p:bg>
    <p:spTree>
      <p:nvGrpSpPr>
        <p:cNvPr id="1" name=""/>
        <p:cNvGrpSpPr/>
        <p:nvPr/>
      </p:nvGrpSpPr>
      <p:grpSpPr>
        <a:xfrm>
          <a:off x="0" y="0"/>
          <a:ext cx="0" cy="0"/>
          <a:chOff x="0" y="0"/>
          <a:chExt cx="0" cy="0"/>
        </a:xfrm>
      </p:grpSpPr>
      <p:sp>
        <p:nvSpPr>
          <p:cNvPr id="6" name="PoP">
            <a:extLst>
              <a:ext uri="{FF2B5EF4-FFF2-40B4-BE49-F238E27FC236}">
                <a16:creationId xmlns:a16="http://schemas.microsoft.com/office/drawing/2014/main" id="{6A260666-167B-4F5E-1C62-BA6D1533D711}"/>
              </a:ext>
            </a:extLst>
          </p:cNvPr>
          <p:cNvSpPr/>
          <p:nvPr>
            <p:custDataLst>
              <p:tags r:id="rId1"/>
            </p:custDataLst>
          </p:nvPr>
        </p:nvSpPr>
        <p:spPr>
          <a:xfrm>
            <a:off x="-1200" y="0"/>
            <a:ext cx="12193200" cy="6858000"/>
          </a:xfrm>
          <a:custGeom>
            <a:avLst/>
            <a:gdLst>
              <a:gd name="connsiteX0" fmla="*/ 1148287 w 12193200"/>
              <a:gd name="connsiteY0" fmla="*/ 2128273 h 6858000"/>
              <a:gd name="connsiteX1" fmla="*/ 1148287 w 12193200"/>
              <a:gd name="connsiteY1" fmla="*/ 2364952 h 6858000"/>
              <a:gd name="connsiteX2" fmla="*/ 1249720 w 12193200"/>
              <a:gd name="connsiteY2" fmla="*/ 2364952 h 6858000"/>
              <a:gd name="connsiteX3" fmla="*/ 1249720 w 12193200"/>
              <a:gd name="connsiteY3" fmla="*/ 2128273 h 6858000"/>
              <a:gd name="connsiteX4" fmla="*/ 2959359 w 12193200"/>
              <a:gd name="connsiteY4" fmla="*/ 1419521 h 6858000"/>
              <a:gd name="connsiteX5" fmla="*/ 2959359 w 12193200"/>
              <a:gd name="connsiteY5" fmla="*/ 1656317 h 6858000"/>
              <a:gd name="connsiteX6" fmla="*/ 3060792 w 12193200"/>
              <a:gd name="connsiteY6" fmla="*/ 1656317 h 6858000"/>
              <a:gd name="connsiteX7" fmla="*/ 3060792 w 12193200"/>
              <a:gd name="connsiteY7" fmla="*/ 1419521 h 6858000"/>
              <a:gd name="connsiteX8" fmla="*/ 1694416 w 12193200"/>
              <a:gd name="connsiteY8" fmla="*/ 1418235 h 6858000"/>
              <a:gd name="connsiteX9" fmla="*/ 1874821 w 12193200"/>
              <a:gd name="connsiteY9" fmla="*/ 1418235 h 6858000"/>
              <a:gd name="connsiteX10" fmla="*/ 1874821 w 12193200"/>
              <a:gd name="connsiteY10" fmla="*/ 1655031 h 6858000"/>
              <a:gd name="connsiteX11" fmla="*/ 1694416 w 12193200"/>
              <a:gd name="connsiteY11" fmla="*/ 1655031 h 6858000"/>
              <a:gd name="connsiteX12" fmla="*/ 3397151 w 12193200"/>
              <a:gd name="connsiteY12" fmla="*/ 1181438 h 6858000"/>
              <a:gd name="connsiteX13" fmla="*/ 3397151 w 12193200"/>
              <a:gd name="connsiteY13" fmla="*/ 1181672 h 6858000"/>
              <a:gd name="connsiteX14" fmla="*/ 3396917 w 12193200"/>
              <a:gd name="connsiteY14" fmla="*/ 1182023 h 6858000"/>
              <a:gd name="connsiteX15" fmla="*/ 3396917 w 12193200"/>
              <a:gd name="connsiteY15" fmla="*/ 1419521 h 6858000"/>
              <a:gd name="connsiteX16" fmla="*/ 3497532 w 12193200"/>
              <a:gd name="connsiteY16" fmla="*/ 1419521 h 6858000"/>
              <a:gd name="connsiteX17" fmla="*/ 3497532 w 12193200"/>
              <a:gd name="connsiteY17" fmla="*/ 1181438 h 6858000"/>
              <a:gd name="connsiteX18" fmla="*/ 3997448 w 12193200"/>
              <a:gd name="connsiteY18" fmla="*/ 1181320 h 6858000"/>
              <a:gd name="connsiteX19" fmla="*/ 3997448 w 12193200"/>
              <a:gd name="connsiteY19" fmla="*/ 1418117 h 6858000"/>
              <a:gd name="connsiteX20" fmla="*/ 4177853 w 12193200"/>
              <a:gd name="connsiteY20" fmla="*/ 1418117 h 6858000"/>
              <a:gd name="connsiteX21" fmla="*/ 4177853 w 12193200"/>
              <a:gd name="connsiteY21" fmla="*/ 1181320 h 6858000"/>
              <a:gd name="connsiteX22" fmla="*/ 5869826 w 12193200"/>
              <a:gd name="connsiteY22" fmla="*/ 470580 h 6858000"/>
              <a:gd name="connsiteX23" fmla="*/ 5869826 w 12193200"/>
              <a:gd name="connsiteY23" fmla="*/ 707377 h 6858000"/>
              <a:gd name="connsiteX24" fmla="*/ 5971259 w 12193200"/>
              <a:gd name="connsiteY24" fmla="*/ 707377 h 6858000"/>
              <a:gd name="connsiteX25" fmla="*/ 5971259 w 12193200"/>
              <a:gd name="connsiteY25" fmla="*/ 470580 h 6858000"/>
              <a:gd name="connsiteX26" fmla="*/ 4750308 w 12193200"/>
              <a:gd name="connsiteY26" fmla="*/ 234369 h 6858000"/>
              <a:gd name="connsiteX27" fmla="*/ 5201320 w 12193200"/>
              <a:gd name="connsiteY27" fmla="*/ 234369 h 6858000"/>
              <a:gd name="connsiteX28" fmla="*/ 5201320 w 12193200"/>
              <a:gd name="connsiteY28" fmla="*/ 471165 h 6858000"/>
              <a:gd name="connsiteX29" fmla="*/ 4750308 w 12193200"/>
              <a:gd name="connsiteY29" fmla="*/ 471165 h 6858000"/>
              <a:gd name="connsiteX30" fmla="*/ 4468468 w 12193200"/>
              <a:gd name="connsiteY30" fmla="*/ 234369 h 6858000"/>
              <a:gd name="connsiteX31" fmla="*/ 4648874 w 12193200"/>
              <a:gd name="connsiteY31" fmla="*/ 234369 h 6858000"/>
              <a:gd name="connsiteX32" fmla="*/ 4648874 w 12193200"/>
              <a:gd name="connsiteY32" fmla="*/ 471165 h 6858000"/>
              <a:gd name="connsiteX33" fmla="*/ 4468468 w 12193200"/>
              <a:gd name="connsiteY33" fmla="*/ 471165 h 6858000"/>
              <a:gd name="connsiteX34" fmla="*/ 6042859 w 12193200"/>
              <a:gd name="connsiteY34" fmla="*/ 0 h 6858000"/>
              <a:gd name="connsiteX35" fmla="*/ 7423510 w 12193200"/>
              <a:gd name="connsiteY35" fmla="*/ 0 h 6858000"/>
              <a:gd name="connsiteX36" fmla="*/ 7423510 w 12193200"/>
              <a:gd name="connsiteY36" fmla="*/ 234369 h 6858000"/>
              <a:gd name="connsiteX37" fmla="*/ 7524943 w 12193200"/>
              <a:gd name="connsiteY37" fmla="*/ 234369 h 6858000"/>
              <a:gd name="connsiteX38" fmla="*/ 7524943 w 12193200"/>
              <a:gd name="connsiteY38" fmla="*/ 0 h 6858000"/>
              <a:gd name="connsiteX39" fmla="*/ 12193200 w 12193200"/>
              <a:gd name="connsiteY39" fmla="*/ 0 h 6858000"/>
              <a:gd name="connsiteX40" fmla="*/ 12193200 w 12193200"/>
              <a:gd name="connsiteY40" fmla="*/ 6858000 h 6858000"/>
              <a:gd name="connsiteX41" fmla="*/ 0 w 12193200"/>
              <a:gd name="connsiteY41" fmla="*/ 6858000 h 6858000"/>
              <a:gd name="connsiteX42" fmla="*/ 0 w 12193200"/>
              <a:gd name="connsiteY42" fmla="*/ 2364601 h 6858000"/>
              <a:gd name="connsiteX43" fmla="*/ 133594 w 12193200"/>
              <a:gd name="connsiteY43" fmla="*/ 2364601 h 6858000"/>
              <a:gd name="connsiteX44" fmla="*/ 133594 w 12193200"/>
              <a:gd name="connsiteY44" fmla="*/ 2127805 h 6858000"/>
              <a:gd name="connsiteX45" fmla="*/ 231284 w 12193200"/>
              <a:gd name="connsiteY45" fmla="*/ 2127805 h 6858000"/>
              <a:gd name="connsiteX46" fmla="*/ 231284 w 12193200"/>
              <a:gd name="connsiteY46" fmla="*/ 2364601 h 6858000"/>
              <a:gd name="connsiteX47" fmla="*/ 415668 w 12193200"/>
              <a:gd name="connsiteY47" fmla="*/ 2364601 h 6858000"/>
              <a:gd name="connsiteX48" fmla="*/ 415668 w 12193200"/>
              <a:gd name="connsiteY48" fmla="*/ 2601046 h 6858000"/>
              <a:gd name="connsiteX49" fmla="*/ 517102 w 12193200"/>
              <a:gd name="connsiteY49" fmla="*/ 2601046 h 6858000"/>
              <a:gd name="connsiteX50" fmla="*/ 517102 w 12193200"/>
              <a:gd name="connsiteY50" fmla="*/ 2364601 h 6858000"/>
              <a:gd name="connsiteX51" fmla="*/ 697507 w 12193200"/>
              <a:gd name="connsiteY51" fmla="*/ 2364601 h 6858000"/>
              <a:gd name="connsiteX52" fmla="*/ 697507 w 12193200"/>
              <a:gd name="connsiteY52" fmla="*/ 2127921 h 6858000"/>
              <a:gd name="connsiteX53" fmla="*/ 517102 w 12193200"/>
              <a:gd name="connsiteY53" fmla="*/ 2127921 h 6858000"/>
              <a:gd name="connsiteX54" fmla="*/ 517102 w 12193200"/>
              <a:gd name="connsiteY54" fmla="*/ 1891125 h 6858000"/>
              <a:gd name="connsiteX55" fmla="*/ 1353611 w 12193200"/>
              <a:gd name="connsiteY55" fmla="*/ 1891125 h 6858000"/>
              <a:gd name="connsiteX56" fmla="*/ 1353611 w 12193200"/>
              <a:gd name="connsiteY56" fmla="*/ 1655031 h 6858000"/>
              <a:gd name="connsiteX57" fmla="*/ 1694416 w 12193200"/>
              <a:gd name="connsiteY57" fmla="*/ 1655031 h 6858000"/>
              <a:gd name="connsiteX58" fmla="*/ 1694416 w 12193200"/>
              <a:gd name="connsiteY58" fmla="*/ 1891360 h 6858000"/>
              <a:gd name="connsiteX59" fmla="*/ 1976255 w 12193200"/>
              <a:gd name="connsiteY59" fmla="*/ 1891360 h 6858000"/>
              <a:gd name="connsiteX60" fmla="*/ 1976255 w 12193200"/>
              <a:gd name="connsiteY60" fmla="*/ 1418235 h 6858000"/>
              <a:gd name="connsiteX61" fmla="*/ 2427268 w 12193200"/>
              <a:gd name="connsiteY61" fmla="*/ 1418235 h 6858000"/>
              <a:gd name="connsiteX62" fmla="*/ 2523204 w 12193200"/>
              <a:gd name="connsiteY62" fmla="*/ 1418235 h 6858000"/>
              <a:gd name="connsiteX63" fmla="*/ 2523204 w 12193200"/>
              <a:gd name="connsiteY63" fmla="*/ 1180970 h 6858000"/>
              <a:gd name="connsiteX64" fmla="*/ 2940171 w 12193200"/>
              <a:gd name="connsiteY64" fmla="*/ 1180970 h 6858000"/>
              <a:gd name="connsiteX65" fmla="*/ 2940171 w 12193200"/>
              <a:gd name="connsiteY65" fmla="*/ 944174 h 6858000"/>
              <a:gd name="connsiteX66" fmla="*/ 3126426 w 12193200"/>
              <a:gd name="connsiteY66" fmla="*/ 944174 h 6858000"/>
              <a:gd name="connsiteX67" fmla="*/ 3126426 w 12193200"/>
              <a:gd name="connsiteY67" fmla="*/ 706909 h 6858000"/>
              <a:gd name="connsiteX68" fmla="*/ 3227977 w 12193200"/>
              <a:gd name="connsiteY68" fmla="*/ 706909 h 6858000"/>
              <a:gd name="connsiteX69" fmla="*/ 3227977 w 12193200"/>
              <a:gd name="connsiteY69" fmla="*/ 944174 h 6858000"/>
              <a:gd name="connsiteX70" fmla="*/ 3677938 w 12193200"/>
              <a:gd name="connsiteY70" fmla="*/ 944174 h 6858000"/>
              <a:gd name="connsiteX71" fmla="*/ 3677938 w 12193200"/>
              <a:gd name="connsiteY71" fmla="*/ 1180970 h 6858000"/>
              <a:gd name="connsiteX72" fmla="*/ 3778553 w 12193200"/>
              <a:gd name="connsiteY72" fmla="*/ 1180970 h 6858000"/>
              <a:gd name="connsiteX73" fmla="*/ 3778553 w 12193200"/>
              <a:gd name="connsiteY73" fmla="*/ 944174 h 6858000"/>
              <a:gd name="connsiteX74" fmla="*/ 3987855 w 12193200"/>
              <a:gd name="connsiteY74" fmla="*/ 944174 h 6858000"/>
              <a:gd name="connsiteX75" fmla="*/ 3987855 w 12193200"/>
              <a:gd name="connsiteY75" fmla="*/ 706909 h 6858000"/>
              <a:gd name="connsiteX76" fmla="*/ 4569902 w 12193200"/>
              <a:gd name="connsiteY76" fmla="*/ 706909 h 6858000"/>
              <a:gd name="connsiteX77" fmla="*/ 4569902 w 12193200"/>
              <a:gd name="connsiteY77" fmla="*/ 944174 h 6858000"/>
              <a:gd name="connsiteX78" fmla="*/ 5039400 w 12193200"/>
              <a:gd name="connsiteY78" fmla="*/ 944174 h 6858000"/>
              <a:gd name="connsiteX79" fmla="*/ 5039400 w 12193200"/>
              <a:gd name="connsiteY79" fmla="*/ 707377 h 6858000"/>
              <a:gd name="connsiteX80" fmla="*/ 5496262 w 12193200"/>
              <a:gd name="connsiteY80" fmla="*/ 707377 h 6858000"/>
              <a:gd name="connsiteX81" fmla="*/ 5496262 w 12193200"/>
              <a:gd name="connsiteY81" fmla="*/ 470580 h 6858000"/>
              <a:gd name="connsiteX82" fmla="*/ 5302755 w 12193200"/>
              <a:gd name="connsiteY82" fmla="*/ 470580 h 6858000"/>
              <a:gd name="connsiteX83" fmla="*/ 5302755 w 12193200"/>
              <a:gd name="connsiteY83" fmla="*/ 233784 h 6858000"/>
              <a:gd name="connsiteX84" fmla="*/ 6042859 w 12193200"/>
              <a:gd name="connsiteY84" fmla="*/ 2337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193200" h="6858000">
                <a:moveTo>
                  <a:pt x="1148287" y="2128273"/>
                </a:moveTo>
                <a:lnTo>
                  <a:pt x="1148287" y="2364952"/>
                </a:lnTo>
                <a:lnTo>
                  <a:pt x="1249720" y="2364952"/>
                </a:lnTo>
                <a:lnTo>
                  <a:pt x="1249720" y="2128273"/>
                </a:lnTo>
                <a:close/>
                <a:moveTo>
                  <a:pt x="2959359" y="1419521"/>
                </a:moveTo>
                <a:lnTo>
                  <a:pt x="2959359" y="1656317"/>
                </a:lnTo>
                <a:lnTo>
                  <a:pt x="3060792" y="1656317"/>
                </a:lnTo>
                <a:lnTo>
                  <a:pt x="3060792" y="1419521"/>
                </a:lnTo>
                <a:close/>
                <a:moveTo>
                  <a:pt x="1694416" y="1418235"/>
                </a:moveTo>
                <a:lnTo>
                  <a:pt x="1874821" y="1418235"/>
                </a:lnTo>
                <a:lnTo>
                  <a:pt x="1874821" y="1655031"/>
                </a:lnTo>
                <a:lnTo>
                  <a:pt x="1694416" y="1655031"/>
                </a:lnTo>
                <a:close/>
                <a:moveTo>
                  <a:pt x="3397151" y="1181438"/>
                </a:moveTo>
                <a:lnTo>
                  <a:pt x="3397151" y="1181672"/>
                </a:lnTo>
                <a:cubicBezTo>
                  <a:pt x="3397151" y="1181672"/>
                  <a:pt x="3396917" y="1182023"/>
                  <a:pt x="3396917" y="1182023"/>
                </a:cubicBezTo>
                <a:lnTo>
                  <a:pt x="3396917" y="1419521"/>
                </a:lnTo>
                <a:lnTo>
                  <a:pt x="3497532" y="1419521"/>
                </a:lnTo>
                <a:lnTo>
                  <a:pt x="3497532" y="1181438"/>
                </a:lnTo>
                <a:close/>
                <a:moveTo>
                  <a:pt x="3997448" y="1181320"/>
                </a:moveTo>
                <a:lnTo>
                  <a:pt x="3997448" y="1418117"/>
                </a:lnTo>
                <a:lnTo>
                  <a:pt x="4177853" y="1418117"/>
                </a:lnTo>
                <a:lnTo>
                  <a:pt x="4177853" y="1181320"/>
                </a:lnTo>
                <a:close/>
                <a:moveTo>
                  <a:pt x="5869826" y="470580"/>
                </a:moveTo>
                <a:lnTo>
                  <a:pt x="5869826" y="707377"/>
                </a:lnTo>
                <a:lnTo>
                  <a:pt x="5971259" y="707377"/>
                </a:lnTo>
                <a:lnTo>
                  <a:pt x="5971259" y="470580"/>
                </a:lnTo>
                <a:close/>
                <a:moveTo>
                  <a:pt x="4750308" y="234369"/>
                </a:moveTo>
                <a:lnTo>
                  <a:pt x="5201320" y="234369"/>
                </a:lnTo>
                <a:lnTo>
                  <a:pt x="5201320" y="471165"/>
                </a:lnTo>
                <a:lnTo>
                  <a:pt x="4750308" y="471165"/>
                </a:lnTo>
                <a:close/>
                <a:moveTo>
                  <a:pt x="4468468" y="234369"/>
                </a:moveTo>
                <a:lnTo>
                  <a:pt x="4648874" y="234369"/>
                </a:lnTo>
                <a:lnTo>
                  <a:pt x="4648874" y="471165"/>
                </a:lnTo>
                <a:lnTo>
                  <a:pt x="4468468" y="471165"/>
                </a:lnTo>
                <a:close/>
                <a:moveTo>
                  <a:pt x="6042859" y="0"/>
                </a:moveTo>
                <a:lnTo>
                  <a:pt x="7423510" y="0"/>
                </a:lnTo>
                <a:lnTo>
                  <a:pt x="7423510" y="234369"/>
                </a:lnTo>
                <a:lnTo>
                  <a:pt x="7524943" y="234369"/>
                </a:lnTo>
                <a:lnTo>
                  <a:pt x="7524943" y="0"/>
                </a:lnTo>
                <a:lnTo>
                  <a:pt x="12193200" y="0"/>
                </a:lnTo>
                <a:lnTo>
                  <a:pt x="12193200" y="6858000"/>
                </a:lnTo>
                <a:lnTo>
                  <a:pt x="0" y="6858000"/>
                </a:lnTo>
                <a:lnTo>
                  <a:pt x="0" y="2364601"/>
                </a:lnTo>
                <a:lnTo>
                  <a:pt x="133594" y="2364601"/>
                </a:lnTo>
                <a:lnTo>
                  <a:pt x="133594" y="2127805"/>
                </a:lnTo>
                <a:lnTo>
                  <a:pt x="231284" y="2127805"/>
                </a:lnTo>
                <a:lnTo>
                  <a:pt x="231284" y="2364601"/>
                </a:lnTo>
                <a:lnTo>
                  <a:pt x="415668" y="2364601"/>
                </a:lnTo>
                <a:lnTo>
                  <a:pt x="415668" y="2601046"/>
                </a:lnTo>
                <a:lnTo>
                  <a:pt x="517102" y="2601046"/>
                </a:lnTo>
                <a:lnTo>
                  <a:pt x="517102" y="2364601"/>
                </a:lnTo>
                <a:lnTo>
                  <a:pt x="697507" y="2364601"/>
                </a:lnTo>
                <a:lnTo>
                  <a:pt x="697507" y="2127921"/>
                </a:lnTo>
                <a:lnTo>
                  <a:pt x="517102" y="2127921"/>
                </a:lnTo>
                <a:lnTo>
                  <a:pt x="517102" y="1891125"/>
                </a:lnTo>
                <a:lnTo>
                  <a:pt x="1353611" y="1891125"/>
                </a:lnTo>
                <a:lnTo>
                  <a:pt x="1353611" y="1655031"/>
                </a:lnTo>
                <a:lnTo>
                  <a:pt x="1694416" y="1655031"/>
                </a:lnTo>
                <a:lnTo>
                  <a:pt x="1694416" y="1891360"/>
                </a:lnTo>
                <a:lnTo>
                  <a:pt x="1976255" y="1891360"/>
                </a:lnTo>
                <a:lnTo>
                  <a:pt x="1976255" y="1418235"/>
                </a:lnTo>
                <a:cubicBezTo>
                  <a:pt x="1976255" y="1418235"/>
                  <a:pt x="2427268" y="1418235"/>
                  <a:pt x="2427268" y="1418235"/>
                </a:cubicBezTo>
                <a:lnTo>
                  <a:pt x="2523204" y="1418235"/>
                </a:lnTo>
                <a:lnTo>
                  <a:pt x="2523204" y="1180970"/>
                </a:lnTo>
                <a:lnTo>
                  <a:pt x="2940171" y="1180970"/>
                </a:lnTo>
                <a:lnTo>
                  <a:pt x="2940171" y="944174"/>
                </a:lnTo>
                <a:lnTo>
                  <a:pt x="3126426" y="944174"/>
                </a:lnTo>
                <a:lnTo>
                  <a:pt x="3126426" y="706909"/>
                </a:lnTo>
                <a:lnTo>
                  <a:pt x="3227977" y="706909"/>
                </a:lnTo>
                <a:lnTo>
                  <a:pt x="3227977" y="944174"/>
                </a:lnTo>
                <a:lnTo>
                  <a:pt x="3677938" y="944174"/>
                </a:lnTo>
                <a:lnTo>
                  <a:pt x="3677938" y="1180970"/>
                </a:lnTo>
                <a:lnTo>
                  <a:pt x="3778553" y="1180970"/>
                </a:lnTo>
                <a:lnTo>
                  <a:pt x="3778553" y="944174"/>
                </a:lnTo>
                <a:lnTo>
                  <a:pt x="3987855" y="944174"/>
                </a:lnTo>
                <a:lnTo>
                  <a:pt x="3987855" y="706909"/>
                </a:lnTo>
                <a:lnTo>
                  <a:pt x="4569902" y="706909"/>
                </a:lnTo>
                <a:lnTo>
                  <a:pt x="4569902" y="944174"/>
                </a:lnTo>
                <a:lnTo>
                  <a:pt x="5039400" y="944174"/>
                </a:lnTo>
                <a:lnTo>
                  <a:pt x="5039400" y="707377"/>
                </a:lnTo>
                <a:lnTo>
                  <a:pt x="5496262" y="707377"/>
                </a:lnTo>
                <a:lnTo>
                  <a:pt x="5496262" y="470580"/>
                </a:lnTo>
                <a:lnTo>
                  <a:pt x="5302755" y="470580"/>
                </a:lnTo>
                <a:lnTo>
                  <a:pt x="5302755" y="233784"/>
                </a:lnTo>
                <a:lnTo>
                  <a:pt x="6042859" y="233784"/>
                </a:lnTo>
                <a:close/>
              </a:path>
            </a:pathLst>
          </a:custGeom>
          <a:solidFill>
            <a:srgbClr val="00153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38338FB2-C183-D6B7-9264-764B51F4094F}"/>
              </a:ext>
            </a:extLst>
          </p:cNvPr>
          <p:cNvSpPr>
            <a:spLocks noGrp="1"/>
          </p:cNvSpPr>
          <p:nvPr>
            <p:ph type="title"/>
          </p:nvPr>
        </p:nvSpPr>
        <p:spPr>
          <a:xfrm>
            <a:off x="5310000" y="1170000"/>
            <a:ext cx="6120000" cy="553998"/>
          </a:xfrm>
        </p:spPr>
        <p:txBody>
          <a:bodyPr/>
          <a:lstStyle>
            <a:lvl1pPr>
              <a:defRPr>
                <a:solidFill>
                  <a:schemeClr val="tx1"/>
                </a:solidFill>
              </a:defRPr>
            </a:lvl1pPr>
          </a:lstStyle>
          <a:p>
            <a:r>
              <a:rPr lang="en-US"/>
              <a:t>Click to edit Master title style</a:t>
            </a:r>
            <a:endParaRPr lang="en-GB" dirty="0"/>
          </a:p>
        </p:txBody>
      </p:sp>
      <p:pic>
        <p:nvPicPr>
          <p:cNvPr id="4" name="Logo">
            <a:extLst>
              <a:ext uri="{FF2B5EF4-FFF2-40B4-BE49-F238E27FC236}">
                <a16:creationId xmlns:a16="http://schemas.microsoft.com/office/drawing/2014/main" id="{FB6DC4FA-7505-2CC7-2D58-B7400C88BFB8}"/>
              </a:ext>
            </a:extLst>
          </p:cNvPr>
          <p:cNvPicPr>
            <a:picLocks/>
          </p:cNvPicPr>
          <p:nvPr>
            <p:custDataLst>
              <p:tags r:id="rId2"/>
            </p:custDataLst>
          </p:nvPr>
        </p:nvPicPr>
        <p:blipFill rotWithShape="1">
          <a:blip r:embed="rId4">
            <a:extLst>
              <a:ext uri="{96DAC541-7B7A-43D3-8B79-37D633B846F1}">
                <asvg:svgBlip xmlns:asvg="http://schemas.microsoft.com/office/drawing/2016/SVG/main" r:embed="rId5"/>
              </a:ext>
            </a:extLst>
          </a:blip>
          <a:srcRect t="80" b="80"/>
          <a:stretch/>
        </p:blipFill>
        <p:spPr bwMode="black">
          <a:xfrm>
            <a:off x="10866053" y="278965"/>
            <a:ext cx="900000" cy="378445"/>
          </a:xfrm>
          <a:prstGeom prst="rect">
            <a:avLst/>
          </a:prstGeom>
        </p:spPr>
      </p:pic>
    </p:spTree>
    <p:extLst>
      <p:ext uri="{BB962C8B-B14F-4D97-AF65-F5344CB8AC3E}">
        <p14:creationId xmlns:p14="http://schemas.microsoft.com/office/powerpoint/2010/main" val="509567084"/>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F101B-7377-DB9B-D995-1FBA7C2022C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DE1403-9C3D-5E3E-BAD8-8F2816C1EA3C}"/>
              </a:ext>
            </a:extLst>
          </p:cNvPr>
          <p:cNvSpPr>
            <a:spLocks noGrp="1"/>
          </p:cNvSpPr>
          <p:nvPr>
            <p:ph sz="half" idx="1"/>
          </p:nvPr>
        </p:nvSpPr>
        <p:spPr>
          <a:xfrm>
            <a:off x="785814" y="1898649"/>
            <a:ext cx="5219700" cy="43195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2001550-8496-84A3-0440-94C51AFF3FE2}"/>
              </a:ext>
            </a:extLst>
          </p:cNvPr>
          <p:cNvSpPr>
            <a:spLocks noGrp="1"/>
          </p:cNvSpPr>
          <p:nvPr>
            <p:ph sz="half" idx="2"/>
          </p:nvPr>
        </p:nvSpPr>
        <p:spPr>
          <a:xfrm>
            <a:off x="6186488" y="1898649"/>
            <a:ext cx="5219700" cy="43195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a:extLst>
              <a:ext uri="{FF2B5EF4-FFF2-40B4-BE49-F238E27FC236}">
                <a16:creationId xmlns:a16="http://schemas.microsoft.com/office/drawing/2014/main" id="{1E3A6D44-08BF-C861-B641-5146D9459313}"/>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374062437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Agenda 2 column">
    <p:bg>
      <p:bgRef idx="1001">
        <a:schemeClr val="bg2"/>
      </p:bgRef>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0649393-5D04-B828-1511-35BF1AD5363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pic>
        <p:nvPicPr>
          <p:cNvPr id="3" name="Logo">
            <a:extLst>
              <a:ext uri="{FF2B5EF4-FFF2-40B4-BE49-F238E27FC236}">
                <a16:creationId xmlns:a16="http://schemas.microsoft.com/office/drawing/2014/main" id="{67B04317-F9B6-6F87-C265-5DAB4002DA06}"/>
              </a:ext>
            </a:extLst>
          </p:cNvPr>
          <p:cNvPicPr>
            <a:picLocks/>
          </p:cNvPicPr>
          <p:nvPr>
            <p:custDataLst>
              <p:tags r:id="rId1"/>
            </p:custDataLst>
          </p:nvPr>
        </p:nvPicPr>
        <p:blipFill rotWithShape="1">
          <a:blip r:embed="rId3">
            <a:extLst>
              <a:ext uri="{96DAC541-7B7A-43D3-8B79-37D633B846F1}">
                <asvg:svgBlip xmlns:asvg="http://schemas.microsoft.com/office/drawing/2016/SVG/main" r:embed="rId4"/>
              </a:ext>
            </a:extLst>
          </a:blip>
          <a:srcRect t="80" b="80"/>
          <a:stretch/>
        </p:blipFill>
        <p:spPr bwMode="black">
          <a:xfrm>
            <a:off x="10866053" y="278965"/>
            <a:ext cx="900000" cy="385227"/>
          </a:xfrm>
          <a:prstGeom prst="rect">
            <a:avLst/>
          </a:prstGeom>
        </p:spPr>
      </p:pic>
      <p:sp>
        <p:nvSpPr>
          <p:cNvPr id="2" name="Slide Number Placeholder 1">
            <a:extLst>
              <a:ext uri="{FF2B5EF4-FFF2-40B4-BE49-F238E27FC236}">
                <a16:creationId xmlns:a16="http://schemas.microsoft.com/office/drawing/2014/main" id="{7BF51731-8937-2351-EAC9-34B52DFDA39E}"/>
              </a:ext>
            </a:extLst>
          </p:cNvPr>
          <p:cNvSpPr>
            <a:spLocks noGrp="1"/>
          </p:cNvSpPr>
          <p:nvPr>
            <p:ph type="sldNum" sz="quarter" idx="10"/>
          </p:nvPr>
        </p:nvSpPr>
        <p:spPr/>
        <p:txBody>
          <a:bodyPr/>
          <a:lstStyle/>
          <a:p>
            <a:fld id="{6686A102-957E-47D3-A22D-E8508A8052D6}" type="slidenum">
              <a:rPr lang="en-GB" smtClean="0"/>
              <a:pPr/>
              <a:t>‹#›</a:t>
            </a:fld>
            <a:endParaRPr lang="en-GB" dirty="0"/>
          </a:p>
        </p:txBody>
      </p:sp>
    </p:spTree>
    <p:extLst>
      <p:ext uri="{BB962C8B-B14F-4D97-AF65-F5344CB8AC3E}">
        <p14:creationId xmlns:p14="http://schemas.microsoft.com/office/powerpoint/2010/main" val="4040490474"/>
      </p:ext>
    </p:extLst>
  </p:cSld>
  <p:clrMapOvr>
    <a:overrideClrMapping bg1="dk1" tx1="lt1" bg2="dk2" tx2="lt2" accent1="accent1" accent2="accent2" accent3="accent3" accent4="accent4" accent5="accent5" accent6="accent6" hlink="hlink" folHlink="folHlink"/>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p:cSld name="Introduction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8D93F-7746-7B38-F6CB-3BBB191843CC}"/>
              </a:ext>
            </a:extLst>
          </p:cNvPr>
          <p:cNvSpPr>
            <a:spLocks noGrp="1"/>
          </p:cNvSpPr>
          <p:nvPr>
            <p:ph type="title"/>
          </p:nvPr>
        </p:nvSpPr>
        <p:spPr>
          <a:xfrm>
            <a:off x="4410000" y="1170000"/>
            <a:ext cx="6996113" cy="553998"/>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EC47CF2A-56C1-F154-8DD1-03D084665FE9}"/>
              </a:ext>
            </a:extLst>
          </p:cNvPr>
          <p:cNvSpPr>
            <a:spLocks noGrp="1"/>
          </p:cNvSpPr>
          <p:nvPr>
            <p:ph type="body" sz="quarter" idx="25"/>
          </p:nvPr>
        </p:nvSpPr>
        <p:spPr>
          <a:xfrm>
            <a:off x="4410075" y="1898650"/>
            <a:ext cx="6996113" cy="3421063"/>
          </a:xfrm>
        </p:spPr>
        <p:txBody>
          <a:bodyPr numCol="1"/>
          <a:lstStyle>
            <a:lvl1pPr>
              <a:defRPr sz="1600">
                <a:solidFill>
                  <a:schemeClr val="tx1"/>
                </a:solidFill>
              </a:defRPr>
            </a:lvl1pPr>
            <a:lvl2pPr>
              <a:buClr>
                <a:schemeClr val="tx1"/>
              </a:buCl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Logo">
            <a:extLst>
              <a:ext uri="{FF2B5EF4-FFF2-40B4-BE49-F238E27FC236}">
                <a16:creationId xmlns:a16="http://schemas.microsoft.com/office/drawing/2014/main" id="{A7FBDCB7-2FDD-A3CA-BD6D-50A482160603}"/>
              </a:ext>
            </a:extLst>
          </p:cNvPr>
          <p:cNvPicPr>
            <a:picLocks/>
          </p:cNvPicPr>
          <p:nvPr>
            <p:custDataLst>
              <p:tags r:id="rId1"/>
            </p:custDataLst>
          </p:nvPr>
        </p:nvPicPr>
        <p:blipFill rotWithShape="1">
          <a:blip r:embed="rId3">
            <a:extLst>
              <a:ext uri="{96DAC541-7B7A-43D3-8B79-37D633B846F1}">
                <asvg:svgBlip xmlns:asvg="http://schemas.microsoft.com/office/drawing/2016/SVG/main" r:embed="rId4"/>
              </a:ext>
            </a:extLst>
          </a:blip>
          <a:srcRect t="80" b="80"/>
          <a:stretch/>
        </p:blipFill>
        <p:spPr bwMode="black">
          <a:xfrm>
            <a:off x="10866053" y="278965"/>
            <a:ext cx="900000" cy="385227"/>
          </a:xfrm>
          <a:prstGeom prst="rect">
            <a:avLst/>
          </a:prstGeom>
        </p:spPr>
      </p:pic>
    </p:spTree>
    <p:extLst>
      <p:ext uri="{BB962C8B-B14F-4D97-AF65-F5344CB8AC3E}">
        <p14:creationId xmlns:p14="http://schemas.microsoft.com/office/powerpoint/2010/main" val="1160983467"/>
      </p:ext>
    </p:extLst>
  </p:cSld>
  <p:clrMapOvr>
    <a:overrideClrMapping bg1="dk1" tx1="lt1" bg2="dk2" tx2="lt2" accent1="accent1" accent2="accent2" accent3="accent3" accent4="accent4" accent5="accent5" accent6="accent6" hlink="hlink" folHlink="folHlink"/>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p:cSld name=" Introduction slide 2">
    <p:bg>
      <p:bgRef idx="1001">
        <a:schemeClr val="bg2"/>
      </p:bgRef>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C47CF2A-56C1-F154-8DD1-03D084665FE9}"/>
              </a:ext>
            </a:extLst>
          </p:cNvPr>
          <p:cNvSpPr>
            <a:spLocks noGrp="1"/>
          </p:cNvSpPr>
          <p:nvPr>
            <p:ph type="body" sz="quarter" idx="25"/>
          </p:nvPr>
        </p:nvSpPr>
        <p:spPr>
          <a:xfrm>
            <a:off x="5286375" y="2592000"/>
            <a:ext cx="6119813" cy="1015200"/>
          </a:xfrm>
        </p:spPr>
        <p:txBody>
          <a:bodyPr numCol="1" anchor="ctr" anchorCtr="0">
            <a:noAutofit/>
          </a:bodyPr>
          <a:lstStyle>
            <a:lvl1pPr>
              <a:defRPr sz="6000">
                <a:solidFill>
                  <a:schemeClr val="tx1"/>
                </a:solidFill>
              </a:defRPr>
            </a:lvl1pPr>
            <a:lvl2pPr>
              <a:buClr>
                <a:schemeClr val="tx1"/>
              </a:buClr>
              <a:defRPr sz="6000">
                <a:solidFill>
                  <a:schemeClr val="tx1"/>
                </a:solidFill>
              </a:defRPr>
            </a:lvl2pPr>
            <a:lvl3pPr>
              <a:defRPr sz="6000">
                <a:solidFill>
                  <a:schemeClr val="tx1"/>
                </a:solidFill>
              </a:defRPr>
            </a:lvl3pPr>
            <a:lvl4pPr>
              <a:defRPr sz="6000">
                <a:solidFill>
                  <a:schemeClr val="tx1"/>
                </a:solidFill>
              </a:defRPr>
            </a:lvl4pPr>
            <a:lvl5pPr>
              <a:defRPr sz="6000">
                <a:solidFill>
                  <a:schemeClr val="tx1"/>
                </a:solidFill>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Logo">
            <a:extLst>
              <a:ext uri="{FF2B5EF4-FFF2-40B4-BE49-F238E27FC236}">
                <a16:creationId xmlns:a16="http://schemas.microsoft.com/office/drawing/2014/main" id="{A7FBDCB7-2FDD-A3CA-BD6D-50A482160603}"/>
              </a:ext>
            </a:extLst>
          </p:cNvPr>
          <p:cNvPicPr>
            <a:picLocks/>
          </p:cNvPicPr>
          <p:nvPr>
            <p:custDataLst>
              <p:tags r:id="rId1"/>
            </p:custDataLst>
          </p:nvPr>
        </p:nvPicPr>
        <p:blipFill rotWithShape="1">
          <a:blip r:embed="rId3">
            <a:extLst>
              <a:ext uri="{96DAC541-7B7A-43D3-8B79-37D633B846F1}">
                <asvg:svgBlip xmlns:asvg="http://schemas.microsoft.com/office/drawing/2016/SVG/main" r:embed="rId4"/>
              </a:ext>
            </a:extLst>
          </a:blip>
          <a:srcRect t="80" b="80"/>
          <a:stretch/>
        </p:blipFill>
        <p:spPr bwMode="black">
          <a:xfrm>
            <a:off x="10866053" y="278965"/>
            <a:ext cx="900000" cy="385227"/>
          </a:xfrm>
          <a:prstGeom prst="rect">
            <a:avLst/>
          </a:prstGeom>
        </p:spPr>
      </p:pic>
    </p:spTree>
    <p:extLst>
      <p:ext uri="{BB962C8B-B14F-4D97-AF65-F5344CB8AC3E}">
        <p14:creationId xmlns:p14="http://schemas.microsoft.com/office/powerpoint/2010/main" val="1711027554"/>
      </p:ext>
    </p:extLst>
  </p:cSld>
  <p:clrMapOvr>
    <a:overrideClrMapping bg1="dk1" tx1="lt1" bg2="dk2" tx2="lt2" accent1="accent1" accent2="accent2" accent3="accent3" accent4="accent4" accent5="accent5" accent6="accent6" hlink="hlink" folHlink="folHlink"/>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121D6-28C3-188B-B05C-8C9C1257723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777D4EA-6A18-7C68-D50C-B6C55258B8F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7F01C4D1-D39C-68C5-3163-C54A39F0A412}"/>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22850632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F101B-7377-DB9B-D995-1FBA7C2022C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DE1403-9C3D-5E3E-BAD8-8F2816C1EA3C}"/>
              </a:ext>
            </a:extLst>
          </p:cNvPr>
          <p:cNvSpPr>
            <a:spLocks noGrp="1"/>
          </p:cNvSpPr>
          <p:nvPr>
            <p:ph sz="half" idx="1"/>
          </p:nvPr>
        </p:nvSpPr>
        <p:spPr>
          <a:xfrm>
            <a:off x="785814" y="1898649"/>
            <a:ext cx="5219700" cy="43195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2001550-8496-84A3-0440-94C51AFF3FE2}"/>
              </a:ext>
            </a:extLst>
          </p:cNvPr>
          <p:cNvSpPr>
            <a:spLocks noGrp="1"/>
          </p:cNvSpPr>
          <p:nvPr>
            <p:ph sz="half" idx="2"/>
          </p:nvPr>
        </p:nvSpPr>
        <p:spPr>
          <a:xfrm>
            <a:off x="6186488" y="1898649"/>
            <a:ext cx="5219700" cy="43195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a:extLst>
              <a:ext uri="{FF2B5EF4-FFF2-40B4-BE49-F238E27FC236}">
                <a16:creationId xmlns:a16="http://schemas.microsoft.com/office/drawing/2014/main" id="{1E3A6D44-08BF-C861-B641-5146D9459313}"/>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94188857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18643208-BB47-68E5-7F6B-0F916B6269A3}"/>
              </a:ext>
            </a:extLst>
          </p:cNvPr>
          <p:cNvSpPr>
            <a:spLocks noGrp="1"/>
          </p:cNvSpPr>
          <p:nvPr>
            <p:ph type="title"/>
          </p:nvPr>
        </p:nvSpPr>
        <p:spPr>
          <a:xfrm>
            <a:off x="785813" y="694800"/>
            <a:ext cx="10620375" cy="553998"/>
          </a:xfrm>
        </p:spPr>
        <p:txBody>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19D9F6D4-037F-1A4F-4163-D691618F048E}"/>
              </a:ext>
            </a:extLst>
          </p:cNvPr>
          <p:cNvSpPr>
            <a:spLocks noGrp="1"/>
          </p:cNvSpPr>
          <p:nvPr>
            <p:ph type="body" idx="1"/>
          </p:nvPr>
        </p:nvSpPr>
        <p:spPr>
          <a:xfrm>
            <a:off x="785813" y="1898650"/>
            <a:ext cx="5219700" cy="381600"/>
          </a:xfrm>
        </p:spPr>
        <p:txBody>
          <a:bodyPr anchor="t" anchorCtr="0"/>
          <a:lstStyle>
            <a:lvl1pPr marL="0" indent="0">
              <a:buNone/>
              <a:defRPr sz="2000" b="1">
                <a:solidFill>
                  <a:schemeClr val="accent1"/>
                </a:solidFill>
              </a:defRPr>
            </a:lvl1pPr>
            <a:lvl2pPr marL="0" indent="0">
              <a:buNone/>
              <a:defRPr sz="2000" b="1">
                <a:solidFill>
                  <a:schemeClr val="accent2"/>
                </a:solidFill>
              </a:defRPr>
            </a:lvl2pPr>
            <a:lvl3pPr marL="0" indent="0">
              <a:buNone/>
              <a:defRPr sz="2000" b="1">
                <a:solidFill>
                  <a:schemeClr val="accent2"/>
                </a:solidFill>
              </a:defRPr>
            </a:lvl3pPr>
            <a:lvl4pPr marL="0" indent="0">
              <a:buNone/>
              <a:defRPr sz="2000" b="1">
                <a:solidFill>
                  <a:schemeClr val="accent2"/>
                </a:solidFill>
              </a:defRPr>
            </a:lvl4pPr>
            <a:lvl5pPr marL="0" indent="0">
              <a:buNone/>
              <a:defRPr sz="2000" b="1">
                <a:solidFill>
                  <a:schemeClr val="accent2"/>
                </a:solidFill>
              </a:defRPr>
            </a:lvl5pPr>
            <a:lvl6pPr marL="0" indent="0">
              <a:buNone/>
              <a:defRPr sz="2000" b="1">
                <a:solidFill>
                  <a:schemeClr val="accent2"/>
                </a:solidFill>
              </a:defRPr>
            </a:lvl6pPr>
            <a:lvl7pPr marL="0" indent="0">
              <a:buNone/>
              <a:defRPr sz="2000" b="1">
                <a:solidFill>
                  <a:schemeClr val="accent2"/>
                </a:solidFill>
              </a:defRPr>
            </a:lvl7pPr>
            <a:lvl8pPr marL="0" indent="0">
              <a:buNone/>
              <a:defRPr sz="2000" b="1">
                <a:solidFill>
                  <a:schemeClr val="accent2"/>
                </a:solidFill>
              </a:defRPr>
            </a:lvl8pPr>
            <a:lvl9pPr marL="0" indent="0">
              <a:buNone/>
              <a:defRPr sz="2000" b="1">
                <a:solidFill>
                  <a:schemeClr val="accent2"/>
                </a:solidFill>
              </a:defRPr>
            </a:lvl9pPr>
          </a:lstStyle>
          <a:p>
            <a:pPr lvl="0"/>
            <a:r>
              <a:rPr lang="en-US"/>
              <a:t>Click to edit Master text styles</a:t>
            </a:r>
          </a:p>
        </p:txBody>
      </p:sp>
      <p:sp>
        <p:nvSpPr>
          <p:cNvPr id="4" name="Content Placeholder 3">
            <a:extLst>
              <a:ext uri="{FF2B5EF4-FFF2-40B4-BE49-F238E27FC236}">
                <a16:creationId xmlns:a16="http://schemas.microsoft.com/office/drawing/2014/main" id="{C54A003B-4BED-813B-ECDA-6F525B485A1A}"/>
              </a:ext>
            </a:extLst>
          </p:cNvPr>
          <p:cNvSpPr>
            <a:spLocks noGrp="1"/>
          </p:cNvSpPr>
          <p:nvPr>
            <p:ph sz="half" idx="2"/>
          </p:nvPr>
        </p:nvSpPr>
        <p:spPr>
          <a:xfrm>
            <a:off x="785813" y="2280250"/>
            <a:ext cx="5219700" cy="3937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a:extLst>
              <a:ext uri="{FF2B5EF4-FFF2-40B4-BE49-F238E27FC236}">
                <a16:creationId xmlns:a16="http://schemas.microsoft.com/office/drawing/2014/main" id="{BEFCF32B-215B-684B-A1C6-1732962020B4}"/>
              </a:ext>
            </a:extLst>
          </p:cNvPr>
          <p:cNvSpPr>
            <a:spLocks noGrp="1"/>
          </p:cNvSpPr>
          <p:nvPr>
            <p:ph type="body" sz="quarter" idx="3"/>
          </p:nvPr>
        </p:nvSpPr>
        <p:spPr>
          <a:xfrm>
            <a:off x="6186488" y="1898650"/>
            <a:ext cx="5219700" cy="381600"/>
          </a:xfrm>
        </p:spPr>
        <p:txBody>
          <a:bodyPr anchor="t" anchorCtr="0"/>
          <a:lstStyle>
            <a:lvl1pPr marL="0" indent="0">
              <a:buNone/>
              <a:defRPr sz="2000" b="1">
                <a:solidFill>
                  <a:schemeClr val="accent1"/>
                </a:solidFill>
              </a:defRPr>
            </a:lvl1pPr>
            <a:lvl2pPr marL="0" indent="0">
              <a:buNone/>
              <a:defRPr sz="2000" b="1">
                <a:solidFill>
                  <a:schemeClr val="accent2"/>
                </a:solidFill>
              </a:defRPr>
            </a:lvl2pPr>
            <a:lvl3pPr marL="0" indent="0">
              <a:buNone/>
              <a:defRPr sz="2000" b="1">
                <a:solidFill>
                  <a:schemeClr val="accent2"/>
                </a:solidFill>
              </a:defRPr>
            </a:lvl3pPr>
            <a:lvl4pPr marL="0" indent="0">
              <a:buNone/>
              <a:defRPr sz="2000" b="1">
                <a:solidFill>
                  <a:schemeClr val="accent2"/>
                </a:solidFill>
              </a:defRPr>
            </a:lvl4pPr>
            <a:lvl5pPr marL="0" indent="0">
              <a:buNone/>
              <a:defRPr sz="2000" b="1">
                <a:solidFill>
                  <a:schemeClr val="accent2"/>
                </a:solidFill>
              </a:defRPr>
            </a:lvl5pPr>
            <a:lvl6pPr marL="0" indent="0">
              <a:buNone/>
              <a:defRPr sz="2000" b="1">
                <a:solidFill>
                  <a:schemeClr val="accent2"/>
                </a:solidFill>
              </a:defRPr>
            </a:lvl6pPr>
            <a:lvl7pPr marL="0" indent="0">
              <a:buNone/>
              <a:defRPr sz="2000" b="1">
                <a:solidFill>
                  <a:schemeClr val="accent2"/>
                </a:solidFill>
              </a:defRPr>
            </a:lvl7pPr>
            <a:lvl8pPr marL="0" indent="0">
              <a:buNone/>
              <a:defRPr sz="2000" b="1">
                <a:solidFill>
                  <a:schemeClr val="accent2"/>
                </a:solidFill>
              </a:defRPr>
            </a:lvl8pPr>
            <a:lvl9pPr marL="0" indent="0">
              <a:buNone/>
              <a:defRPr sz="2000" b="1">
                <a:solidFill>
                  <a:schemeClr val="accent2"/>
                </a:solidFill>
              </a:defRPr>
            </a:lvl9pPr>
          </a:lstStyle>
          <a:p>
            <a:pPr lvl="0"/>
            <a:r>
              <a:rPr lang="en-US"/>
              <a:t>Click to edit Master text styles</a:t>
            </a:r>
          </a:p>
        </p:txBody>
      </p:sp>
      <p:sp>
        <p:nvSpPr>
          <p:cNvPr id="6" name="Content Placeholder 5">
            <a:extLst>
              <a:ext uri="{FF2B5EF4-FFF2-40B4-BE49-F238E27FC236}">
                <a16:creationId xmlns:a16="http://schemas.microsoft.com/office/drawing/2014/main" id="{1724BB1C-35F4-76AB-34BD-883F4C92F9B4}"/>
              </a:ext>
            </a:extLst>
          </p:cNvPr>
          <p:cNvSpPr>
            <a:spLocks noGrp="1"/>
          </p:cNvSpPr>
          <p:nvPr>
            <p:ph sz="quarter" idx="4"/>
          </p:nvPr>
        </p:nvSpPr>
        <p:spPr>
          <a:xfrm>
            <a:off x="6186488" y="2280250"/>
            <a:ext cx="5219700" cy="3937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laceholder 8">
            <a:extLst>
              <a:ext uri="{FF2B5EF4-FFF2-40B4-BE49-F238E27FC236}">
                <a16:creationId xmlns:a16="http://schemas.microsoft.com/office/drawing/2014/main" id="{D4286FB3-827A-BAC0-BC90-7E5565AB6241}"/>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13992697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7792F-65E0-2F0E-A986-40F6AD8B1DD2}"/>
              </a:ext>
            </a:extLst>
          </p:cNvPr>
          <p:cNvSpPr>
            <a:spLocks noGrp="1"/>
          </p:cNvSpPr>
          <p:nvPr>
            <p:ph type="title"/>
          </p:nvPr>
        </p:nvSpPr>
        <p:spPr/>
        <p:txBody>
          <a:bodyPr/>
          <a:lstStyle/>
          <a:p>
            <a:r>
              <a:rPr lang="en-US"/>
              <a:t>Click to edit Master title style</a:t>
            </a:r>
            <a:endParaRPr lang="en-GB" dirty="0"/>
          </a:p>
        </p:txBody>
      </p:sp>
      <p:sp>
        <p:nvSpPr>
          <p:cNvPr id="5" name="Slide Number Placeholder 4">
            <a:extLst>
              <a:ext uri="{FF2B5EF4-FFF2-40B4-BE49-F238E27FC236}">
                <a16:creationId xmlns:a16="http://schemas.microsoft.com/office/drawing/2014/main" id="{86C65AE3-0C2B-E01A-62AC-907E10AF193E}"/>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318188487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72381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p:cSld name="Photo and text layout 1">
    <p:spTree>
      <p:nvGrpSpPr>
        <p:cNvPr id="1" name=""/>
        <p:cNvGrpSpPr/>
        <p:nvPr/>
      </p:nvGrpSpPr>
      <p:grpSpPr>
        <a:xfrm>
          <a:off x="0" y="0"/>
          <a:ext cx="0" cy="0"/>
          <a:chOff x="0" y="0"/>
          <a:chExt cx="0" cy="0"/>
        </a:xfrm>
      </p:grpSpPr>
      <p:sp>
        <p:nvSpPr>
          <p:cNvPr id="5" name="PoP">
            <a:extLst>
              <a:ext uri="{FF2B5EF4-FFF2-40B4-BE49-F238E27FC236}">
                <a16:creationId xmlns:a16="http://schemas.microsoft.com/office/drawing/2014/main" id="{E72A0725-2CBB-4371-CBB1-F4914932FA20}"/>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
        <p:nvSpPr>
          <p:cNvPr id="4" name="Title Placeholder 13">
            <a:extLst>
              <a:ext uri="{FF2B5EF4-FFF2-40B4-BE49-F238E27FC236}">
                <a16:creationId xmlns:a16="http://schemas.microsoft.com/office/drawing/2014/main" id="{F9FB6AB4-BD52-E671-219E-770825A0F405}"/>
              </a:ext>
            </a:extLst>
          </p:cNvPr>
          <p:cNvSpPr>
            <a:spLocks noGrp="1"/>
          </p:cNvSpPr>
          <p:nvPr>
            <p:ph type="title"/>
          </p:nvPr>
        </p:nvSpPr>
        <p:spPr>
          <a:xfrm>
            <a:off x="5556008" y="709937"/>
            <a:ext cx="5832011"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lick to edit Master title style</a:t>
            </a:r>
            <a:endParaRPr lang="en-GB" dirty="0"/>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5018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8" y="1569924"/>
            <a:ext cx="5832012" cy="381600"/>
          </a:xfrm>
        </p:spPr>
        <p:txBody>
          <a:bodyPr/>
          <a:lstStyle>
            <a:lvl1pPr>
              <a:defRPr sz="2000" b="1">
                <a:solidFill>
                  <a:schemeClr val="accent1"/>
                </a:solidFill>
              </a:defRPr>
            </a:lvl1pPr>
          </a:lstStyle>
          <a:p>
            <a:pPr lvl="0"/>
            <a:r>
              <a:rPr lang="en-GB" dirty="0"/>
              <a:t>Heading</a:t>
            </a:r>
          </a:p>
        </p:txBody>
      </p:sp>
      <p:pic>
        <p:nvPicPr>
          <p:cNvPr id="10" name="RSM Logo" descr="Z:\RSM International\1 Design\2015\Brand\Guidelines\Logos\Logos-03.png">
            <a:extLst>
              <a:ext uri="{FF2B5EF4-FFF2-40B4-BE49-F238E27FC236}">
                <a16:creationId xmlns:a16="http://schemas.microsoft.com/office/drawing/2014/main" id="{DE2EC352-60A3-667C-AA8D-255C0CBDA45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866053" y="278965"/>
            <a:ext cx="900000" cy="385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892563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Pull-out slide">
    <p:bg>
      <p:bgRef idx="1001">
        <a:schemeClr val="bg1"/>
      </p:bgRef>
    </p:bg>
    <p:spTree>
      <p:nvGrpSpPr>
        <p:cNvPr id="1" name=""/>
        <p:cNvGrpSpPr/>
        <p:nvPr/>
      </p:nvGrpSpPr>
      <p:grpSpPr>
        <a:xfrm>
          <a:off x="0" y="0"/>
          <a:ext cx="0" cy="0"/>
          <a:chOff x="0" y="0"/>
          <a:chExt cx="0" cy="0"/>
        </a:xfrm>
      </p:grpSpPr>
      <p:sp>
        <p:nvSpPr>
          <p:cNvPr id="15" name="Title Placeholder 13">
            <a:extLst>
              <a:ext uri="{FF2B5EF4-FFF2-40B4-BE49-F238E27FC236}">
                <a16:creationId xmlns:a16="http://schemas.microsoft.com/office/drawing/2014/main" id="{DC3B6FE6-7FB7-7E8B-8DEF-901D173E82FB}"/>
              </a:ext>
            </a:extLst>
          </p:cNvPr>
          <p:cNvSpPr>
            <a:spLocks noGrp="1"/>
          </p:cNvSpPr>
          <p:nvPr>
            <p:ph type="title" hasCustomPrompt="1"/>
          </p:nvPr>
        </p:nvSpPr>
        <p:spPr>
          <a:xfrm>
            <a:off x="846636" y="803982"/>
            <a:ext cx="5189040" cy="5015069"/>
          </a:xfrm>
          <a:prstGeom prst="rect">
            <a:avLst/>
          </a:prstGeom>
          <a:solidFill>
            <a:srgbClr val="00153D"/>
          </a:solidFill>
        </p:spPr>
        <p:txBody>
          <a:bodyPr vert="horz" wrap="square" lIns="180000" tIns="144000" rIns="180000" bIns="144000" rtlCol="0" anchor="ctr" anchorCtr="0">
            <a:noAutofit/>
          </a:bodyPr>
          <a:lstStyle>
            <a:lvl1pPr>
              <a:defRPr>
                <a:solidFill>
                  <a:schemeClr val="bg1"/>
                </a:solidFill>
              </a:defRPr>
            </a:lvl1pPr>
          </a:lstStyle>
          <a:p>
            <a:r>
              <a:rPr lang="en-US" dirty="0"/>
              <a:t>Pull-out slide</a:t>
            </a:r>
            <a:endParaRPr lang="en-GB" dirty="0"/>
          </a:p>
        </p:txBody>
      </p:sp>
    </p:spTree>
    <p:extLst>
      <p:ext uri="{BB962C8B-B14F-4D97-AF65-F5344CB8AC3E}">
        <p14:creationId xmlns:p14="http://schemas.microsoft.com/office/powerpoint/2010/main" val="962748302"/>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18643208-BB47-68E5-7F6B-0F916B6269A3}"/>
              </a:ext>
            </a:extLst>
          </p:cNvPr>
          <p:cNvSpPr>
            <a:spLocks noGrp="1"/>
          </p:cNvSpPr>
          <p:nvPr>
            <p:ph type="title"/>
          </p:nvPr>
        </p:nvSpPr>
        <p:spPr>
          <a:xfrm>
            <a:off x="785813" y="694800"/>
            <a:ext cx="10620375" cy="553998"/>
          </a:xfrm>
        </p:spPr>
        <p:txBody>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19D9F6D4-037F-1A4F-4163-D691618F048E}"/>
              </a:ext>
            </a:extLst>
          </p:cNvPr>
          <p:cNvSpPr>
            <a:spLocks noGrp="1"/>
          </p:cNvSpPr>
          <p:nvPr>
            <p:ph type="body" idx="1"/>
          </p:nvPr>
        </p:nvSpPr>
        <p:spPr>
          <a:xfrm>
            <a:off x="785813" y="1898650"/>
            <a:ext cx="5219700" cy="381600"/>
          </a:xfrm>
        </p:spPr>
        <p:txBody>
          <a:bodyPr anchor="t" anchorCtr="0"/>
          <a:lstStyle>
            <a:lvl1pPr marL="0" indent="0">
              <a:buNone/>
              <a:defRPr sz="2000" b="1">
                <a:solidFill>
                  <a:schemeClr val="accent1"/>
                </a:solidFill>
              </a:defRPr>
            </a:lvl1pPr>
            <a:lvl2pPr marL="0" indent="0">
              <a:buNone/>
              <a:defRPr sz="2000" b="1">
                <a:solidFill>
                  <a:schemeClr val="accent2"/>
                </a:solidFill>
              </a:defRPr>
            </a:lvl2pPr>
            <a:lvl3pPr marL="0" indent="0">
              <a:buNone/>
              <a:defRPr sz="2000" b="1">
                <a:solidFill>
                  <a:schemeClr val="accent2"/>
                </a:solidFill>
              </a:defRPr>
            </a:lvl3pPr>
            <a:lvl4pPr marL="0" indent="0">
              <a:buNone/>
              <a:defRPr sz="2000" b="1">
                <a:solidFill>
                  <a:schemeClr val="accent2"/>
                </a:solidFill>
              </a:defRPr>
            </a:lvl4pPr>
            <a:lvl5pPr marL="0" indent="0">
              <a:buNone/>
              <a:defRPr sz="2000" b="1">
                <a:solidFill>
                  <a:schemeClr val="accent2"/>
                </a:solidFill>
              </a:defRPr>
            </a:lvl5pPr>
            <a:lvl6pPr marL="0" indent="0">
              <a:buNone/>
              <a:defRPr sz="2000" b="1">
                <a:solidFill>
                  <a:schemeClr val="accent2"/>
                </a:solidFill>
              </a:defRPr>
            </a:lvl6pPr>
            <a:lvl7pPr marL="0" indent="0">
              <a:buNone/>
              <a:defRPr sz="2000" b="1">
                <a:solidFill>
                  <a:schemeClr val="accent2"/>
                </a:solidFill>
              </a:defRPr>
            </a:lvl7pPr>
            <a:lvl8pPr marL="0" indent="0">
              <a:buNone/>
              <a:defRPr sz="2000" b="1">
                <a:solidFill>
                  <a:schemeClr val="accent2"/>
                </a:solidFill>
              </a:defRPr>
            </a:lvl8pPr>
            <a:lvl9pPr marL="0" indent="0">
              <a:buNone/>
              <a:defRPr sz="2000" b="1">
                <a:solidFill>
                  <a:schemeClr val="accent2"/>
                </a:solidFill>
              </a:defRPr>
            </a:lvl9pPr>
          </a:lstStyle>
          <a:p>
            <a:pPr lvl="0"/>
            <a:r>
              <a:rPr lang="en-US"/>
              <a:t>Click to edit Master text styles</a:t>
            </a:r>
          </a:p>
        </p:txBody>
      </p:sp>
      <p:sp>
        <p:nvSpPr>
          <p:cNvPr id="4" name="Content Placeholder 3">
            <a:extLst>
              <a:ext uri="{FF2B5EF4-FFF2-40B4-BE49-F238E27FC236}">
                <a16:creationId xmlns:a16="http://schemas.microsoft.com/office/drawing/2014/main" id="{C54A003B-4BED-813B-ECDA-6F525B485A1A}"/>
              </a:ext>
            </a:extLst>
          </p:cNvPr>
          <p:cNvSpPr>
            <a:spLocks noGrp="1"/>
          </p:cNvSpPr>
          <p:nvPr>
            <p:ph sz="half" idx="2"/>
          </p:nvPr>
        </p:nvSpPr>
        <p:spPr>
          <a:xfrm>
            <a:off x="785813" y="2280250"/>
            <a:ext cx="5219700" cy="3937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a:extLst>
              <a:ext uri="{FF2B5EF4-FFF2-40B4-BE49-F238E27FC236}">
                <a16:creationId xmlns:a16="http://schemas.microsoft.com/office/drawing/2014/main" id="{BEFCF32B-215B-684B-A1C6-1732962020B4}"/>
              </a:ext>
            </a:extLst>
          </p:cNvPr>
          <p:cNvSpPr>
            <a:spLocks noGrp="1"/>
          </p:cNvSpPr>
          <p:nvPr>
            <p:ph type="body" sz="quarter" idx="3"/>
          </p:nvPr>
        </p:nvSpPr>
        <p:spPr>
          <a:xfrm>
            <a:off x="6186488" y="1898650"/>
            <a:ext cx="5219700" cy="381600"/>
          </a:xfrm>
        </p:spPr>
        <p:txBody>
          <a:bodyPr anchor="t" anchorCtr="0"/>
          <a:lstStyle>
            <a:lvl1pPr marL="0" indent="0">
              <a:buNone/>
              <a:defRPr sz="2000" b="1">
                <a:solidFill>
                  <a:schemeClr val="accent1"/>
                </a:solidFill>
              </a:defRPr>
            </a:lvl1pPr>
            <a:lvl2pPr marL="0" indent="0">
              <a:buNone/>
              <a:defRPr sz="2000" b="1">
                <a:solidFill>
                  <a:schemeClr val="accent2"/>
                </a:solidFill>
              </a:defRPr>
            </a:lvl2pPr>
            <a:lvl3pPr marL="0" indent="0">
              <a:buNone/>
              <a:defRPr sz="2000" b="1">
                <a:solidFill>
                  <a:schemeClr val="accent2"/>
                </a:solidFill>
              </a:defRPr>
            </a:lvl3pPr>
            <a:lvl4pPr marL="0" indent="0">
              <a:buNone/>
              <a:defRPr sz="2000" b="1">
                <a:solidFill>
                  <a:schemeClr val="accent2"/>
                </a:solidFill>
              </a:defRPr>
            </a:lvl4pPr>
            <a:lvl5pPr marL="0" indent="0">
              <a:buNone/>
              <a:defRPr sz="2000" b="1">
                <a:solidFill>
                  <a:schemeClr val="accent2"/>
                </a:solidFill>
              </a:defRPr>
            </a:lvl5pPr>
            <a:lvl6pPr marL="0" indent="0">
              <a:buNone/>
              <a:defRPr sz="2000" b="1">
                <a:solidFill>
                  <a:schemeClr val="accent2"/>
                </a:solidFill>
              </a:defRPr>
            </a:lvl6pPr>
            <a:lvl7pPr marL="0" indent="0">
              <a:buNone/>
              <a:defRPr sz="2000" b="1">
                <a:solidFill>
                  <a:schemeClr val="accent2"/>
                </a:solidFill>
              </a:defRPr>
            </a:lvl7pPr>
            <a:lvl8pPr marL="0" indent="0">
              <a:buNone/>
              <a:defRPr sz="2000" b="1">
                <a:solidFill>
                  <a:schemeClr val="accent2"/>
                </a:solidFill>
              </a:defRPr>
            </a:lvl8pPr>
            <a:lvl9pPr marL="0" indent="0">
              <a:buNone/>
              <a:defRPr sz="2000" b="1">
                <a:solidFill>
                  <a:schemeClr val="accent2"/>
                </a:solidFill>
              </a:defRPr>
            </a:lvl9pPr>
          </a:lstStyle>
          <a:p>
            <a:pPr lvl="0"/>
            <a:r>
              <a:rPr lang="en-US"/>
              <a:t>Click to edit Master text styles</a:t>
            </a:r>
          </a:p>
        </p:txBody>
      </p:sp>
      <p:sp>
        <p:nvSpPr>
          <p:cNvPr id="6" name="Content Placeholder 5">
            <a:extLst>
              <a:ext uri="{FF2B5EF4-FFF2-40B4-BE49-F238E27FC236}">
                <a16:creationId xmlns:a16="http://schemas.microsoft.com/office/drawing/2014/main" id="{1724BB1C-35F4-76AB-34BD-883F4C92F9B4}"/>
              </a:ext>
            </a:extLst>
          </p:cNvPr>
          <p:cNvSpPr>
            <a:spLocks noGrp="1"/>
          </p:cNvSpPr>
          <p:nvPr>
            <p:ph sz="quarter" idx="4"/>
          </p:nvPr>
        </p:nvSpPr>
        <p:spPr>
          <a:xfrm>
            <a:off x="6186488" y="2280250"/>
            <a:ext cx="5219700" cy="3937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laceholder 8">
            <a:extLst>
              <a:ext uri="{FF2B5EF4-FFF2-40B4-BE49-F238E27FC236}">
                <a16:creationId xmlns:a16="http://schemas.microsoft.com/office/drawing/2014/main" id="{D4286FB3-827A-BAC0-BC90-7E5565AB6241}"/>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89668470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Photo and text layout 2">
    <p:spTree>
      <p:nvGrpSpPr>
        <p:cNvPr id="1" name=""/>
        <p:cNvGrpSpPr/>
        <p:nvPr/>
      </p:nvGrpSpPr>
      <p:grpSpPr>
        <a:xfrm>
          <a:off x="0" y="0"/>
          <a:ext cx="0" cy="0"/>
          <a:chOff x="0" y="0"/>
          <a:chExt cx="0" cy="0"/>
        </a:xfrm>
      </p:grpSpPr>
      <p:sp>
        <p:nvSpPr>
          <p:cNvPr id="5" name="PoP">
            <a:extLst>
              <a:ext uri="{FF2B5EF4-FFF2-40B4-BE49-F238E27FC236}">
                <a16:creationId xmlns:a16="http://schemas.microsoft.com/office/drawing/2014/main" id="{FA165846-B585-46D5-D508-A8A1B0901C2E}"/>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790538" y="709937"/>
            <a:ext cx="5898658"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dirty="0"/>
              <a:t>Portrait image slide</a:t>
            </a:r>
            <a:endParaRPr lang="en-GB" dirty="0"/>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79053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790538" y="1569924"/>
            <a:ext cx="5898659" cy="381600"/>
          </a:xfrm>
        </p:spPr>
        <p:txBody>
          <a:bodyPr/>
          <a:lstStyle>
            <a:lvl1pPr>
              <a:defRPr sz="2000" b="1">
                <a:solidFill>
                  <a:schemeClr val="accent1"/>
                </a:solidFill>
              </a:defRPr>
            </a:lvl1pPr>
          </a:lstStyle>
          <a:p>
            <a:pPr lvl="0"/>
            <a:r>
              <a:rPr lang="en-GB" dirty="0"/>
              <a:t>Heading</a:t>
            </a:r>
          </a:p>
        </p:txBody>
      </p:sp>
      <p:pic>
        <p:nvPicPr>
          <p:cNvPr id="2" name="Logo">
            <a:extLst>
              <a:ext uri="{FF2B5EF4-FFF2-40B4-BE49-F238E27FC236}">
                <a16:creationId xmlns:a16="http://schemas.microsoft.com/office/drawing/2014/main" id="{F7B07BBC-7544-CDAC-500B-46274A684C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445"/>
          </a:xfrm>
          <a:prstGeom prst="rect">
            <a:avLst/>
          </a:prstGeom>
        </p:spPr>
      </p:pic>
    </p:spTree>
    <p:extLst>
      <p:ext uri="{BB962C8B-B14F-4D97-AF65-F5344CB8AC3E}">
        <p14:creationId xmlns:p14="http://schemas.microsoft.com/office/powerpoint/2010/main" val="367808770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Stats and text">
    <p:spTree>
      <p:nvGrpSpPr>
        <p:cNvPr id="1" name=""/>
        <p:cNvGrpSpPr/>
        <p:nvPr/>
      </p:nvGrpSpPr>
      <p:grpSpPr>
        <a:xfrm>
          <a:off x="0" y="0"/>
          <a:ext cx="0" cy="0"/>
          <a:chOff x="0" y="0"/>
          <a:chExt cx="0" cy="0"/>
        </a:xfrm>
      </p:grpSpPr>
      <p:sp>
        <p:nvSpPr>
          <p:cNvPr id="5" name="PoP">
            <a:extLst>
              <a:ext uri="{FF2B5EF4-FFF2-40B4-BE49-F238E27FC236}">
                <a16:creationId xmlns:a16="http://schemas.microsoft.com/office/drawing/2014/main" id="{FA165846-B585-46D5-D508-A8A1B0901C2E}"/>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
        <p:nvSpPr>
          <p:cNvPr id="4" name="Title Placeholder 13">
            <a:extLst>
              <a:ext uri="{FF2B5EF4-FFF2-40B4-BE49-F238E27FC236}">
                <a16:creationId xmlns:a16="http://schemas.microsoft.com/office/drawing/2014/main" id="{F9FB6AB4-BD52-E671-219E-770825A0F405}"/>
              </a:ext>
            </a:extLst>
          </p:cNvPr>
          <p:cNvSpPr>
            <a:spLocks noGrp="1"/>
          </p:cNvSpPr>
          <p:nvPr>
            <p:ph type="title"/>
          </p:nvPr>
        </p:nvSpPr>
        <p:spPr>
          <a:xfrm>
            <a:off x="790538" y="709937"/>
            <a:ext cx="4248000" cy="553998"/>
          </a:xfrm>
          <a:prstGeom prst="rect">
            <a:avLst/>
          </a:prstGeom>
        </p:spPr>
        <p:txBody>
          <a:bodyPr vert="horz" wrap="square" lIns="0" tIns="0" rIns="0" bIns="0" rtlCol="0" anchor="t" anchorCtr="0">
            <a:spAutoFit/>
          </a:bodyPr>
          <a:lstStyle>
            <a:lvl1pPr>
              <a:defRPr>
                <a:solidFill>
                  <a:schemeClr val="tx1"/>
                </a:solidFill>
              </a:defRPr>
            </a:lvl1pPr>
          </a:lstStyle>
          <a:p>
            <a:r>
              <a:rPr lang="en-US"/>
              <a:t>Click to edit Master title style</a:t>
            </a:r>
            <a:endParaRPr lang="en-GB" dirty="0"/>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790538" y="1581150"/>
            <a:ext cx="4248000" cy="4637088"/>
          </a:xfrm>
          <a:prstGeom prst="rect">
            <a:avLst/>
          </a:prstGeom>
        </p:spPr>
        <p:txBody>
          <a:bodyPr vert="horz" lIns="0" tIns="0" rIns="0" bIns="0" rtlCol="0">
            <a:no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pic>
        <p:nvPicPr>
          <p:cNvPr id="3" name="Picture 2">
            <a:extLst>
              <a:ext uri="{FF2B5EF4-FFF2-40B4-BE49-F238E27FC236}">
                <a16:creationId xmlns:a16="http://schemas.microsoft.com/office/drawing/2014/main" id="{D2A7B840-4F82-BDDC-A11B-B6CD67596E87}"/>
              </a:ext>
            </a:extLst>
          </p:cNvPr>
          <p:cNvPicPr>
            <a:picLocks noChangeAspect="1"/>
          </p:cNvPicPr>
          <p:nvPr/>
        </p:nvPicPr>
        <p:blipFill>
          <a:blip r:embed="rId4"/>
          <a:stretch>
            <a:fillRect/>
          </a:stretch>
        </p:blipFill>
        <p:spPr>
          <a:xfrm>
            <a:off x="5915998" y="1313295"/>
            <a:ext cx="5602235" cy="2414021"/>
          </a:xfrm>
          <a:prstGeom prst="rect">
            <a:avLst/>
          </a:prstGeom>
        </p:spPr>
      </p:pic>
      <p:sp>
        <p:nvSpPr>
          <p:cNvPr id="6" name="PoP">
            <a:extLst>
              <a:ext uri="{FF2B5EF4-FFF2-40B4-BE49-F238E27FC236}">
                <a16:creationId xmlns:a16="http://schemas.microsoft.com/office/drawing/2014/main" id="{96A03582-5354-9A3C-9FFD-48C6F8D7E52B}"/>
              </a:ext>
            </a:extLst>
          </p:cNvPr>
          <p:cNvSpPr>
            <a:spLocks noChangeAspect="1"/>
          </p:cNvSpPr>
          <p:nvPr>
            <p:custDataLst>
              <p:tags r:id="rId2"/>
            </p:custDataLst>
          </p:nvPr>
        </p:nvSpPr>
        <p:spPr>
          <a:xfrm>
            <a:off x="4829218" y="3792181"/>
            <a:ext cx="7362782" cy="3065819"/>
          </a:xfrm>
          <a:custGeom>
            <a:avLst/>
            <a:gdLst>
              <a:gd name="connsiteX0" fmla="*/ 281839 w 7362782"/>
              <a:gd name="connsiteY0" fmla="*/ 2602189 h 3065819"/>
              <a:gd name="connsiteX1" fmla="*/ 732852 w 7362782"/>
              <a:gd name="connsiteY1" fmla="*/ 2602189 h 3065819"/>
              <a:gd name="connsiteX2" fmla="*/ 732852 w 7362782"/>
              <a:gd name="connsiteY2" fmla="*/ 2838984 h 3065819"/>
              <a:gd name="connsiteX3" fmla="*/ 281839 w 7362782"/>
              <a:gd name="connsiteY3" fmla="*/ 2838984 h 3065819"/>
              <a:gd name="connsiteX4" fmla="*/ 0 w 7362782"/>
              <a:gd name="connsiteY4" fmla="*/ 2602189 h 3065819"/>
              <a:gd name="connsiteX5" fmla="*/ 180406 w 7362782"/>
              <a:gd name="connsiteY5" fmla="*/ 2602189 h 3065819"/>
              <a:gd name="connsiteX6" fmla="*/ 180406 w 7362782"/>
              <a:gd name="connsiteY6" fmla="*/ 2838984 h 3065819"/>
              <a:gd name="connsiteX7" fmla="*/ 0 w 7362782"/>
              <a:gd name="connsiteY7" fmla="*/ 2838984 h 3065819"/>
              <a:gd name="connsiteX8" fmla="*/ 2955042 w 7362782"/>
              <a:gd name="connsiteY8" fmla="*/ 2365392 h 3065819"/>
              <a:gd name="connsiteX9" fmla="*/ 2955042 w 7362782"/>
              <a:gd name="connsiteY9" fmla="*/ 2602189 h 3065819"/>
              <a:gd name="connsiteX10" fmla="*/ 3056475 w 7362782"/>
              <a:gd name="connsiteY10" fmla="*/ 2602189 h 3065819"/>
              <a:gd name="connsiteX11" fmla="*/ 3056475 w 7362782"/>
              <a:gd name="connsiteY11" fmla="*/ 2365392 h 3065819"/>
              <a:gd name="connsiteX12" fmla="*/ 3181893 w 7362782"/>
              <a:gd name="connsiteY12" fmla="*/ 2128596 h 3065819"/>
              <a:gd name="connsiteX13" fmla="*/ 3181893 w 7362782"/>
              <a:gd name="connsiteY13" fmla="*/ 2365392 h 3065819"/>
              <a:gd name="connsiteX14" fmla="*/ 3362299 w 7362782"/>
              <a:gd name="connsiteY14" fmla="*/ 2365392 h 3065819"/>
              <a:gd name="connsiteX15" fmla="*/ 3362299 w 7362782"/>
              <a:gd name="connsiteY15" fmla="*/ 2128596 h 3065819"/>
              <a:gd name="connsiteX16" fmla="*/ 4682463 w 7362782"/>
              <a:gd name="connsiteY16" fmla="*/ 1657343 h 3065819"/>
              <a:gd name="connsiteX17" fmla="*/ 4682463 w 7362782"/>
              <a:gd name="connsiteY17" fmla="*/ 1891916 h 3065819"/>
              <a:gd name="connsiteX18" fmla="*/ 4846956 w 7362782"/>
              <a:gd name="connsiteY18" fmla="*/ 1891916 h 3065819"/>
              <a:gd name="connsiteX19" fmla="*/ 4846956 w 7362782"/>
              <a:gd name="connsiteY19" fmla="*/ 1657343 h 3065819"/>
              <a:gd name="connsiteX20" fmla="*/ 4207934 w 7362782"/>
              <a:gd name="connsiteY20" fmla="*/ 1420546 h 3065819"/>
              <a:gd name="connsiteX21" fmla="*/ 4207934 w 7362782"/>
              <a:gd name="connsiteY21" fmla="*/ 1655119 h 3065819"/>
              <a:gd name="connsiteX22" fmla="*/ 4309367 w 7362782"/>
              <a:gd name="connsiteY22" fmla="*/ 1655119 h 3065819"/>
              <a:gd name="connsiteX23" fmla="*/ 4309367 w 7362782"/>
              <a:gd name="connsiteY23" fmla="*/ 1420546 h 3065819"/>
              <a:gd name="connsiteX24" fmla="*/ 3475081 w 7362782"/>
              <a:gd name="connsiteY24" fmla="*/ 1420546 h 3065819"/>
              <a:gd name="connsiteX25" fmla="*/ 3655487 w 7362782"/>
              <a:gd name="connsiteY25" fmla="*/ 1420546 h 3065819"/>
              <a:gd name="connsiteX26" fmla="*/ 3655487 w 7362782"/>
              <a:gd name="connsiteY26" fmla="*/ 1657343 h 3065819"/>
              <a:gd name="connsiteX27" fmla="*/ 3475081 w 7362782"/>
              <a:gd name="connsiteY27" fmla="*/ 1657343 h 3065819"/>
              <a:gd name="connsiteX28" fmla="*/ 6673471 w 7362782"/>
              <a:gd name="connsiteY28" fmla="*/ 710273 h 3065819"/>
              <a:gd name="connsiteX29" fmla="*/ 6673471 w 7362782"/>
              <a:gd name="connsiteY29" fmla="*/ 946952 h 3065819"/>
              <a:gd name="connsiteX30" fmla="*/ 6774906 w 7362782"/>
              <a:gd name="connsiteY30" fmla="*/ 946952 h 3065819"/>
              <a:gd name="connsiteX31" fmla="*/ 6774906 w 7362782"/>
              <a:gd name="connsiteY31" fmla="*/ 710273 h 3065819"/>
              <a:gd name="connsiteX32" fmla="*/ 5968230 w 7362782"/>
              <a:gd name="connsiteY32" fmla="*/ 710273 h 3065819"/>
              <a:gd name="connsiteX33" fmla="*/ 5968230 w 7362782"/>
              <a:gd name="connsiteY33" fmla="*/ 946952 h 3065819"/>
              <a:gd name="connsiteX34" fmla="*/ 6069664 w 7362782"/>
              <a:gd name="connsiteY34" fmla="*/ 946952 h 3065819"/>
              <a:gd name="connsiteX35" fmla="*/ 6069664 w 7362782"/>
              <a:gd name="connsiteY35" fmla="*/ 710273 h 3065819"/>
              <a:gd name="connsiteX36" fmla="*/ 7083302 w 7362782"/>
              <a:gd name="connsiteY36" fmla="*/ 236913 h 3065819"/>
              <a:gd name="connsiteX37" fmla="*/ 7083302 w 7362782"/>
              <a:gd name="connsiteY37" fmla="*/ 473593 h 3065819"/>
              <a:gd name="connsiteX38" fmla="*/ 7184736 w 7362782"/>
              <a:gd name="connsiteY38" fmla="*/ 473593 h 3065819"/>
              <a:gd name="connsiteX39" fmla="*/ 7184736 w 7362782"/>
              <a:gd name="connsiteY39" fmla="*/ 236913 h 3065819"/>
              <a:gd name="connsiteX40" fmla="*/ 6451885 w 7362782"/>
              <a:gd name="connsiteY40" fmla="*/ 0 h 3065819"/>
              <a:gd name="connsiteX41" fmla="*/ 7362782 w 7362782"/>
              <a:gd name="connsiteY41" fmla="*/ 0 h 3065819"/>
              <a:gd name="connsiteX42" fmla="*/ 7362782 w 7362782"/>
              <a:gd name="connsiteY42" fmla="*/ 3065819 h 3065819"/>
              <a:gd name="connsiteX43" fmla="*/ 1502792 w 7362782"/>
              <a:gd name="connsiteY43" fmla="*/ 3065819 h 3065819"/>
              <a:gd name="connsiteX44" fmla="*/ 1502792 w 7362782"/>
              <a:gd name="connsiteY44" fmla="*/ 2838399 h 3065819"/>
              <a:gd name="connsiteX45" fmla="*/ 1401357 w 7362782"/>
              <a:gd name="connsiteY45" fmla="*/ 2838399 h 3065819"/>
              <a:gd name="connsiteX46" fmla="*/ 1401357 w 7362782"/>
              <a:gd name="connsiteY46" fmla="*/ 3065819 h 3065819"/>
              <a:gd name="connsiteX47" fmla="*/ 1027795 w 7362782"/>
              <a:gd name="connsiteY47" fmla="*/ 3065819 h 3065819"/>
              <a:gd name="connsiteX48" fmla="*/ 1027795 w 7362782"/>
              <a:gd name="connsiteY48" fmla="*/ 2838399 h 3065819"/>
              <a:gd name="connsiteX49" fmla="*/ 834287 w 7362782"/>
              <a:gd name="connsiteY49" fmla="*/ 2838399 h 3065819"/>
              <a:gd name="connsiteX50" fmla="*/ 834287 w 7362782"/>
              <a:gd name="connsiteY50" fmla="*/ 2601604 h 3065819"/>
              <a:gd name="connsiteX51" fmla="*/ 1574392 w 7362782"/>
              <a:gd name="connsiteY51" fmla="*/ 2601604 h 3065819"/>
              <a:gd name="connsiteX52" fmla="*/ 1574392 w 7362782"/>
              <a:gd name="connsiteY52" fmla="*/ 2364807 h 3065819"/>
              <a:gd name="connsiteX53" fmla="*/ 2025404 w 7362782"/>
              <a:gd name="connsiteY53" fmla="*/ 2364807 h 3065819"/>
              <a:gd name="connsiteX54" fmla="*/ 2025404 w 7362782"/>
              <a:gd name="connsiteY54" fmla="*/ 2128010 h 3065819"/>
              <a:gd name="connsiteX55" fmla="*/ 2477237 w 7362782"/>
              <a:gd name="connsiteY55" fmla="*/ 2128010 h 3065819"/>
              <a:gd name="connsiteX56" fmla="*/ 2477237 w 7362782"/>
              <a:gd name="connsiteY56" fmla="*/ 2364807 h 3065819"/>
              <a:gd name="connsiteX57" fmla="*/ 2769488 w 7362782"/>
              <a:gd name="connsiteY57" fmla="*/ 2364807 h 3065819"/>
              <a:gd name="connsiteX58" fmla="*/ 2769488 w 7362782"/>
              <a:gd name="connsiteY58" fmla="*/ 1891916 h 3065819"/>
              <a:gd name="connsiteX59" fmla="*/ 2949894 w 7362782"/>
              <a:gd name="connsiteY59" fmla="*/ 1891916 h 3065819"/>
              <a:gd name="connsiteX60" fmla="*/ 2949894 w 7362782"/>
              <a:gd name="connsiteY60" fmla="*/ 2128712 h 3065819"/>
              <a:gd name="connsiteX61" fmla="*/ 3051327 w 7362782"/>
              <a:gd name="connsiteY61" fmla="*/ 2128712 h 3065819"/>
              <a:gd name="connsiteX62" fmla="*/ 3051327 w 7362782"/>
              <a:gd name="connsiteY62" fmla="*/ 1891916 h 3065819"/>
              <a:gd name="connsiteX63" fmla="*/ 3502341 w 7362782"/>
              <a:gd name="connsiteY63" fmla="*/ 1891916 h 3065819"/>
              <a:gd name="connsiteX64" fmla="*/ 3502341 w 7362782"/>
              <a:gd name="connsiteY64" fmla="*/ 2128712 h 3065819"/>
              <a:gd name="connsiteX65" fmla="*/ 3603775 w 7362782"/>
              <a:gd name="connsiteY65" fmla="*/ 2128712 h 3065819"/>
              <a:gd name="connsiteX66" fmla="*/ 3603775 w 7362782"/>
              <a:gd name="connsiteY66" fmla="*/ 1891916 h 3065819"/>
              <a:gd name="connsiteX67" fmla="*/ 3872159 w 7362782"/>
              <a:gd name="connsiteY67" fmla="*/ 1891916 h 3065819"/>
              <a:gd name="connsiteX68" fmla="*/ 3872159 w 7362782"/>
              <a:gd name="connsiteY68" fmla="*/ 1657343 h 3065819"/>
              <a:gd name="connsiteX69" fmla="*/ 3757037 w 7362782"/>
              <a:gd name="connsiteY69" fmla="*/ 1657343 h 3065819"/>
              <a:gd name="connsiteX70" fmla="*/ 3757037 w 7362782"/>
              <a:gd name="connsiteY70" fmla="*/ 1420546 h 3065819"/>
              <a:gd name="connsiteX71" fmla="*/ 3989154 w 7362782"/>
              <a:gd name="connsiteY71" fmla="*/ 1420546 h 3065819"/>
              <a:gd name="connsiteX72" fmla="*/ 3989154 w 7362782"/>
              <a:gd name="connsiteY72" fmla="*/ 1183750 h 3065819"/>
              <a:gd name="connsiteX73" fmla="*/ 4090588 w 7362782"/>
              <a:gd name="connsiteY73" fmla="*/ 1183750 h 3065819"/>
              <a:gd name="connsiteX74" fmla="*/ 4090588 w 7362782"/>
              <a:gd name="connsiteY74" fmla="*/ 1420546 h 3065819"/>
              <a:gd name="connsiteX75" fmla="*/ 4207349 w 7362782"/>
              <a:gd name="connsiteY75" fmla="*/ 1420546 h 3065819"/>
              <a:gd name="connsiteX76" fmla="*/ 4207349 w 7362782"/>
              <a:gd name="connsiteY76" fmla="*/ 1183750 h 3065819"/>
              <a:gd name="connsiteX77" fmla="*/ 4658361 w 7362782"/>
              <a:gd name="connsiteY77" fmla="*/ 1183750 h 3065819"/>
              <a:gd name="connsiteX78" fmla="*/ 4658361 w 7362782"/>
              <a:gd name="connsiteY78" fmla="*/ 1420546 h 3065819"/>
              <a:gd name="connsiteX79" fmla="*/ 5026776 w 7362782"/>
              <a:gd name="connsiteY79" fmla="*/ 1420546 h 3065819"/>
              <a:gd name="connsiteX80" fmla="*/ 5026776 w 7362782"/>
              <a:gd name="connsiteY80" fmla="*/ 1183750 h 3065819"/>
              <a:gd name="connsiteX81" fmla="*/ 4847074 w 7362782"/>
              <a:gd name="connsiteY81" fmla="*/ 1183750 h 3065819"/>
              <a:gd name="connsiteX82" fmla="*/ 4847074 w 7362782"/>
              <a:gd name="connsiteY82" fmla="*/ 946952 h 3065819"/>
              <a:gd name="connsiteX83" fmla="*/ 5517334 w 7362782"/>
              <a:gd name="connsiteY83" fmla="*/ 946952 h 3065819"/>
              <a:gd name="connsiteX84" fmla="*/ 5517334 w 7362782"/>
              <a:gd name="connsiteY84" fmla="*/ 710156 h 3065819"/>
              <a:gd name="connsiteX85" fmla="*/ 5899555 w 7362782"/>
              <a:gd name="connsiteY85" fmla="*/ 710156 h 3065819"/>
              <a:gd name="connsiteX86" fmla="*/ 5899555 w 7362782"/>
              <a:gd name="connsiteY86" fmla="*/ 473477 h 3065819"/>
              <a:gd name="connsiteX87" fmla="*/ 6068495 w 7362782"/>
              <a:gd name="connsiteY87" fmla="*/ 473477 h 3065819"/>
              <a:gd name="connsiteX88" fmla="*/ 6068495 w 7362782"/>
              <a:gd name="connsiteY88" fmla="*/ 236680 h 3065819"/>
              <a:gd name="connsiteX89" fmla="*/ 6166184 w 7362782"/>
              <a:gd name="connsiteY89" fmla="*/ 236680 h 3065819"/>
              <a:gd name="connsiteX90" fmla="*/ 6166184 w 7362782"/>
              <a:gd name="connsiteY90" fmla="*/ 473477 h 3065819"/>
              <a:gd name="connsiteX91" fmla="*/ 6350567 w 7362782"/>
              <a:gd name="connsiteY91" fmla="*/ 473477 h 3065819"/>
              <a:gd name="connsiteX92" fmla="*/ 6350567 w 7362782"/>
              <a:gd name="connsiteY92" fmla="*/ 710156 h 3065819"/>
              <a:gd name="connsiteX93" fmla="*/ 6452001 w 7362782"/>
              <a:gd name="connsiteY93" fmla="*/ 710156 h 3065819"/>
              <a:gd name="connsiteX94" fmla="*/ 6452001 w 7362782"/>
              <a:gd name="connsiteY94" fmla="*/ 473477 h 3065819"/>
              <a:gd name="connsiteX95" fmla="*/ 6632290 w 7362782"/>
              <a:gd name="connsiteY95" fmla="*/ 473477 h 3065819"/>
              <a:gd name="connsiteX96" fmla="*/ 6632290 w 7362782"/>
              <a:gd name="connsiteY96" fmla="*/ 236797 h 3065819"/>
              <a:gd name="connsiteX97" fmla="*/ 6451885 w 7362782"/>
              <a:gd name="connsiteY97" fmla="*/ 236797 h 3065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7362782" h="3065819">
                <a:moveTo>
                  <a:pt x="281839" y="2602189"/>
                </a:moveTo>
                <a:lnTo>
                  <a:pt x="732852" y="2602189"/>
                </a:lnTo>
                <a:lnTo>
                  <a:pt x="732852" y="2838984"/>
                </a:lnTo>
                <a:lnTo>
                  <a:pt x="281839" y="2838984"/>
                </a:lnTo>
                <a:close/>
                <a:moveTo>
                  <a:pt x="0" y="2602189"/>
                </a:moveTo>
                <a:lnTo>
                  <a:pt x="180406" y="2602189"/>
                </a:lnTo>
                <a:lnTo>
                  <a:pt x="180406" y="2838984"/>
                </a:lnTo>
                <a:lnTo>
                  <a:pt x="0" y="2838984"/>
                </a:lnTo>
                <a:close/>
                <a:moveTo>
                  <a:pt x="2955042" y="2365392"/>
                </a:moveTo>
                <a:lnTo>
                  <a:pt x="2955042" y="2602189"/>
                </a:lnTo>
                <a:lnTo>
                  <a:pt x="3056475" y="2602189"/>
                </a:lnTo>
                <a:lnTo>
                  <a:pt x="3056475" y="2365392"/>
                </a:lnTo>
                <a:close/>
                <a:moveTo>
                  <a:pt x="3181893" y="2128596"/>
                </a:moveTo>
                <a:lnTo>
                  <a:pt x="3181893" y="2365392"/>
                </a:lnTo>
                <a:lnTo>
                  <a:pt x="3362299" y="2365392"/>
                </a:lnTo>
                <a:lnTo>
                  <a:pt x="3362299" y="2128596"/>
                </a:lnTo>
                <a:close/>
                <a:moveTo>
                  <a:pt x="4682463" y="1657343"/>
                </a:moveTo>
                <a:lnTo>
                  <a:pt x="4682463" y="1891916"/>
                </a:lnTo>
                <a:lnTo>
                  <a:pt x="4846956" y="1891916"/>
                </a:lnTo>
                <a:lnTo>
                  <a:pt x="4846956" y="1657343"/>
                </a:lnTo>
                <a:close/>
                <a:moveTo>
                  <a:pt x="4207934" y="1420546"/>
                </a:moveTo>
                <a:lnTo>
                  <a:pt x="4207934" y="1655119"/>
                </a:lnTo>
                <a:lnTo>
                  <a:pt x="4309367" y="1655119"/>
                </a:lnTo>
                <a:lnTo>
                  <a:pt x="4309367" y="1420546"/>
                </a:lnTo>
                <a:close/>
                <a:moveTo>
                  <a:pt x="3475081" y="1420546"/>
                </a:moveTo>
                <a:lnTo>
                  <a:pt x="3655487" y="1420546"/>
                </a:lnTo>
                <a:lnTo>
                  <a:pt x="3655487" y="1657343"/>
                </a:lnTo>
                <a:lnTo>
                  <a:pt x="3475081" y="1657343"/>
                </a:lnTo>
                <a:close/>
                <a:moveTo>
                  <a:pt x="6673471" y="710273"/>
                </a:moveTo>
                <a:lnTo>
                  <a:pt x="6673471" y="946952"/>
                </a:lnTo>
                <a:lnTo>
                  <a:pt x="6774906" y="946952"/>
                </a:lnTo>
                <a:lnTo>
                  <a:pt x="6774906" y="710273"/>
                </a:lnTo>
                <a:close/>
                <a:moveTo>
                  <a:pt x="5968230" y="710273"/>
                </a:moveTo>
                <a:lnTo>
                  <a:pt x="5968230" y="946952"/>
                </a:lnTo>
                <a:lnTo>
                  <a:pt x="6069664" y="946952"/>
                </a:lnTo>
                <a:lnTo>
                  <a:pt x="6069664" y="710273"/>
                </a:lnTo>
                <a:close/>
                <a:moveTo>
                  <a:pt x="7083302" y="236913"/>
                </a:moveTo>
                <a:lnTo>
                  <a:pt x="7083302" y="473593"/>
                </a:lnTo>
                <a:lnTo>
                  <a:pt x="7184736" y="473593"/>
                </a:lnTo>
                <a:lnTo>
                  <a:pt x="7184736" y="236913"/>
                </a:lnTo>
                <a:close/>
                <a:moveTo>
                  <a:pt x="6451885" y="0"/>
                </a:moveTo>
                <a:lnTo>
                  <a:pt x="7362782" y="0"/>
                </a:lnTo>
                <a:lnTo>
                  <a:pt x="7362782" y="3065819"/>
                </a:lnTo>
                <a:lnTo>
                  <a:pt x="1502792" y="3065819"/>
                </a:lnTo>
                <a:lnTo>
                  <a:pt x="1502792" y="2838399"/>
                </a:lnTo>
                <a:lnTo>
                  <a:pt x="1401357" y="2838399"/>
                </a:lnTo>
                <a:lnTo>
                  <a:pt x="1401357" y="3065819"/>
                </a:lnTo>
                <a:lnTo>
                  <a:pt x="1027795" y="3065819"/>
                </a:lnTo>
                <a:lnTo>
                  <a:pt x="1027795" y="2838399"/>
                </a:lnTo>
                <a:lnTo>
                  <a:pt x="834287" y="2838399"/>
                </a:lnTo>
                <a:lnTo>
                  <a:pt x="834287" y="2601604"/>
                </a:lnTo>
                <a:lnTo>
                  <a:pt x="1574392" y="2601604"/>
                </a:lnTo>
                <a:lnTo>
                  <a:pt x="1574392" y="2364807"/>
                </a:lnTo>
                <a:lnTo>
                  <a:pt x="2025404" y="2364807"/>
                </a:lnTo>
                <a:lnTo>
                  <a:pt x="2025404" y="2128010"/>
                </a:lnTo>
                <a:lnTo>
                  <a:pt x="2477237" y="2128010"/>
                </a:lnTo>
                <a:lnTo>
                  <a:pt x="2477237" y="2364807"/>
                </a:lnTo>
                <a:lnTo>
                  <a:pt x="2769488" y="2364807"/>
                </a:lnTo>
                <a:lnTo>
                  <a:pt x="2769488" y="1891916"/>
                </a:lnTo>
                <a:lnTo>
                  <a:pt x="2949894" y="1891916"/>
                </a:lnTo>
                <a:lnTo>
                  <a:pt x="2949894" y="2128712"/>
                </a:lnTo>
                <a:lnTo>
                  <a:pt x="3051327" y="2128712"/>
                </a:lnTo>
                <a:lnTo>
                  <a:pt x="3051327" y="1891916"/>
                </a:lnTo>
                <a:lnTo>
                  <a:pt x="3502341" y="1891916"/>
                </a:lnTo>
                <a:lnTo>
                  <a:pt x="3502341" y="2128712"/>
                </a:lnTo>
                <a:lnTo>
                  <a:pt x="3603775" y="2128712"/>
                </a:lnTo>
                <a:lnTo>
                  <a:pt x="3603775" y="1891916"/>
                </a:lnTo>
                <a:lnTo>
                  <a:pt x="3872159" y="1891916"/>
                </a:lnTo>
                <a:lnTo>
                  <a:pt x="3872159" y="1657343"/>
                </a:lnTo>
                <a:lnTo>
                  <a:pt x="3757037" y="1657343"/>
                </a:lnTo>
                <a:lnTo>
                  <a:pt x="3757037" y="1420546"/>
                </a:lnTo>
                <a:lnTo>
                  <a:pt x="3989154" y="1420546"/>
                </a:lnTo>
                <a:lnTo>
                  <a:pt x="3989154" y="1183750"/>
                </a:lnTo>
                <a:lnTo>
                  <a:pt x="4090588" y="1183750"/>
                </a:lnTo>
                <a:lnTo>
                  <a:pt x="4090588" y="1420546"/>
                </a:lnTo>
                <a:lnTo>
                  <a:pt x="4207349" y="1420546"/>
                </a:lnTo>
                <a:lnTo>
                  <a:pt x="4207349" y="1183750"/>
                </a:lnTo>
                <a:lnTo>
                  <a:pt x="4658361" y="1183750"/>
                </a:lnTo>
                <a:lnTo>
                  <a:pt x="4658361" y="1420546"/>
                </a:lnTo>
                <a:lnTo>
                  <a:pt x="5026776" y="1420546"/>
                </a:lnTo>
                <a:lnTo>
                  <a:pt x="5026776" y="1183750"/>
                </a:lnTo>
                <a:lnTo>
                  <a:pt x="4847074" y="1183750"/>
                </a:lnTo>
                <a:lnTo>
                  <a:pt x="4847074" y="946952"/>
                </a:lnTo>
                <a:lnTo>
                  <a:pt x="5517334" y="946952"/>
                </a:lnTo>
                <a:lnTo>
                  <a:pt x="5517334" y="710156"/>
                </a:lnTo>
                <a:lnTo>
                  <a:pt x="5899555" y="710156"/>
                </a:lnTo>
                <a:lnTo>
                  <a:pt x="5899555" y="473477"/>
                </a:lnTo>
                <a:lnTo>
                  <a:pt x="6068495" y="473477"/>
                </a:lnTo>
                <a:lnTo>
                  <a:pt x="6068495" y="236680"/>
                </a:lnTo>
                <a:lnTo>
                  <a:pt x="6166184" y="236680"/>
                </a:lnTo>
                <a:lnTo>
                  <a:pt x="6166184" y="473477"/>
                </a:lnTo>
                <a:lnTo>
                  <a:pt x="6350567" y="473477"/>
                </a:lnTo>
                <a:lnTo>
                  <a:pt x="6350567" y="710156"/>
                </a:lnTo>
                <a:lnTo>
                  <a:pt x="6452001" y="710156"/>
                </a:lnTo>
                <a:lnTo>
                  <a:pt x="6452001" y="473477"/>
                </a:lnTo>
                <a:lnTo>
                  <a:pt x="6632290" y="473477"/>
                </a:lnTo>
                <a:lnTo>
                  <a:pt x="6632290" y="236797"/>
                </a:lnTo>
                <a:lnTo>
                  <a:pt x="6451885" y="236797"/>
                </a:lnTo>
                <a:close/>
              </a:path>
            </a:pathLst>
          </a:custGeom>
          <a:solidFill>
            <a:srgbClr val="009CDE"/>
          </a:solidFill>
          <a:ln w="0" cap="flat">
            <a:noFill/>
            <a:prstDash val="solid"/>
            <a:miter/>
          </a:ln>
        </p:spPr>
        <p:txBody>
          <a:bodyPr rtlCol="0" anchor="ctr"/>
          <a:lstStyle/>
          <a:p>
            <a:endParaRPr lang="en-GB"/>
          </a:p>
        </p:txBody>
      </p:sp>
      <p:pic>
        <p:nvPicPr>
          <p:cNvPr id="2" name="Logo">
            <a:extLst>
              <a:ext uri="{FF2B5EF4-FFF2-40B4-BE49-F238E27FC236}">
                <a16:creationId xmlns:a16="http://schemas.microsoft.com/office/drawing/2014/main" id="{7B0398FD-91E4-1109-9ECC-48683FFCBC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66053" y="278965"/>
            <a:ext cx="900000" cy="378445"/>
          </a:xfrm>
          <a:prstGeom prst="rect">
            <a:avLst/>
          </a:prstGeom>
        </p:spPr>
      </p:pic>
    </p:spTree>
    <p:extLst>
      <p:ext uri="{BB962C8B-B14F-4D97-AF65-F5344CB8AC3E}">
        <p14:creationId xmlns:p14="http://schemas.microsoft.com/office/powerpoint/2010/main" val="1410030753"/>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Stats and text dark">
    <p:bg>
      <p:bgRef idx="1001">
        <a:schemeClr val="bg2"/>
      </p:bgRef>
    </p:bg>
    <p:spTree>
      <p:nvGrpSpPr>
        <p:cNvPr id="1" name=""/>
        <p:cNvGrpSpPr/>
        <p:nvPr/>
      </p:nvGrpSpPr>
      <p:grpSpPr>
        <a:xfrm>
          <a:off x="0" y="0"/>
          <a:ext cx="0" cy="0"/>
          <a:chOff x="0" y="0"/>
          <a:chExt cx="0" cy="0"/>
        </a:xfrm>
      </p:grpSpPr>
      <p:sp>
        <p:nvSpPr>
          <p:cNvPr id="5" name="PoP">
            <a:extLst>
              <a:ext uri="{FF2B5EF4-FFF2-40B4-BE49-F238E27FC236}">
                <a16:creationId xmlns:a16="http://schemas.microsoft.com/office/drawing/2014/main" id="{FA165846-B585-46D5-D508-A8A1B0901C2E}"/>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
        <p:nvSpPr>
          <p:cNvPr id="4" name="Title Placeholder 13">
            <a:extLst>
              <a:ext uri="{FF2B5EF4-FFF2-40B4-BE49-F238E27FC236}">
                <a16:creationId xmlns:a16="http://schemas.microsoft.com/office/drawing/2014/main" id="{F9FB6AB4-BD52-E671-219E-770825A0F405}"/>
              </a:ext>
            </a:extLst>
          </p:cNvPr>
          <p:cNvSpPr>
            <a:spLocks noGrp="1"/>
          </p:cNvSpPr>
          <p:nvPr>
            <p:ph type="title"/>
          </p:nvPr>
        </p:nvSpPr>
        <p:spPr>
          <a:xfrm>
            <a:off x="790538" y="709937"/>
            <a:ext cx="4248000" cy="553998"/>
          </a:xfrm>
          <a:prstGeom prst="rect">
            <a:avLst/>
          </a:prstGeom>
        </p:spPr>
        <p:txBody>
          <a:bodyPr vert="horz" wrap="square" lIns="0" tIns="0" rIns="0" bIns="0" rtlCol="0" anchor="t" anchorCtr="0">
            <a:spAutoFit/>
          </a:bodyPr>
          <a:lstStyle>
            <a:lvl1pPr>
              <a:defRPr>
                <a:solidFill>
                  <a:schemeClr val="tx1"/>
                </a:solidFill>
              </a:defRPr>
            </a:lvl1pPr>
          </a:lstStyle>
          <a:p>
            <a:r>
              <a:rPr lang="en-US"/>
              <a:t>Click to edit Master title style</a:t>
            </a:r>
            <a:endParaRPr lang="en-GB" dirty="0"/>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790538" y="1581150"/>
            <a:ext cx="4248000" cy="4637088"/>
          </a:xfrm>
          <a:prstGeom prst="rect">
            <a:avLst/>
          </a:prstGeom>
        </p:spPr>
        <p:txBody>
          <a:bodyPr vert="horz" lIns="0" tIns="0" rIns="0" bIns="0" rtlCol="0">
            <a:no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pic>
        <p:nvPicPr>
          <p:cNvPr id="2" name="Logo">
            <a:extLst>
              <a:ext uri="{FF2B5EF4-FFF2-40B4-BE49-F238E27FC236}">
                <a16:creationId xmlns:a16="http://schemas.microsoft.com/office/drawing/2014/main" id="{D5BDB948-D14F-3A39-1D46-7E3EA41BCD69}"/>
              </a:ext>
            </a:extLst>
          </p:cNvPr>
          <p:cNvPicPr>
            <a:picLocks/>
          </p:cNvPicPr>
          <p:nvPr>
            <p:custDataLst>
              <p:tags r:id="rId2"/>
            </p:custDataLst>
          </p:nvPr>
        </p:nvPicPr>
        <p:blipFill rotWithShape="1">
          <a:blip r:embed="rId6">
            <a:extLst>
              <a:ext uri="{96DAC541-7B7A-43D3-8B79-37D633B846F1}">
                <asvg:svgBlip xmlns:asvg="http://schemas.microsoft.com/office/drawing/2016/SVG/main" r:embed="rId7"/>
              </a:ext>
            </a:extLst>
          </a:blip>
          <a:srcRect t="80" b="80"/>
          <a:stretch/>
        </p:blipFill>
        <p:spPr bwMode="black">
          <a:xfrm>
            <a:off x="10866053" y="278965"/>
            <a:ext cx="900000" cy="385227"/>
          </a:xfrm>
          <a:prstGeom prst="rect">
            <a:avLst/>
          </a:prstGeom>
        </p:spPr>
      </p:pic>
      <p:sp>
        <p:nvSpPr>
          <p:cNvPr id="6" name="PoP">
            <a:extLst>
              <a:ext uri="{FF2B5EF4-FFF2-40B4-BE49-F238E27FC236}">
                <a16:creationId xmlns:a16="http://schemas.microsoft.com/office/drawing/2014/main" id="{E6256794-8038-6DA2-3037-A2BE826EE45A}"/>
              </a:ext>
            </a:extLst>
          </p:cNvPr>
          <p:cNvSpPr>
            <a:spLocks noChangeAspect="1"/>
          </p:cNvSpPr>
          <p:nvPr>
            <p:custDataLst>
              <p:tags r:id="rId3"/>
            </p:custDataLst>
          </p:nvPr>
        </p:nvSpPr>
        <p:spPr>
          <a:xfrm>
            <a:off x="4829218" y="3792181"/>
            <a:ext cx="7362782" cy="3065819"/>
          </a:xfrm>
          <a:custGeom>
            <a:avLst/>
            <a:gdLst>
              <a:gd name="connsiteX0" fmla="*/ 281839 w 7362782"/>
              <a:gd name="connsiteY0" fmla="*/ 2602189 h 3065819"/>
              <a:gd name="connsiteX1" fmla="*/ 732852 w 7362782"/>
              <a:gd name="connsiteY1" fmla="*/ 2602189 h 3065819"/>
              <a:gd name="connsiteX2" fmla="*/ 732852 w 7362782"/>
              <a:gd name="connsiteY2" fmla="*/ 2838984 h 3065819"/>
              <a:gd name="connsiteX3" fmla="*/ 281839 w 7362782"/>
              <a:gd name="connsiteY3" fmla="*/ 2838984 h 3065819"/>
              <a:gd name="connsiteX4" fmla="*/ 0 w 7362782"/>
              <a:gd name="connsiteY4" fmla="*/ 2602189 h 3065819"/>
              <a:gd name="connsiteX5" fmla="*/ 180406 w 7362782"/>
              <a:gd name="connsiteY5" fmla="*/ 2602189 h 3065819"/>
              <a:gd name="connsiteX6" fmla="*/ 180406 w 7362782"/>
              <a:gd name="connsiteY6" fmla="*/ 2838984 h 3065819"/>
              <a:gd name="connsiteX7" fmla="*/ 0 w 7362782"/>
              <a:gd name="connsiteY7" fmla="*/ 2838984 h 3065819"/>
              <a:gd name="connsiteX8" fmla="*/ 2955042 w 7362782"/>
              <a:gd name="connsiteY8" fmla="*/ 2365392 h 3065819"/>
              <a:gd name="connsiteX9" fmla="*/ 2955042 w 7362782"/>
              <a:gd name="connsiteY9" fmla="*/ 2602189 h 3065819"/>
              <a:gd name="connsiteX10" fmla="*/ 3056475 w 7362782"/>
              <a:gd name="connsiteY10" fmla="*/ 2602189 h 3065819"/>
              <a:gd name="connsiteX11" fmla="*/ 3056475 w 7362782"/>
              <a:gd name="connsiteY11" fmla="*/ 2365392 h 3065819"/>
              <a:gd name="connsiteX12" fmla="*/ 3181893 w 7362782"/>
              <a:gd name="connsiteY12" fmla="*/ 2128596 h 3065819"/>
              <a:gd name="connsiteX13" fmla="*/ 3181893 w 7362782"/>
              <a:gd name="connsiteY13" fmla="*/ 2365392 h 3065819"/>
              <a:gd name="connsiteX14" fmla="*/ 3362299 w 7362782"/>
              <a:gd name="connsiteY14" fmla="*/ 2365392 h 3065819"/>
              <a:gd name="connsiteX15" fmla="*/ 3362299 w 7362782"/>
              <a:gd name="connsiteY15" fmla="*/ 2128596 h 3065819"/>
              <a:gd name="connsiteX16" fmla="*/ 4682463 w 7362782"/>
              <a:gd name="connsiteY16" fmla="*/ 1657343 h 3065819"/>
              <a:gd name="connsiteX17" fmla="*/ 4682463 w 7362782"/>
              <a:gd name="connsiteY17" fmla="*/ 1891916 h 3065819"/>
              <a:gd name="connsiteX18" fmla="*/ 4846956 w 7362782"/>
              <a:gd name="connsiteY18" fmla="*/ 1891916 h 3065819"/>
              <a:gd name="connsiteX19" fmla="*/ 4846956 w 7362782"/>
              <a:gd name="connsiteY19" fmla="*/ 1657343 h 3065819"/>
              <a:gd name="connsiteX20" fmla="*/ 4207934 w 7362782"/>
              <a:gd name="connsiteY20" fmla="*/ 1420546 h 3065819"/>
              <a:gd name="connsiteX21" fmla="*/ 4207934 w 7362782"/>
              <a:gd name="connsiteY21" fmla="*/ 1655119 h 3065819"/>
              <a:gd name="connsiteX22" fmla="*/ 4309367 w 7362782"/>
              <a:gd name="connsiteY22" fmla="*/ 1655119 h 3065819"/>
              <a:gd name="connsiteX23" fmla="*/ 4309367 w 7362782"/>
              <a:gd name="connsiteY23" fmla="*/ 1420546 h 3065819"/>
              <a:gd name="connsiteX24" fmla="*/ 3475081 w 7362782"/>
              <a:gd name="connsiteY24" fmla="*/ 1420546 h 3065819"/>
              <a:gd name="connsiteX25" fmla="*/ 3655487 w 7362782"/>
              <a:gd name="connsiteY25" fmla="*/ 1420546 h 3065819"/>
              <a:gd name="connsiteX26" fmla="*/ 3655487 w 7362782"/>
              <a:gd name="connsiteY26" fmla="*/ 1657343 h 3065819"/>
              <a:gd name="connsiteX27" fmla="*/ 3475081 w 7362782"/>
              <a:gd name="connsiteY27" fmla="*/ 1657343 h 3065819"/>
              <a:gd name="connsiteX28" fmla="*/ 6673471 w 7362782"/>
              <a:gd name="connsiteY28" fmla="*/ 710273 h 3065819"/>
              <a:gd name="connsiteX29" fmla="*/ 6673471 w 7362782"/>
              <a:gd name="connsiteY29" fmla="*/ 946952 h 3065819"/>
              <a:gd name="connsiteX30" fmla="*/ 6774906 w 7362782"/>
              <a:gd name="connsiteY30" fmla="*/ 946952 h 3065819"/>
              <a:gd name="connsiteX31" fmla="*/ 6774906 w 7362782"/>
              <a:gd name="connsiteY31" fmla="*/ 710273 h 3065819"/>
              <a:gd name="connsiteX32" fmla="*/ 5968230 w 7362782"/>
              <a:gd name="connsiteY32" fmla="*/ 710273 h 3065819"/>
              <a:gd name="connsiteX33" fmla="*/ 5968230 w 7362782"/>
              <a:gd name="connsiteY33" fmla="*/ 946952 h 3065819"/>
              <a:gd name="connsiteX34" fmla="*/ 6069664 w 7362782"/>
              <a:gd name="connsiteY34" fmla="*/ 946952 h 3065819"/>
              <a:gd name="connsiteX35" fmla="*/ 6069664 w 7362782"/>
              <a:gd name="connsiteY35" fmla="*/ 710273 h 3065819"/>
              <a:gd name="connsiteX36" fmla="*/ 7083302 w 7362782"/>
              <a:gd name="connsiteY36" fmla="*/ 236913 h 3065819"/>
              <a:gd name="connsiteX37" fmla="*/ 7083302 w 7362782"/>
              <a:gd name="connsiteY37" fmla="*/ 473593 h 3065819"/>
              <a:gd name="connsiteX38" fmla="*/ 7184736 w 7362782"/>
              <a:gd name="connsiteY38" fmla="*/ 473593 h 3065819"/>
              <a:gd name="connsiteX39" fmla="*/ 7184736 w 7362782"/>
              <a:gd name="connsiteY39" fmla="*/ 236913 h 3065819"/>
              <a:gd name="connsiteX40" fmla="*/ 6451885 w 7362782"/>
              <a:gd name="connsiteY40" fmla="*/ 0 h 3065819"/>
              <a:gd name="connsiteX41" fmla="*/ 7362782 w 7362782"/>
              <a:gd name="connsiteY41" fmla="*/ 0 h 3065819"/>
              <a:gd name="connsiteX42" fmla="*/ 7362782 w 7362782"/>
              <a:gd name="connsiteY42" fmla="*/ 3065819 h 3065819"/>
              <a:gd name="connsiteX43" fmla="*/ 1502792 w 7362782"/>
              <a:gd name="connsiteY43" fmla="*/ 3065819 h 3065819"/>
              <a:gd name="connsiteX44" fmla="*/ 1502792 w 7362782"/>
              <a:gd name="connsiteY44" fmla="*/ 2838399 h 3065819"/>
              <a:gd name="connsiteX45" fmla="*/ 1401357 w 7362782"/>
              <a:gd name="connsiteY45" fmla="*/ 2838399 h 3065819"/>
              <a:gd name="connsiteX46" fmla="*/ 1401357 w 7362782"/>
              <a:gd name="connsiteY46" fmla="*/ 3065819 h 3065819"/>
              <a:gd name="connsiteX47" fmla="*/ 1027795 w 7362782"/>
              <a:gd name="connsiteY47" fmla="*/ 3065819 h 3065819"/>
              <a:gd name="connsiteX48" fmla="*/ 1027795 w 7362782"/>
              <a:gd name="connsiteY48" fmla="*/ 2838399 h 3065819"/>
              <a:gd name="connsiteX49" fmla="*/ 834287 w 7362782"/>
              <a:gd name="connsiteY49" fmla="*/ 2838399 h 3065819"/>
              <a:gd name="connsiteX50" fmla="*/ 834287 w 7362782"/>
              <a:gd name="connsiteY50" fmla="*/ 2601604 h 3065819"/>
              <a:gd name="connsiteX51" fmla="*/ 1574392 w 7362782"/>
              <a:gd name="connsiteY51" fmla="*/ 2601604 h 3065819"/>
              <a:gd name="connsiteX52" fmla="*/ 1574392 w 7362782"/>
              <a:gd name="connsiteY52" fmla="*/ 2364807 h 3065819"/>
              <a:gd name="connsiteX53" fmla="*/ 2025404 w 7362782"/>
              <a:gd name="connsiteY53" fmla="*/ 2364807 h 3065819"/>
              <a:gd name="connsiteX54" fmla="*/ 2025404 w 7362782"/>
              <a:gd name="connsiteY54" fmla="*/ 2128010 h 3065819"/>
              <a:gd name="connsiteX55" fmla="*/ 2477237 w 7362782"/>
              <a:gd name="connsiteY55" fmla="*/ 2128010 h 3065819"/>
              <a:gd name="connsiteX56" fmla="*/ 2477237 w 7362782"/>
              <a:gd name="connsiteY56" fmla="*/ 2364807 h 3065819"/>
              <a:gd name="connsiteX57" fmla="*/ 2769488 w 7362782"/>
              <a:gd name="connsiteY57" fmla="*/ 2364807 h 3065819"/>
              <a:gd name="connsiteX58" fmla="*/ 2769488 w 7362782"/>
              <a:gd name="connsiteY58" fmla="*/ 1891916 h 3065819"/>
              <a:gd name="connsiteX59" fmla="*/ 2949894 w 7362782"/>
              <a:gd name="connsiteY59" fmla="*/ 1891916 h 3065819"/>
              <a:gd name="connsiteX60" fmla="*/ 2949894 w 7362782"/>
              <a:gd name="connsiteY60" fmla="*/ 2128712 h 3065819"/>
              <a:gd name="connsiteX61" fmla="*/ 3051327 w 7362782"/>
              <a:gd name="connsiteY61" fmla="*/ 2128712 h 3065819"/>
              <a:gd name="connsiteX62" fmla="*/ 3051327 w 7362782"/>
              <a:gd name="connsiteY62" fmla="*/ 1891916 h 3065819"/>
              <a:gd name="connsiteX63" fmla="*/ 3502341 w 7362782"/>
              <a:gd name="connsiteY63" fmla="*/ 1891916 h 3065819"/>
              <a:gd name="connsiteX64" fmla="*/ 3502341 w 7362782"/>
              <a:gd name="connsiteY64" fmla="*/ 2128712 h 3065819"/>
              <a:gd name="connsiteX65" fmla="*/ 3603775 w 7362782"/>
              <a:gd name="connsiteY65" fmla="*/ 2128712 h 3065819"/>
              <a:gd name="connsiteX66" fmla="*/ 3603775 w 7362782"/>
              <a:gd name="connsiteY66" fmla="*/ 1891916 h 3065819"/>
              <a:gd name="connsiteX67" fmla="*/ 3872159 w 7362782"/>
              <a:gd name="connsiteY67" fmla="*/ 1891916 h 3065819"/>
              <a:gd name="connsiteX68" fmla="*/ 3872159 w 7362782"/>
              <a:gd name="connsiteY68" fmla="*/ 1657343 h 3065819"/>
              <a:gd name="connsiteX69" fmla="*/ 3757037 w 7362782"/>
              <a:gd name="connsiteY69" fmla="*/ 1657343 h 3065819"/>
              <a:gd name="connsiteX70" fmla="*/ 3757037 w 7362782"/>
              <a:gd name="connsiteY70" fmla="*/ 1420546 h 3065819"/>
              <a:gd name="connsiteX71" fmla="*/ 3989154 w 7362782"/>
              <a:gd name="connsiteY71" fmla="*/ 1420546 h 3065819"/>
              <a:gd name="connsiteX72" fmla="*/ 3989154 w 7362782"/>
              <a:gd name="connsiteY72" fmla="*/ 1183750 h 3065819"/>
              <a:gd name="connsiteX73" fmla="*/ 4090588 w 7362782"/>
              <a:gd name="connsiteY73" fmla="*/ 1183750 h 3065819"/>
              <a:gd name="connsiteX74" fmla="*/ 4090588 w 7362782"/>
              <a:gd name="connsiteY74" fmla="*/ 1420546 h 3065819"/>
              <a:gd name="connsiteX75" fmla="*/ 4207349 w 7362782"/>
              <a:gd name="connsiteY75" fmla="*/ 1420546 h 3065819"/>
              <a:gd name="connsiteX76" fmla="*/ 4207349 w 7362782"/>
              <a:gd name="connsiteY76" fmla="*/ 1183750 h 3065819"/>
              <a:gd name="connsiteX77" fmla="*/ 4658361 w 7362782"/>
              <a:gd name="connsiteY77" fmla="*/ 1183750 h 3065819"/>
              <a:gd name="connsiteX78" fmla="*/ 4658361 w 7362782"/>
              <a:gd name="connsiteY78" fmla="*/ 1420546 h 3065819"/>
              <a:gd name="connsiteX79" fmla="*/ 5026776 w 7362782"/>
              <a:gd name="connsiteY79" fmla="*/ 1420546 h 3065819"/>
              <a:gd name="connsiteX80" fmla="*/ 5026776 w 7362782"/>
              <a:gd name="connsiteY80" fmla="*/ 1183750 h 3065819"/>
              <a:gd name="connsiteX81" fmla="*/ 4847074 w 7362782"/>
              <a:gd name="connsiteY81" fmla="*/ 1183750 h 3065819"/>
              <a:gd name="connsiteX82" fmla="*/ 4847074 w 7362782"/>
              <a:gd name="connsiteY82" fmla="*/ 946952 h 3065819"/>
              <a:gd name="connsiteX83" fmla="*/ 5517334 w 7362782"/>
              <a:gd name="connsiteY83" fmla="*/ 946952 h 3065819"/>
              <a:gd name="connsiteX84" fmla="*/ 5517334 w 7362782"/>
              <a:gd name="connsiteY84" fmla="*/ 710156 h 3065819"/>
              <a:gd name="connsiteX85" fmla="*/ 5899555 w 7362782"/>
              <a:gd name="connsiteY85" fmla="*/ 710156 h 3065819"/>
              <a:gd name="connsiteX86" fmla="*/ 5899555 w 7362782"/>
              <a:gd name="connsiteY86" fmla="*/ 473477 h 3065819"/>
              <a:gd name="connsiteX87" fmla="*/ 6068495 w 7362782"/>
              <a:gd name="connsiteY87" fmla="*/ 473477 h 3065819"/>
              <a:gd name="connsiteX88" fmla="*/ 6068495 w 7362782"/>
              <a:gd name="connsiteY88" fmla="*/ 236680 h 3065819"/>
              <a:gd name="connsiteX89" fmla="*/ 6166184 w 7362782"/>
              <a:gd name="connsiteY89" fmla="*/ 236680 h 3065819"/>
              <a:gd name="connsiteX90" fmla="*/ 6166184 w 7362782"/>
              <a:gd name="connsiteY90" fmla="*/ 473477 h 3065819"/>
              <a:gd name="connsiteX91" fmla="*/ 6350567 w 7362782"/>
              <a:gd name="connsiteY91" fmla="*/ 473477 h 3065819"/>
              <a:gd name="connsiteX92" fmla="*/ 6350567 w 7362782"/>
              <a:gd name="connsiteY92" fmla="*/ 710156 h 3065819"/>
              <a:gd name="connsiteX93" fmla="*/ 6452001 w 7362782"/>
              <a:gd name="connsiteY93" fmla="*/ 710156 h 3065819"/>
              <a:gd name="connsiteX94" fmla="*/ 6452001 w 7362782"/>
              <a:gd name="connsiteY94" fmla="*/ 473477 h 3065819"/>
              <a:gd name="connsiteX95" fmla="*/ 6632290 w 7362782"/>
              <a:gd name="connsiteY95" fmla="*/ 473477 h 3065819"/>
              <a:gd name="connsiteX96" fmla="*/ 6632290 w 7362782"/>
              <a:gd name="connsiteY96" fmla="*/ 236797 h 3065819"/>
              <a:gd name="connsiteX97" fmla="*/ 6451885 w 7362782"/>
              <a:gd name="connsiteY97" fmla="*/ 236797 h 3065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7362782" h="3065819">
                <a:moveTo>
                  <a:pt x="281839" y="2602189"/>
                </a:moveTo>
                <a:lnTo>
                  <a:pt x="732852" y="2602189"/>
                </a:lnTo>
                <a:lnTo>
                  <a:pt x="732852" y="2838984"/>
                </a:lnTo>
                <a:lnTo>
                  <a:pt x="281839" y="2838984"/>
                </a:lnTo>
                <a:close/>
                <a:moveTo>
                  <a:pt x="0" y="2602189"/>
                </a:moveTo>
                <a:lnTo>
                  <a:pt x="180406" y="2602189"/>
                </a:lnTo>
                <a:lnTo>
                  <a:pt x="180406" y="2838984"/>
                </a:lnTo>
                <a:lnTo>
                  <a:pt x="0" y="2838984"/>
                </a:lnTo>
                <a:close/>
                <a:moveTo>
                  <a:pt x="2955042" y="2365392"/>
                </a:moveTo>
                <a:lnTo>
                  <a:pt x="2955042" y="2602189"/>
                </a:lnTo>
                <a:lnTo>
                  <a:pt x="3056475" y="2602189"/>
                </a:lnTo>
                <a:lnTo>
                  <a:pt x="3056475" y="2365392"/>
                </a:lnTo>
                <a:close/>
                <a:moveTo>
                  <a:pt x="3181893" y="2128596"/>
                </a:moveTo>
                <a:lnTo>
                  <a:pt x="3181893" y="2365392"/>
                </a:lnTo>
                <a:lnTo>
                  <a:pt x="3362299" y="2365392"/>
                </a:lnTo>
                <a:lnTo>
                  <a:pt x="3362299" y="2128596"/>
                </a:lnTo>
                <a:close/>
                <a:moveTo>
                  <a:pt x="4682463" y="1657343"/>
                </a:moveTo>
                <a:lnTo>
                  <a:pt x="4682463" y="1891916"/>
                </a:lnTo>
                <a:lnTo>
                  <a:pt x="4846956" y="1891916"/>
                </a:lnTo>
                <a:lnTo>
                  <a:pt x="4846956" y="1657343"/>
                </a:lnTo>
                <a:close/>
                <a:moveTo>
                  <a:pt x="4207934" y="1420546"/>
                </a:moveTo>
                <a:lnTo>
                  <a:pt x="4207934" y="1655119"/>
                </a:lnTo>
                <a:lnTo>
                  <a:pt x="4309367" y="1655119"/>
                </a:lnTo>
                <a:lnTo>
                  <a:pt x="4309367" y="1420546"/>
                </a:lnTo>
                <a:close/>
                <a:moveTo>
                  <a:pt x="3475081" y="1420546"/>
                </a:moveTo>
                <a:lnTo>
                  <a:pt x="3655487" y="1420546"/>
                </a:lnTo>
                <a:lnTo>
                  <a:pt x="3655487" y="1657343"/>
                </a:lnTo>
                <a:lnTo>
                  <a:pt x="3475081" y="1657343"/>
                </a:lnTo>
                <a:close/>
                <a:moveTo>
                  <a:pt x="6673471" y="710273"/>
                </a:moveTo>
                <a:lnTo>
                  <a:pt x="6673471" y="946952"/>
                </a:lnTo>
                <a:lnTo>
                  <a:pt x="6774906" y="946952"/>
                </a:lnTo>
                <a:lnTo>
                  <a:pt x="6774906" y="710273"/>
                </a:lnTo>
                <a:close/>
                <a:moveTo>
                  <a:pt x="5968230" y="710273"/>
                </a:moveTo>
                <a:lnTo>
                  <a:pt x="5968230" y="946952"/>
                </a:lnTo>
                <a:lnTo>
                  <a:pt x="6069664" y="946952"/>
                </a:lnTo>
                <a:lnTo>
                  <a:pt x="6069664" y="710273"/>
                </a:lnTo>
                <a:close/>
                <a:moveTo>
                  <a:pt x="7083302" y="236913"/>
                </a:moveTo>
                <a:lnTo>
                  <a:pt x="7083302" y="473593"/>
                </a:lnTo>
                <a:lnTo>
                  <a:pt x="7184736" y="473593"/>
                </a:lnTo>
                <a:lnTo>
                  <a:pt x="7184736" y="236913"/>
                </a:lnTo>
                <a:close/>
                <a:moveTo>
                  <a:pt x="6451885" y="0"/>
                </a:moveTo>
                <a:lnTo>
                  <a:pt x="7362782" y="0"/>
                </a:lnTo>
                <a:lnTo>
                  <a:pt x="7362782" y="3065819"/>
                </a:lnTo>
                <a:lnTo>
                  <a:pt x="1502792" y="3065819"/>
                </a:lnTo>
                <a:lnTo>
                  <a:pt x="1502792" y="2838399"/>
                </a:lnTo>
                <a:lnTo>
                  <a:pt x="1401357" y="2838399"/>
                </a:lnTo>
                <a:lnTo>
                  <a:pt x="1401357" y="3065819"/>
                </a:lnTo>
                <a:lnTo>
                  <a:pt x="1027795" y="3065819"/>
                </a:lnTo>
                <a:lnTo>
                  <a:pt x="1027795" y="2838399"/>
                </a:lnTo>
                <a:lnTo>
                  <a:pt x="834287" y="2838399"/>
                </a:lnTo>
                <a:lnTo>
                  <a:pt x="834287" y="2601604"/>
                </a:lnTo>
                <a:lnTo>
                  <a:pt x="1574392" y="2601604"/>
                </a:lnTo>
                <a:lnTo>
                  <a:pt x="1574392" y="2364807"/>
                </a:lnTo>
                <a:lnTo>
                  <a:pt x="2025404" y="2364807"/>
                </a:lnTo>
                <a:lnTo>
                  <a:pt x="2025404" y="2128010"/>
                </a:lnTo>
                <a:lnTo>
                  <a:pt x="2477237" y="2128010"/>
                </a:lnTo>
                <a:lnTo>
                  <a:pt x="2477237" y="2364807"/>
                </a:lnTo>
                <a:lnTo>
                  <a:pt x="2769488" y="2364807"/>
                </a:lnTo>
                <a:lnTo>
                  <a:pt x="2769488" y="1891916"/>
                </a:lnTo>
                <a:lnTo>
                  <a:pt x="2949894" y="1891916"/>
                </a:lnTo>
                <a:lnTo>
                  <a:pt x="2949894" y="2128712"/>
                </a:lnTo>
                <a:lnTo>
                  <a:pt x="3051327" y="2128712"/>
                </a:lnTo>
                <a:lnTo>
                  <a:pt x="3051327" y="1891916"/>
                </a:lnTo>
                <a:lnTo>
                  <a:pt x="3502341" y="1891916"/>
                </a:lnTo>
                <a:lnTo>
                  <a:pt x="3502341" y="2128712"/>
                </a:lnTo>
                <a:lnTo>
                  <a:pt x="3603775" y="2128712"/>
                </a:lnTo>
                <a:lnTo>
                  <a:pt x="3603775" y="1891916"/>
                </a:lnTo>
                <a:lnTo>
                  <a:pt x="3872159" y="1891916"/>
                </a:lnTo>
                <a:lnTo>
                  <a:pt x="3872159" y="1657343"/>
                </a:lnTo>
                <a:lnTo>
                  <a:pt x="3757037" y="1657343"/>
                </a:lnTo>
                <a:lnTo>
                  <a:pt x="3757037" y="1420546"/>
                </a:lnTo>
                <a:lnTo>
                  <a:pt x="3989154" y="1420546"/>
                </a:lnTo>
                <a:lnTo>
                  <a:pt x="3989154" y="1183750"/>
                </a:lnTo>
                <a:lnTo>
                  <a:pt x="4090588" y="1183750"/>
                </a:lnTo>
                <a:lnTo>
                  <a:pt x="4090588" y="1420546"/>
                </a:lnTo>
                <a:lnTo>
                  <a:pt x="4207349" y="1420546"/>
                </a:lnTo>
                <a:lnTo>
                  <a:pt x="4207349" y="1183750"/>
                </a:lnTo>
                <a:lnTo>
                  <a:pt x="4658361" y="1183750"/>
                </a:lnTo>
                <a:lnTo>
                  <a:pt x="4658361" y="1420546"/>
                </a:lnTo>
                <a:lnTo>
                  <a:pt x="5026776" y="1420546"/>
                </a:lnTo>
                <a:lnTo>
                  <a:pt x="5026776" y="1183750"/>
                </a:lnTo>
                <a:lnTo>
                  <a:pt x="4847074" y="1183750"/>
                </a:lnTo>
                <a:lnTo>
                  <a:pt x="4847074" y="946952"/>
                </a:lnTo>
                <a:lnTo>
                  <a:pt x="5517334" y="946952"/>
                </a:lnTo>
                <a:lnTo>
                  <a:pt x="5517334" y="710156"/>
                </a:lnTo>
                <a:lnTo>
                  <a:pt x="5899555" y="710156"/>
                </a:lnTo>
                <a:lnTo>
                  <a:pt x="5899555" y="473477"/>
                </a:lnTo>
                <a:lnTo>
                  <a:pt x="6068495" y="473477"/>
                </a:lnTo>
                <a:lnTo>
                  <a:pt x="6068495" y="236680"/>
                </a:lnTo>
                <a:lnTo>
                  <a:pt x="6166184" y="236680"/>
                </a:lnTo>
                <a:lnTo>
                  <a:pt x="6166184" y="473477"/>
                </a:lnTo>
                <a:lnTo>
                  <a:pt x="6350567" y="473477"/>
                </a:lnTo>
                <a:lnTo>
                  <a:pt x="6350567" y="710156"/>
                </a:lnTo>
                <a:lnTo>
                  <a:pt x="6452001" y="710156"/>
                </a:lnTo>
                <a:lnTo>
                  <a:pt x="6452001" y="473477"/>
                </a:lnTo>
                <a:lnTo>
                  <a:pt x="6632290" y="473477"/>
                </a:lnTo>
                <a:lnTo>
                  <a:pt x="6632290" y="236797"/>
                </a:lnTo>
                <a:lnTo>
                  <a:pt x="6451885" y="236797"/>
                </a:lnTo>
                <a:close/>
              </a:path>
            </a:pathLst>
          </a:custGeom>
          <a:solidFill>
            <a:srgbClr val="009CDE"/>
          </a:solidFill>
          <a:ln w="0" cap="flat">
            <a:noFill/>
            <a:prstDash val="solid"/>
            <a:miter/>
          </a:ln>
        </p:spPr>
        <p:txBody>
          <a:bodyPr rtlCol="0" anchor="ctr"/>
          <a:lstStyle/>
          <a:p>
            <a:endParaRPr lang="en-GB"/>
          </a:p>
        </p:txBody>
      </p:sp>
      <p:pic>
        <p:nvPicPr>
          <p:cNvPr id="9" name="Picture 8">
            <a:extLst>
              <a:ext uri="{FF2B5EF4-FFF2-40B4-BE49-F238E27FC236}">
                <a16:creationId xmlns:a16="http://schemas.microsoft.com/office/drawing/2014/main" id="{A1647CCA-2921-F01F-A7AA-6D67F5F33A21}"/>
              </a:ext>
            </a:extLst>
          </p:cNvPr>
          <p:cNvPicPr>
            <a:picLocks noChangeAspect="1"/>
          </p:cNvPicPr>
          <p:nvPr>
            <p:custDataLst>
              <p:tags r:id="rId4"/>
            </p:custDataLst>
          </p:nvPr>
        </p:nvPicPr>
        <p:blipFill>
          <a:blip r:embed="rId8"/>
          <a:stretch>
            <a:fillRect/>
          </a:stretch>
        </p:blipFill>
        <p:spPr>
          <a:xfrm>
            <a:off x="5915998" y="1313295"/>
            <a:ext cx="5602235" cy="2234189"/>
          </a:xfrm>
          <a:prstGeom prst="rect">
            <a:avLst/>
          </a:prstGeom>
        </p:spPr>
      </p:pic>
    </p:spTree>
    <p:extLst>
      <p:ext uri="{BB962C8B-B14F-4D97-AF65-F5344CB8AC3E}">
        <p14:creationId xmlns:p14="http://schemas.microsoft.com/office/powerpoint/2010/main" val="5126682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EE8C3-CAC5-6D7D-737C-C1FF54D6145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B676995-7283-373F-7C21-5BA3F1B7FA2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7997EE4A-D5D3-9C22-E81A-0BDCEC633496}"/>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29906781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5AE9C9-21B7-5594-1683-919090BEE943}"/>
              </a:ext>
            </a:extLst>
          </p:cNvPr>
          <p:cNvSpPr>
            <a:spLocks noGrp="1"/>
          </p:cNvSpPr>
          <p:nvPr>
            <p:ph type="title" orient="vert"/>
          </p:nvPr>
        </p:nvSpPr>
        <p:spPr>
          <a:xfrm>
            <a:off x="8885238" y="548968"/>
            <a:ext cx="2520950" cy="5669269"/>
          </a:xfrm>
        </p:spPr>
        <p:txBody>
          <a:bodyPr vert="eaVert"/>
          <a:lstStyle/>
          <a:p>
            <a:r>
              <a:rPr lang="en-US"/>
              <a:t>Click to edit Master title style</a:t>
            </a:r>
            <a:endParaRPr lang="en-GB" dirty="0"/>
          </a:p>
        </p:txBody>
      </p:sp>
      <p:sp>
        <p:nvSpPr>
          <p:cNvPr id="3" name="Vertical Text Placeholder 2">
            <a:extLst>
              <a:ext uri="{FF2B5EF4-FFF2-40B4-BE49-F238E27FC236}">
                <a16:creationId xmlns:a16="http://schemas.microsoft.com/office/drawing/2014/main" id="{99709DA0-877F-2DB6-3393-B09F0C22E4D6}"/>
              </a:ext>
            </a:extLst>
          </p:cNvPr>
          <p:cNvSpPr>
            <a:spLocks noGrp="1"/>
          </p:cNvSpPr>
          <p:nvPr>
            <p:ph type="body" orient="vert" idx="1"/>
          </p:nvPr>
        </p:nvSpPr>
        <p:spPr>
          <a:xfrm>
            <a:off x="785813" y="548968"/>
            <a:ext cx="8099425" cy="566926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a:extLst>
              <a:ext uri="{FF2B5EF4-FFF2-40B4-BE49-F238E27FC236}">
                <a16:creationId xmlns:a16="http://schemas.microsoft.com/office/drawing/2014/main" id="{90CA9267-7E18-DEBB-BCB1-7905ECDE0D7E}"/>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221865155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Back cover">
    <p:bg>
      <p:bgRef idx="1001">
        <a:schemeClr val="bg2"/>
      </p:bgRef>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121154CE-E443-F989-D157-4232E4E73F64}"/>
              </a:ext>
            </a:extLst>
          </p:cNvPr>
          <p:cNvPicPr>
            <a:picLocks/>
          </p:cNvPicPr>
          <p:nvPr>
            <p:custDataLst>
              <p:tags r:id="rId1"/>
            </p:custDataLst>
          </p:nvPr>
        </p:nvPicPr>
        <p:blipFill rotWithShape="1">
          <a:blip r:embed="rId3">
            <a:extLst>
              <a:ext uri="{96DAC541-7B7A-43D3-8B79-37D633B846F1}">
                <asvg:svgBlip xmlns:asvg="http://schemas.microsoft.com/office/drawing/2016/SVG/main" r:embed="rId4"/>
              </a:ext>
            </a:extLst>
          </a:blip>
          <a:srcRect t="80" b="80"/>
          <a:stretch/>
        </p:blipFill>
        <p:spPr>
          <a:xfrm>
            <a:off x="10171388" y="684213"/>
            <a:ext cx="1234800" cy="518400"/>
          </a:xfrm>
          <a:prstGeom prst="rect">
            <a:avLst/>
          </a:prstGeom>
        </p:spPr>
      </p:pic>
    </p:spTree>
    <p:extLst>
      <p:ext uri="{BB962C8B-B14F-4D97-AF65-F5344CB8AC3E}">
        <p14:creationId xmlns:p14="http://schemas.microsoft.com/office/powerpoint/2010/main" val="343697824"/>
      </p:ext>
    </p:extLst>
  </p:cSld>
  <p:clrMapOvr>
    <a:overrideClrMapping bg1="dk1" tx1="lt1" bg2="dk2" tx2="lt2" accent1="accent1" accent2="accent2" accent3="accent3" accent4="accent4" accent5="accent5" accent6="accent6" hlink="hlink" folHlink="folHlink"/>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4"/>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231" indent="0" algn="ctr">
              <a:buNone/>
              <a:defRPr sz="2000"/>
            </a:lvl2pPr>
            <a:lvl3pPr marL="914462" indent="0" algn="ctr">
              <a:buNone/>
              <a:defRPr sz="1800"/>
            </a:lvl3pPr>
            <a:lvl4pPr marL="1371695" indent="0" algn="ctr">
              <a:buNone/>
              <a:defRPr sz="1600"/>
            </a:lvl4pPr>
            <a:lvl5pPr marL="1828926" indent="0" algn="ctr">
              <a:buNone/>
              <a:defRPr sz="1600"/>
            </a:lvl5pPr>
            <a:lvl6pPr marL="2286158" indent="0" algn="ctr">
              <a:buNone/>
              <a:defRPr sz="1600"/>
            </a:lvl6pPr>
            <a:lvl7pPr marL="2743389" indent="0" algn="ctr">
              <a:buNone/>
              <a:defRPr sz="1600"/>
            </a:lvl7pPr>
            <a:lvl8pPr marL="3200620" indent="0" algn="ctr">
              <a:buNone/>
              <a:defRPr sz="1600"/>
            </a:lvl8pPr>
            <a:lvl9pPr marL="3657851"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FFEFBBE2-AE6E-F54C-A730-30AA6756D286}" type="datetimeFigureOut">
              <a:rPr lang="en-US"/>
              <a:t>7/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5A8D2-B889-C84C-9F81-1812FD4E0C5C}" type="slidenum">
              <a:rPr lang="en-US"/>
              <a:t>‹#›</a:t>
            </a:fld>
            <a:endParaRPr lang="en-US"/>
          </a:p>
        </p:txBody>
      </p:sp>
    </p:spTree>
    <p:extLst>
      <p:ext uri="{BB962C8B-B14F-4D97-AF65-F5344CB8AC3E}">
        <p14:creationId xmlns:p14="http://schemas.microsoft.com/office/powerpoint/2010/main" val="392293651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22"/>
        <p:cNvGrpSpPr/>
        <p:nvPr/>
      </p:nvGrpSpPr>
      <p:grpSpPr>
        <a:xfrm>
          <a:off x="0" y="0"/>
          <a:ext cx="0" cy="0"/>
          <a:chOff x="0" y="0"/>
          <a:chExt cx="0" cy="0"/>
        </a:xfrm>
      </p:grpSpPr>
      <p:sp>
        <p:nvSpPr>
          <p:cNvPr id="23" name="Google Shape;23;g13b66430dbd_1_4198"/>
          <p:cNvSpPr txBox="1">
            <a:spLocks noGrp="1"/>
          </p:cNvSpPr>
          <p:nvPr>
            <p:ph type="body" idx="1"/>
          </p:nvPr>
        </p:nvSpPr>
        <p:spPr>
          <a:xfrm>
            <a:off x="547159" y="1066800"/>
            <a:ext cx="11120000" cy="5215400"/>
          </a:xfrm>
          <a:prstGeom prst="rect">
            <a:avLst/>
          </a:prstGeom>
          <a:noFill/>
          <a:ln>
            <a:noFill/>
          </a:ln>
        </p:spPr>
        <p:txBody>
          <a:bodyPr spcFirstLastPara="1" wrap="square" lIns="0" tIns="45700" rIns="0" bIns="45700" anchor="t" anchorCtr="0">
            <a:noAutofit/>
          </a:bodyPr>
          <a:lstStyle>
            <a:lvl1pPr marL="304815" lvl="0" indent="-245546" algn="l">
              <a:lnSpc>
                <a:spcPct val="110000"/>
              </a:lnSpc>
              <a:spcBef>
                <a:spcPts val="1000"/>
              </a:spcBef>
              <a:spcAft>
                <a:spcPts val="0"/>
              </a:spcAft>
              <a:buSzPts val="2200"/>
              <a:buChar char="▪"/>
              <a:defRPr/>
            </a:lvl1pPr>
            <a:lvl2pPr marL="609630" lvl="1" indent="-237079" algn="l">
              <a:lnSpc>
                <a:spcPct val="110000"/>
              </a:lnSpc>
              <a:spcBef>
                <a:spcPts val="1000"/>
              </a:spcBef>
              <a:spcAft>
                <a:spcPts val="0"/>
              </a:spcAft>
              <a:buSzPts val="2000"/>
              <a:buChar char="–"/>
              <a:defRPr/>
            </a:lvl2pPr>
            <a:lvl3pPr marL="914446" lvl="2" indent="-228611" algn="l">
              <a:lnSpc>
                <a:spcPct val="110000"/>
              </a:lnSpc>
              <a:spcBef>
                <a:spcPts val="1000"/>
              </a:spcBef>
              <a:spcAft>
                <a:spcPts val="0"/>
              </a:spcAft>
              <a:buSzPts val="1800"/>
              <a:buChar char="•"/>
              <a:defRPr/>
            </a:lvl3pPr>
            <a:lvl4pPr marL="1219261" lvl="3" indent="-220144" algn="l">
              <a:lnSpc>
                <a:spcPct val="110000"/>
              </a:lnSpc>
              <a:spcBef>
                <a:spcPts val="1000"/>
              </a:spcBef>
              <a:spcAft>
                <a:spcPts val="0"/>
              </a:spcAft>
              <a:buSzPts val="1600"/>
              <a:buChar char="&gt;"/>
              <a:defRPr/>
            </a:lvl4pPr>
            <a:lvl5pPr marL="1524076" lvl="4" indent="-211677" algn="l">
              <a:lnSpc>
                <a:spcPct val="110000"/>
              </a:lnSpc>
              <a:spcBef>
                <a:spcPts val="1000"/>
              </a:spcBef>
              <a:spcAft>
                <a:spcPts val="0"/>
              </a:spcAft>
              <a:buSzPts val="1400"/>
              <a:buChar char="o"/>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lang="en-US"/>
          </a:p>
        </p:txBody>
      </p:sp>
      <p:sp>
        <p:nvSpPr>
          <p:cNvPr id="24" name="Google Shape;24;g13b66430dbd_1_4198"/>
          <p:cNvSpPr txBox="1">
            <a:spLocks noGrp="1"/>
          </p:cNvSpPr>
          <p:nvPr>
            <p:ph type="title"/>
          </p:nvPr>
        </p:nvSpPr>
        <p:spPr>
          <a:xfrm>
            <a:off x="547160" y="343959"/>
            <a:ext cx="11120000" cy="604400"/>
          </a:xfrm>
          <a:prstGeom prst="rect">
            <a:avLst/>
          </a:prstGeom>
          <a:noFill/>
          <a:ln>
            <a:noFill/>
          </a:ln>
        </p:spPr>
        <p:txBody>
          <a:bodyPr spcFirstLastPara="1" wrap="square" lIns="0" tIns="45700" rIns="0" bIns="45700" anchor="t" anchorCtr="0">
            <a:noAutofit/>
          </a:bodyPr>
          <a:lstStyle>
            <a:lvl1pPr lvl="0" algn="l">
              <a:lnSpc>
                <a:spcPct val="90000"/>
              </a:lnSpc>
              <a:spcBef>
                <a:spcPts val="0"/>
              </a:spcBef>
              <a:spcAft>
                <a:spcPts val="0"/>
              </a:spcAft>
              <a:buClr>
                <a:schemeClr val="dk1"/>
              </a:buClr>
              <a:buSzPts val="5800"/>
              <a:buFont typeface="Arial"/>
              <a:buNone/>
              <a:defRPr sz="36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en-US"/>
          </a:p>
        </p:txBody>
      </p:sp>
      <p:sp>
        <p:nvSpPr>
          <p:cNvPr id="25" name="Google Shape;25;g13b66430dbd_1_4198"/>
          <p:cNvSpPr txBox="1">
            <a:spLocks noGrp="1"/>
          </p:cNvSpPr>
          <p:nvPr>
            <p:ph type="sldNum" idx="12"/>
          </p:nvPr>
        </p:nvSpPr>
        <p:spPr>
          <a:xfrm>
            <a:off x="10899423" y="6519334"/>
            <a:ext cx="767600" cy="2220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800" b="0" i="0" u="none" strike="noStrike" kern="1200" cap="none" spc="0" normalizeH="0" baseline="0" noProof="0" smtClean="0">
                <a:ln>
                  <a:noFill/>
                </a:ln>
                <a:solidFill>
                  <a:srgbClr val="7F7F7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a:t>
            </a:fld>
            <a:endParaRPr kumimoji="0" lang="en-US" sz="800" b="0" i="0" u="none" strike="noStrike" kern="1200" cap="none" spc="0" normalizeH="0" baseline="0" noProof="0">
              <a:ln>
                <a:noFill/>
              </a:ln>
              <a:solidFill>
                <a:srgbClr val="7F7F7F"/>
              </a:solidFill>
              <a:effectLst/>
              <a:uLnTx/>
              <a:uFillTx/>
              <a:latin typeface="Arial"/>
              <a:cs typeface="Arial"/>
              <a:sym typeface="Arial"/>
            </a:endParaRPr>
          </a:p>
        </p:txBody>
      </p:sp>
    </p:spTree>
    <p:extLst>
      <p:ext uri="{BB962C8B-B14F-4D97-AF65-F5344CB8AC3E}">
        <p14:creationId xmlns:p14="http://schemas.microsoft.com/office/powerpoint/2010/main" val="1009171245"/>
      </p:ext>
    </p:extLst>
  </p:cSld>
  <p:clrMapOvr>
    <a:masterClrMapping/>
  </p:clrMapOvr>
  <p:extLst>
    <p:ext uri="{DCECCB84-F9BA-43D5-87BE-67443E8EF086}">
      <p15:sldGuideLst xmlns:p15="http://schemas.microsoft.com/office/powerpoint/2012/main">
        <p15:guide id="1" orient="horz" pos="588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Mai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08000" y="1380067"/>
            <a:ext cx="10845800" cy="46397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12"/>
          </p:nvPr>
        </p:nvSpPr>
        <p:spPr>
          <a:xfrm>
            <a:off x="6154652" y="6356897"/>
            <a:ext cx="2743200" cy="264583"/>
          </a:xfrm>
          <a:prstGeom prst="rect">
            <a:avLst/>
          </a:prstGeom>
        </p:spPr>
        <p:txBody>
          <a:bodyPr/>
          <a:lstStyle>
            <a:lvl1pPr algn="l">
              <a:defRPr sz="1000">
                <a:solidFill>
                  <a:schemeClr val="tx1"/>
                </a:solidFill>
                <a:latin typeface="Arial" panose="020B0604020202020204" pitchFamily="34" charset="0"/>
                <a:cs typeface="Arial" panose="020B0604020202020204" pitchFamily="34" charset="0"/>
              </a:defRPr>
            </a:lvl1pPr>
          </a:lstStyle>
          <a:p>
            <a:fld id="{936A99BC-3C9D-4DF8-8B8C-E1FD2BDF0AD4}" type="slidenum">
              <a:rPr lang="en-US" smtClean="0"/>
              <a:pPr/>
              <a:t>‹#›</a:t>
            </a:fld>
            <a:endParaRPr lang="en-US"/>
          </a:p>
        </p:txBody>
      </p:sp>
      <p:sp>
        <p:nvSpPr>
          <p:cNvPr id="4" name="TextBox 3"/>
          <p:cNvSpPr txBox="1"/>
          <p:nvPr userDrawn="1"/>
        </p:nvSpPr>
        <p:spPr>
          <a:xfrm>
            <a:off x="508000" y="6470650"/>
            <a:ext cx="2589196" cy="215444"/>
          </a:xfrm>
          <a:prstGeom prst="rect">
            <a:avLst/>
          </a:prstGeom>
          <a:solidFill>
            <a:schemeClr val="bg1"/>
          </a:solidFill>
        </p:spPr>
        <p:txBody>
          <a:bodyPr wrap="square" rtlCol="0">
            <a:spAutoFit/>
          </a:bodyPr>
          <a:lstStyle/>
          <a:p>
            <a:r>
              <a:rPr lang="en-US" sz="800">
                <a:solidFill>
                  <a:schemeClr val="bg2">
                    <a:lumMod val="75000"/>
                  </a:schemeClr>
                </a:solidFill>
              </a:rPr>
              <a:t>© 2022 RSM US LLP. All Rights Reserved.</a:t>
            </a:r>
          </a:p>
        </p:txBody>
      </p:sp>
    </p:spTree>
    <p:extLst>
      <p:ext uri="{BB962C8B-B14F-4D97-AF65-F5344CB8AC3E}">
        <p14:creationId xmlns:p14="http://schemas.microsoft.com/office/powerpoint/2010/main" val="16743846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7792F-65E0-2F0E-A986-40F6AD8B1DD2}"/>
              </a:ext>
            </a:extLst>
          </p:cNvPr>
          <p:cNvSpPr>
            <a:spLocks noGrp="1"/>
          </p:cNvSpPr>
          <p:nvPr>
            <p:ph type="title"/>
          </p:nvPr>
        </p:nvSpPr>
        <p:spPr/>
        <p:txBody>
          <a:bodyPr/>
          <a:lstStyle/>
          <a:p>
            <a:r>
              <a:rPr lang="en-US"/>
              <a:t>Click to edit Master title style</a:t>
            </a:r>
            <a:endParaRPr lang="en-GB" dirty="0"/>
          </a:p>
        </p:txBody>
      </p:sp>
      <p:sp>
        <p:nvSpPr>
          <p:cNvPr id="5" name="Slide Number Placeholder 4">
            <a:extLst>
              <a:ext uri="{FF2B5EF4-FFF2-40B4-BE49-F238E27FC236}">
                <a16:creationId xmlns:a16="http://schemas.microsoft.com/office/drawing/2014/main" id="{86C65AE3-0C2B-E01A-62AC-907E10AF193E}"/>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26260181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204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Photo and text layout 1">
    <p:spTree>
      <p:nvGrpSpPr>
        <p:cNvPr id="1" name=""/>
        <p:cNvGrpSpPr/>
        <p:nvPr/>
      </p:nvGrpSpPr>
      <p:grpSpPr>
        <a:xfrm>
          <a:off x="0" y="0"/>
          <a:ext cx="0" cy="0"/>
          <a:chOff x="0" y="0"/>
          <a:chExt cx="0" cy="0"/>
        </a:xfrm>
      </p:grpSpPr>
      <p:sp>
        <p:nvSpPr>
          <p:cNvPr id="5" name="PoP">
            <a:extLst>
              <a:ext uri="{FF2B5EF4-FFF2-40B4-BE49-F238E27FC236}">
                <a16:creationId xmlns:a16="http://schemas.microsoft.com/office/drawing/2014/main" id="{E72A0725-2CBB-4371-CBB1-F4914932FA20}"/>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
        <p:nvSpPr>
          <p:cNvPr id="4" name="Title Placeholder 13">
            <a:extLst>
              <a:ext uri="{FF2B5EF4-FFF2-40B4-BE49-F238E27FC236}">
                <a16:creationId xmlns:a16="http://schemas.microsoft.com/office/drawing/2014/main" id="{F9FB6AB4-BD52-E671-219E-770825A0F405}"/>
              </a:ext>
            </a:extLst>
          </p:cNvPr>
          <p:cNvSpPr>
            <a:spLocks noGrp="1"/>
          </p:cNvSpPr>
          <p:nvPr>
            <p:ph type="title"/>
          </p:nvPr>
        </p:nvSpPr>
        <p:spPr>
          <a:xfrm>
            <a:off x="5556008" y="709937"/>
            <a:ext cx="5832011"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lick to edit Master title style</a:t>
            </a:r>
            <a:endParaRPr lang="en-GB" dirty="0"/>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5018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8" y="1569924"/>
            <a:ext cx="5832012" cy="381600"/>
          </a:xfrm>
        </p:spPr>
        <p:txBody>
          <a:bodyPr/>
          <a:lstStyle>
            <a:lvl1pPr>
              <a:defRPr sz="2000" b="1">
                <a:solidFill>
                  <a:schemeClr val="accent1"/>
                </a:solidFill>
              </a:defRPr>
            </a:lvl1pPr>
          </a:lstStyle>
          <a:p>
            <a:pPr lvl="0"/>
            <a:r>
              <a:rPr lang="en-GB" dirty="0"/>
              <a:t>Heading</a:t>
            </a:r>
          </a:p>
        </p:txBody>
      </p:sp>
      <p:pic>
        <p:nvPicPr>
          <p:cNvPr id="10" name="RSM Logo" descr="Z:\RSM International\1 Design\2015\Brand\Guidelines\Logos\Logos-03.png">
            <a:extLst>
              <a:ext uri="{FF2B5EF4-FFF2-40B4-BE49-F238E27FC236}">
                <a16:creationId xmlns:a16="http://schemas.microsoft.com/office/drawing/2014/main" id="{DE2EC352-60A3-667C-AA8D-255C0CBDA45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866053" y="278965"/>
            <a:ext cx="900000" cy="385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39130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Pull-out slide">
    <p:bg>
      <p:bgRef idx="1001">
        <a:schemeClr val="bg1"/>
      </p:bgRef>
    </p:bg>
    <p:spTree>
      <p:nvGrpSpPr>
        <p:cNvPr id="1" name=""/>
        <p:cNvGrpSpPr/>
        <p:nvPr/>
      </p:nvGrpSpPr>
      <p:grpSpPr>
        <a:xfrm>
          <a:off x="0" y="0"/>
          <a:ext cx="0" cy="0"/>
          <a:chOff x="0" y="0"/>
          <a:chExt cx="0" cy="0"/>
        </a:xfrm>
      </p:grpSpPr>
      <p:sp>
        <p:nvSpPr>
          <p:cNvPr id="15" name="Title Placeholder 13">
            <a:extLst>
              <a:ext uri="{FF2B5EF4-FFF2-40B4-BE49-F238E27FC236}">
                <a16:creationId xmlns:a16="http://schemas.microsoft.com/office/drawing/2014/main" id="{DC3B6FE6-7FB7-7E8B-8DEF-901D173E82FB}"/>
              </a:ext>
            </a:extLst>
          </p:cNvPr>
          <p:cNvSpPr>
            <a:spLocks noGrp="1"/>
          </p:cNvSpPr>
          <p:nvPr>
            <p:ph type="title" hasCustomPrompt="1"/>
          </p:nvPr>
        </p:nvSpPr>
        <p:spPr>
          <a:xfrm>
            <a:off x="846636" y="803982"/>
            <a:ext cx="5189040" cy="5015069"/>
          </a:xfrm>
          <a:prstGeom prst="rect">
            <a:avLst/>
          </a:prstGeom>
          <a:solidFill>
            <a:srgbClr val="00153D"/>
          </a:solidFill>
        </p:spPr>
        <p:txBody>
          <a:bodyPr vert="horz" wrap="square" lIns="180000" tIns="144000" rIns="180000" bIns="144000" rtlCol="0" anchor="ctr" anchorCtr="0">
            <a:noAutofit/>
          </a:bodyPr>
          <a:lstStyle>
            <a:lvl1pPr>
              <a:defRPr>
                <a:solidFill>
                  <a:schemeClr val="bg1"/>
                </a:solidFill>
              </a:defRPr>
            </a:lvl1pPr>
          </a:lstStyle>
          <a:p>
            <a:r>
              <a:rPr lang="en-US" dirty="0"/>
              <a:t>Pull-out slide</a:t>
            </a:r>
            <a:endParaRPr lang="en-GB" dirty="0"/>
          </a:p>
        </p:txBody>
      </p:sp>
    </p:spTree>
    <p:extLst>
      <p:ext uri="{BB962C8B-B14F-4D97-AF65-F5344CB8AC3E}">
        <p14:creationId xmlns:p14="http://schemas.microsoft.com/office/powerpoint/2010/main" val="2461794439"/>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Photo and text layout 2">
    <p:spTree>
      <p:nvGrpSpPr>
        <p:cNvPr id="1" name=""/>
        <p:cNvGrpSpPr/>
        <p:nvPr/>
      </p:nvGrpSpPr>
      <p:grpSpPr>
        <a:xfrm>
          <a:off x="0" y="0"/>
          <a:ext cx="0" cy="0"/>
          <a:chOff x="0" y="0"/>
          <a:chExt cx="0" cy="0"/>
        </a:xfrm>
      </p:grpSpPr>
      <p:sp>
        <p:nvSpPr>
          <p:cNvPr id="5" name="PoP">
            <a:extLst>
              <a:ext uri="{FF2B5EF4-FFF2-40B4-BE49-F238E27FC236}">
                <a16:creationId xmlns:a16="http://schemas.microsoft.com/office/drawing/2014/main" id="{FA165846-B585-46D5-D508-A8A1B0901C2E}"/>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790538" y="709937"/>
            <a:ext cx="5898658"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dirty="0"/>
              <a:t>Portrait image slide</a:t>
            </a:r>
            <a:endParaRPr lang="en-GB" dirty="0"/>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79053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790538" y="1569924"/>
            <a:ext cx="5898659" cy="381600"/>
          </a:xfrm>
        </p:spPr>
        <p:txBody>
          <a:bodyPr/>
          <a:lstStyle>
            <a:lvl1pPr>
              <a:defRPr sz="2000" b="1">
                <a:solidFill>
                  <a:schemeClr val="accent1"/>
                </a:solidFill>
              </a:defRPr>
            </a:lvl1pPr>
          </a:lstStyle>
          <a:p>
            <a:pPr lvl="0"/>
            <a:r>
              <a:rPr lang="en-GB" dirty="0"/>
              <a:t>Heading</a:t>
            </a:r>
          </a:p>
        </p:txBody>
      </p:sp>
      <p:pic>
        <p:nvPicPr>
          <p:cNvPr id="2" name="Logo">
            <a:extLst>
              <a:ext uri="{FF2B5EF4-FFF2-40B4-BE49-F238E27FC236}">
                <a16:creationId xmlns:a16="http://schemas.microsoft.com/office/drawing/2014/main" id="{F7B07BBC-7544-CDAC-500B-46274A684C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445"/>
          </a:xfrm>
          <a:prstGeom prst="rect">
            <a:avLst/>
          </a:prstGeom>
        </p:spPr>
      </p:pic>
    </p:spTree>
    <p:extLst>
      <p:ext uri="{BB962C8B-B14F-4D97-AF65-F5344CB8AC3E}">
        <p14:creationId xmlns:p14="http://schemas.microsoft.com/office/powerpoint/2010/main" val="31582992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Stats and text">
    <p:spTree>
      <p:nvGrpSpPr>
        <p:cNvPr id="1" name=""/>
        <p:cNvGrpSpPr/>
        <p:nvPr/>
      </p:nvGrpSpPr>
      <p:grpSpPr>
        <a:xfrm>
          <a:off x="0" y="0"/>
          <a:ext cx="0" cy="0"/>
          <a:chOff x="0" y="0"/>
          <a:chExt cx="0" cy="0"/>
        </a:xfrm>
      </p:grpSpPr>
      <p:sp>
        <p:nvSpPr>
          <p:cNvPr id="5" name="PoP">
            <a:extLst>
              <a:ext uri="{FF2B5EF4-FFF2-40B4-BE49-F238E27FC236}">
                <a16:creationId xmlns:a16="http://schemas.microsoft.com/office/drawing/2014/main" id="{FA165846-B585-46D5-D508-A8A1B0901C2E}"/>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
        <p:nvSpPr>
          <p:cNvPr id="4" name="Title Placeholder 13">
            <a:extLst>
              <a:ext uri="{FF2B5EF4-FFF2-40B4-BE49-F238E27FC236}">
                <a16:creationId xmlns:a16="http://schemas.microsoft.com/office/drawing/2014/main" id="{F9FB6AB4-BD52-E671-219E-770825A0F405}"/>
              </a:ext>
            </a:extLst>
          </p:cNvPr>
          <p:cNvSpPr>
            <a:spLocks noGrp="1"/>
          </p:cNvSpPr>
          <p:nvPr>
            <p:ph type="title"/>
          </p:nvPr>
        </p:nvSpPr>
        <p:spPr>
          <a:xfrm>
            <a:off x="790538" y="709937"/>
            <a:ext cx="4248000" cy="553998"/>
          </a:xfrm>
          <a:prstGeom prst="rect">
            <a:avLst/>
          </a:prstGeom>
        </p:spPr>
        <p:txBody>
          <a:bodyPr vert="horz" wrap="square" lIns="0" tIns="0" rIns="0" bIns="0" rtlCol="0" anchor="t" anchorCtr="0">
            <a:spAutoFit/>
          </a:bodyPr>
          <a:lstStyle>
            <a:lvl1pPr>
              <a:defRPr>
                <a:solidFill>
                  <a:schemeClr val="tx1"/>
                </a:solidFill>
              </a:defRPr>
            </a:lvl1pPr>
          </a:lstStyle>
          <a:p>
            <a:r>
              <a:rPr lang="en-US"/>
              <a:t>Click to edit Master title style</a:t>
            </a:r>
            <a:endParaRPr lang="en-GB" dirty="0"/>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790538" y="1581150"/>
            <a:ext cx="4248000" cy="4637088"/>
          </a:xfrm>
          <a:prstGeom prst="rect">
            <a:avLst/>
          </a:prstGeom>
        </p:spPr>
        <p:txBody>
          <a:bodyPr vert="horz" lIns="0" tIns="0" rIns="0" bIns="0" rtlCol="0">
            <a:no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pic>
        <p:nvPicPr>
          <p:cNvPr id="3" name="Picture 2">
            <a:extLst>
              <a:ext uri="{FF2B5EF4-FFF2-40B4-BE49-F238E27FC236}">
                <a16:creationId xmlns:a16="http://schemas.microsoft.com/office/drawing/2014/main" id="{D2A7B840-4F82-BDDC-A11B-B6CD67596E87}"/>
              </a:ext>
            </a:extLst>
          </p:cNvPr>
          <p:cNvPicPr>
            <a:picLocks noChangeAspect="1"/>
          </p:cNvPicPr>
          <p:nvPr/>
        </p:nvPicPr>
        <p:blipFill>
          <a:blip r:embed="rId4"/>
          <a:stretch>
            <a:fillRect/>
          </a:stretch>
        </p:blipFill>
        <p:spPr>
          <a:xfrm>
            <a:off x="5915998" y="1313295"/>
            <a:ext cx="5602235" cy="2414021"/>
          </a:xfrm>
          <a:prstGeom prst="rect">
            <a:avLst/>
          </a:prstGeom>
        </p:spPr>
      </p:pic>
      <p:sp>
        <p:nvSpPr>
          <p:cNvPr id="6" name="PoP">
            <a:extLst>
              <a:ext uri="{FF2B5EF4-FFF2-40B4-BE49-F238E27FC236}">
                <a16:creationId xmlns:a16="http://schemas.microsoft.com/office/drawing/2014/main" id="{96A03582-5354-9A3C-9FFD-48C6F8D7E52B}"/>
              </a:ext>
            </a:extLst>
          </p:cNvPr>
          <p:cNvSpPr>
            <a:spLocks noChangeAspect="1"/>
          </p:cNvSpPr>
          <p:nvPr>
            <p:custDataLst>
              <p:tags r:id="rId2"/>
            </p:custDataLst>
          </p:nvPr>
        </p:nvSpPr>
        <p:spPr>
          <a:xfrm>
            <a:off x="4829218" y="3792181"/>
            <a:ext cx="7362782" cy="3065819"/>
          </a:xfrm>
          <a:custGeom>
            <a:avLst/>
            <a:gdLst>
              <a:gd name="connsiteX0" fmla="*/ 281839 w 7362782"/>
              <a:gd name="connsiteY0" fmla="*/ 2602189 h 3065819"/>
              <a:gd name="connsiteX1" fmla="*/ 732852 w 7362782"/>
              <a:gd name="connsiteY1" fmla="*/ 2602189 h 3065819"/>
              <a:gd name="connsiteX2" fmla="*/ 732852 w 7362782"/>
              <a:gd name="connsiteY2" fmla="*/ 2838984 h 3065819"/>
              <a:gd name="connsiteX3" fmla="*/ 281839 w 7362782"/>
              <a:gd name="connsiteY3" fmla="*/ 2838984 h 3065819"/>
              <a:gd name="connsiteX4" fmla="*/ 0 w 7362782"/>
              <a:gd name="connsiteY4" fmla="*/ 2602189 h 3065819"/>
              <a:gd name="connsiteX5" fmla="*/ 180406 w 7362782"/>
              <a:gd name="connsiteY5" fmla="*/ 2602189 h 3065819"/>
              <a:gd name="connsiteX6" fmla="*/ 180406 w 7362782"/>
              <a:gd name="connsiteY6" fmla="*/ 2838984 h 3065819"/>
              <a:gd name="connsiteX7" fmla="*/ 0 w 7362782"/>
              <a:gd name="connsiteY7" fmla="*/ 2838984 h 3065819"/>
              <a:gd name="connsiteX8" fmla="*/ 2955042 w 7362782"/>
              <a:gd name="connsiteY8" fmla="*/ 2365392 h 3065819"/>
              <a:gd name="connsiteX9" fmla="*/ 2955042 w 7362782"/>
              <a:gd name="connsiteY9" fmla="*/ 2602189 h 3065819"/>
              <a:gd name="connsiteX10" fmla="*/ 3056475 w 7362782"/>
              <a:gd name="connsiteY10" fmla="*/ 2602189 h 3065819"/>
              <a:gd name="connsiteX11" fmla="*/ 3056475 w 7362782"/>
              <a:gd name="connsiteY11" fmla="*/ 2365392 h 3065819"/>
              <a:gd name="connsiteX12" fmla="*/ 3181893 w 7362782"/>
              <a:gd name="connsiteY12" fmla="*/ 2128596 h 3065819"/>
              <a:gd name="connsiteX13" fmla="*/ 3181893 w 7362782"/>
              <a:gd name="connsiteY13" fmla="*/ 2365392 h 3065819"/>
              <a:gd name="connsiteX14" fmla="*/ 3362299 w 7362782"/>
              <a:gd name="connsiteY14" fmla="*/ 2365392 h 3065819"/>
              <a:gd name="connsiteX15" fmla="*/ 3362299 w 7362782"/>
              <a:gd name="connsiteY15" fmla="*/ 2128596 h 3065819"/>
              <a:gd name="connsiteX16" fmla="*/ 4682463 w 7362782"/>
              <a:gd name="connsiteY16" fmla="*/ 1657343 h 3065819"/>
              <a:gd name="connsiteX17" fmla="*/ 4682463 w 7362782"/>
              <a:gd name="connsiteY17" fmla="*/ 1891916 h 3065819"/>
              <a:gd name="connsiteX18" fmla="*/ 4846956 w 7362782"/>
              <a:gd name="connsiteY18" fmla="*/ 1891916 h 3065819"/>
              <a:gd name="connsiteX19" fmla="*/ 4846956 w 7362782"/>
              <a:gd name="connsiteY19" fmla="*/ 1657343 h 3065819"/>
              <a:gd name="connsiteX20" fmla="*/ 4207934 w 7362782"/>
              <a:gd name="connsiteY20" fmla="*/ 1420546 h 3065819"/>
              <a:gd name="connsiteX21" fmla="*/ 4207934 w 7362782"/>
              <a:gd name="connsiteY21" fmla="*/ 1655119 h 3065819"/>
              <a:gd name="connsiteX22" fmla="*/ 4309367 w 7362782"/>
              <a:gd name="connsiteY22" fmla="*/ 1655119 h 3065819"/>
              <a:gd name="connsiteX23" fmla="*/ 4309367 w 7362782"/>
              <a:gd name="connsiteY23" fmla="*/ 1420546 h 3065819"/>
              <a:gd name="connsiteX24" fmla="*/ 3475081 w 7362782"/>
              <a:gd name="connsiteY24" fmla="*/ 1420546 h 3065819"/>
              <a:gd name="connsiteX25" fmla="*/ 3655487 w 7362782"/>
              <a:gd name="connsiteY25" fmla="*/ 1420546 h 3065819"/>
              <a:gd name="connsiteX26" fmla="*/ 3655487 w 7362782"/>
              <a:gd name="connsiteY26" fmla="*/ 1657343 h 3065819"/>
              <a:gd name="connsiteX27" fmla="*/ 3475081 w 7362782"/>
              <a:gd name="connsiteY27" fmla="*/ 1657343 h 3065819"/>
              <a:gd name="connsiteX28" fmla="*/ 6673471 w 7362782"/>
              <a:gd name="connsiteY28" fmla="*/ 710273 h 3065819"/>
              <a:gd name="connsiteX29" fmla="*/ 6673471 w 7362782"/>
              <a:gd name="connsiteY29" fmla="*/ 946952 h 3065819"/>
              <a:gd name="connsiteX30" fmla="*/ 6774906 w 7362782"/>
              <a:gd name="connsiteY30" fmla="*/ 946952 h 3065819"/>
              <a:gd name="connsiteX31" fmla="*/ 6774906 w 7362782"/>
              <a:gd name="connsiteY31" fmla="*/ 710273 h 3065819"/>
              <a:gd name="connsiteX32" fmla="*/ 5968230 w 7362782"/>
              <a:gd name="connsiteY32" fmla="*/ 710273 h 3065819"/>
              <a:gd name="connsiteX33" fmla="*/ 5968230 w 7362782"/>
              <a:gd name="connsiteY33" fmla="*/ 946952 h 3065819"/>
              <a:gd name="connsiteX34" fmla="*/ 6069664 w 7362782"/>
              <a:gd name="connsiteY34" fmla="*/ 946952 h 3065819"/>
              <a:gd name="connsiteX35" fmla="*/ 6069664 w 7362782"/>
              <a:gd name="connsiteY35" fmla="*/ 710273 h 3065819"/>
              <a:gd name="connsiteX36" fmla="*/ 7083302 w 7362782"/>
              <a:gd name="connsiteY36" fmla="*/ 236913 h 3065819"/>
              <a:gd name="connsiteX37" fmla="*/ 7083302 w 7362782"/>
              <a:gd name="connsiteY37" fmla="*/ 473593 h 3065819"/>
              <a:gd name="connsiteX38" fmla="*/ 7184736 w 7362782"/>
              <a:gd name="connsiteY38" fmla="*/ 473593 h 3065819"/>
              <a:gd name="connsiteX39" fmla="*/ 7184736 w 7362782"/>
              <a:gd name="connsiteY39" fmla="*/ 236913 h 3065819"/>
              <a:gd name="connsiteX40" fmla="*/ 6451885 w 7362782"/>
              <a:gd name="connsiteY40" fmla="*/ 0 h 3065819"/>
              <a:gd name="connsiteX41" fmla="*/ 7362782 w 7362782"/>
              <a:gd name="connsiteY41" fmla="*/ 0 h 3065819"/>
              <a:gd name="connsiteX42" fmla="*/ 7362782 w 7362782"/>
              <a:gd name="connsiteY42" fmla="*/ 3065819 h 3065819"/>
              <a:gd name="connsiteX43" fmla="*/ 1502792 w 7362782"/>
              <a:gd name="connsiteY43" fmla="*/ 3065819 h 3065819"/>
              <a:gd name="connsiteX44" fmla="*/ 1502792 w 7362782"/>
              <a:gd name="connsiteY44" fmla="*/ 2838399 h 3065819"/>
              <a:gd name="connsiteX45" fmla="*/ 1401357 w 7362782"/>
              <a:gd name="connsiteY45" fmla="*/ 2838399 h 3065819"/>
              <a:gd name="connsiteX46" fmla="*/ 1401357 w 7362782"/>
              <a:gd name="connsiteY46" fmla="*/ 3065819 h 3065819"/>
              <a:gd name="connsiteX47" fmla="*/ 1027795 w 7362782"/>
              <a:gd name="connsiteY47" fmla="*/ 3065819 h 3065819"/>
              <a:gd name="connsiteX48" fmla="*/ 1027795 w 7362782"/>
              <a:gd name="connsiteY48" fmla="*/ 2838399 h 3065819"/>
              <a:gd name="connsiteX49" fmla="*/ 834287 w 7362782"/>
              <a:gd name="connsiteY49" fmla="*/ 2838399 h 3065819"/>
              <a:gd name="connsiteX50" fmla="*/ 834287 w 7362782"/>
              <a:gd name="connsiteY50" fmla="*/ 2601604 h 3065819"/>
              <a:gd name="connsiteX51" fmla="*/ 1574392 w 7362782"/>
              <a:gd name="connsiteY51" fmla="*/ 2601604 h 3065819"/>
              <a:gd name="connsiteX52" fmla="*/ 1574392 w 7362782"/>
              <a:gd name="connsiteY52" fmla="*/ 2364807 h 3065819"/>
              <a:gd name="connsiteX53" fmla="*/ 2025404 w 7362782"/>
              <a:gd name="connsiteY53" fmla="*/ 2364807 h 3065819"/>
              <a:gd name="connsiteX54" fmla="*/ 2025404 w 7362782"/>
              <a:gd name="connsiteY54" fmla="*/ 2128010 h 3065819"/>
              <a:gd name="connsiteX55" fmla="*/ 2477237 w 7362782"/>
              <a:gd name="connsiteY55" fmla="*/ 2128010 h 3065819"/>
              <a:gd name="connsiteX56" fmla="*/ 2477237 w 7362782"/>
              <a:gd name="connsiteY56" fmla="*/ 2364807 h 3065819"/>
              <a:gd name="connsiteX57" fmla="*/ 2769488 w 7362782"/>
              <a:gd name="connsiteY57" fmla="*/ 2364807 h 3065819"/>
              <a:gd name="connsiteX58" fmla="*/ 2769488 w 7362782"/>
              <a:gd name="connsiteY58" fmla="*/ 1891916 h 3065819"/>
              <a:gd name="connsiteX59" fmla="*/ 2949894 w 7362782"/>
              <a:gd name="connsiteY59" fmla="*/ 1891916 h 3065819"/>
              <a:gd name="connsiteX60" fmla="*/ 2949894 w 7362782"/>
              <a:gd name="connsiteY60" fmla="*/ 2128712 h 3065819"/>
              <a:gd name="connsiteX61" fmla="*/ 3051327 w 7362782"/>
              <a:gd name="connsiteY61" fmla="*/ 2128712 h 3065819"/>
              <a:gd name="connsiteX62" fmla="*/ 3051327 w 7362782"/>
              <a:gd name="connsiteY62" fmla="*/ 1891916 h 3065819"/>
              <a:gd name="connsiteX63" fmla="*/ 3502341 w 7362782"/>
              <a:gd name="connsiteY63" fmla="*/ 1891916 h 3065819"/>
              <a:gd name="connsiteX64" fmla="*/ 3502341 w 7362782"/>
              <a:gd name="connsiteY64" fmla="*/ 2128712 h 3065819"/>
              <a:gd name="connsiteX65" fmla="*/ 3603775 w 7362782"/>
              <a:gd name="connsiteY65" fmla="*/ 2128712 h 3065819"/>
              <a:gd name="connsiteX66" fmla="*/ 3603775 w 7362782"/>
              <a:gd name="connsiteY66" fmla="*/ 1891916 h 3065819"/>
              <a:gd name="connsiteX67" fmla="*/ 3872159 w 7362782"/>
              <a:gd name="connsiteY67" fmla="*/ 1891916 h 3065819"/>
              <a:gd name="connsiteX68" fmla="*/ 3872159 w 7362782"/>
              <a:gd name="connsiteY68" fmla="*/ 1657343 h 3065819"/>
              <a:gd name="connsiteX69" fmla="*/ 3757037 w 7362782"/>
              <a:gd name="connsiteY69" fmla="*/ 1657343 h 3065819"/>
              <a:gd name="connsiteX70" fmla="*/ 3757037 w 7362782"/>
              <a:gd name="connsiteY70" fmla="*/ 1420546 h 3065819"/>
              <a:gd name="connsiteX71" fmla="*/ 3989154 w 7362782"/>
              <a:gd name="connsiteY71" fmla="*/ 1420546 h 3065819"/>
              <a:gd name="connsiteX72" fmla="*/ 3989154 w 7362782"/>
              <a:gd name="connsiteY72" fmla="*/ 1183750 h 3065819"/>
              <a:gd name="connsiteX73" fmla="*/ 4090588 w 7362782"/>
              <a:gd name="connsiteY73" fmla="*/ 1183750 h 3065819"/>
              <a:gd name="connsiteX74" fmla="*/ 4090588 w 7362782"/>
              <a:gd name="connsiteY74" fmla="*/ 1420546 h 3065819"/>
              <a:gd name="connsiteX75" fmla="*/ 4207349 w 7362782"/>
              <a:gd name="connsiteY75" fmla="*/ 1420546 h 3065819"/>
              <a:gd name="connsiteX76" fmla="*/ 4207349 w 7362782"/>
              <a:gd name="connsiteY76" fmla="*/ 1183750 h 3065819"/>
              <a:gd name="connsiteX77" fmla="*/ 4658361 w 7362782"/>
              <a:gd name="connsiteY77" fmla="*/ 1183750 h 3065819"/>
              <a:gd name="connsiteX78" fmla="*/ 4658361 w 7362782"/>
              <a:gd name="connsiteY78" fmla="*/ 1420546 h 3065819"/>
              <a:gd name="connsiteX79" fmla="*/ 5026776 w 7362782"/>
              <a:gd name="connsiteY79" fmla="*/ 1420546 h 3065819"/>
              <a:gd name="connsiteX80" fmla="*/ 5026776 w 7362782"/>
              <a:gd name="connsiteY80" fmla="*/ 1183750 h 3065819"/>
              <a:gd name="connsiteX81" fmla="*/ 4847074 w 7362782"/>
              <a:gd name="connsiteY81" fmla="*/ 1183750 h 3065819"/>
              <a:gd name="connsiteX82" fmla="*/ 4847074 w 7362782"/>
              <a:gd name="connsiteY82" fmla="*/ 946952 h 3065819"/>
              <a:gd name="connsiteX83" fmla="*/ 5517334 w 7362782"/>
              <a:gd name="connsiteY83" fmla="*/ 946952 h 3065819"/>
              <a:gd name="connsiteX84" fmla="*/ 5517334 w 7362782"/>
              <a:gd name="connsiteY84" fmla="*/ 710156 h 3065819"/>
              <a:gd name="connsiteX85" fmla="*/ 5899555 w 7362782"/>
              <a:gd name="connsiteY85" fmla="*/ 710156 h 3065819"/>
              <a:gd name="connsiteX86" fmla="*/ 5899555 w 7362782"/>
              <a:gd name="connsiteY86" fmla="*/ 473477 h 3065819"/>
              <a:gd name="connsiteX87" fmla="*/ 6068495 w 7362782"/>
              <a:gd name="connsiteY87" fmla="*/ 473477 h 3065819"/>
              <a:gd name="connsiteX88" fmla="*/ 6068495 w 7362782"/>
              <a:gd name="connsiteY88" fmla="*/ 236680 h 3065819"/>
              <a:gd name="connsiteX89" fmla="*/ 6166184 w 7362782"/>
              <a:gd name="connsiteY89" fmla="*/ 236680 h 3065819"/>
              <a:gd name="connsiteX90" fmla="*/ 6166184 w 7362782"/>
              <a:gd name="connsiteY90" fmla="*/ 473477 h 3065819"/>
              <a:gd name="connsiteX91" fmla="*/ 6350567 w 7362782"/>
              <a:gd name="connsiteY91" fmla="*/ 473477 h 3065819"/>
              <a:gd name="connsiteX92" fmla="*/ 6350567 w 7362782"/>
              <a:gd name="connsiteY92" fmla="*/ 710156 h 3065819"/>
              <a:gd name="connsiteX93" fmla="*/ 6452001 w 7362782"/>
              <a:gd name="connsiteY93" fmla="*/ 710156 h 3065819"/>
              <a:gd name="connsiteX94" fmla="*/ 6452001 w 7362782"/>
              <a:gd name="connsiteY94" fmla="*/ 473477 h 3065819"/>
              <a:gd name="connsiteX95" fmla="*/ 6632290 w 7362782"/>
              <a:gd name="connsiteY95" fmla="*/ 473477 h 3065819"/>
              <a:gd name="connsiteX96" fmla="*/ 6632290 w 7362782"/>
              <a:gd name="connsiteY96" fmla="*/ 236797 h 3065819"/>
              <a:gd name="connsiteX97" fmla="*/ 6451885 w 7362782"/>
              <a:gd name="connsiteY97" fmla="*/ 236797 h 3065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7362782" h="3065819">
                <a:moveTo>
                  <a:pt x="281839" y="2602189"/>
                </a:moveTo>
                <a:lnTo>
                  <a:pt x="732852" y="2602189"/>
                </a:lnTo>
                <a:lnTo>
                  <a:pt x="732852" y="2838984"/>
                </a:lnTo>
                <a:lnTo>
                  <a:pt x="281839" y="2838984"/>
                </a:lnTo>
                <a:close/>
                <a:moveTo>
                  <a:pt x="0" y="2602189"/>
                </a:moveTo>
                <a:lnTo>
                  <a:pt x="180406" y="2602189"/>
                </a:lnTo>
                <a:lnTo>
                  <a:pt x="180406" y="2838984"/>
                </a:lnTo>
                <a:lnTo>
                  <a:pt x="0" y="2838984"/>
                </a:lnTo>
                <a:close/>
                <a:moveTo>
                  <a:pt x="2955042" y="2365392"/>
                </a:moveTo>
                <a:lnTo>
                  <a:pt x="2955042" y="2602189"/>
                </a:lnTo>
                <a:lnTo>
                  <a:pt x="3056475" y="2602189"/>
                </a:lnTo>
                <a:lnTo>
                  <a:pt x="3056475" y="2365392"/>
                </a:lnTo>
                <a:close/>
                <a:moveTo>
                  <a:pt x="3181893" y="2128596"/>
                </a:moveTo>
                <a:lnTo>
                  <a:pt x="3181893" y="2365392"/>
                </a:lnTo>
                <a:lnTo>
                  <a:pt x="3362299" y="2365392"/>
                </a:lnTo>
                <a:lnTo>
                  <a:pt x="3362299" y="2128596"/>
                </a:lnTo>
                <a:close/>
                <a:moveTo>
                  <a:pt x="4682463" y="1657343"/>
                </a:moveTo>
                <a:lnTo>
                  <a:pt x="4682463" y="1891916"/>
                </a:lnTo>
                <a:lnTo>
                  <a:pt x="4846956" y="1891916"/>
                </a:lnTo>
                <a:lnTo>
                  <a:pt x="4846956" y="1657343"/>
                </a:lnTo>
                <a:close/>
                <a:moveTo>
                  <a:pt x="4207934" y="1420546"/>
                </a:moveTo>
                <a:lnTo>
                  <a:pt x="4207934" y="1655119"/>
                </a:lnTo>
                <a:lnTo>
                  <a:pt x="4309367" y="1655119"/>
                </a:lnTo>
                <a:lnTo>
                  <a:pt x="4309367" y="1420546"/>
                </a:lnTo>
                <a:close/>
                <a:moveTo>
                  <a:pt x="3475081" y="1420546"/>
                </a:moveTo>
                <a:lnTo>
                  <a:pt x="3655487" y="1420546"/>
                </a:lnTo>
                <a:lnTo>
                  <a:pt x="3655487" y="1657343"/>
                </a:lnTo>
                <a:lnTo>
                  <a:pt x="3475081" y="1657343"/>
                </a:lnTo>
                <a:close/>
                <a:moveTo>
                  <a:pt x="6673471" y="710273"/>
                </a:moveTo>
                <a:lnTo>
                  <a:pt x="6673471" y="946952"/>
                </a:lnTo>
                <a:lnTo>
                  <a:pt x="6774906" y="946952"/>
                </a:lnTo>
                <a:lnTo>
                  <a:pt x="6774906" y="710273"/>
                </a:lnTo>
                <a:close/>
                <a:moveTo>
                  <a:pt x="5968230" y="710273"/>
                </a:moveTo>
                <a:lnTo>
                  <a:pt x="5968230" y="946952"/>
                </a:lnTo>
                <a:lnTo>
                  <a:pt x="6069664" y="946952"/>
                </a:lnTo>
                <a:lnTo>
                  <a:pt x="6069664" y="710273"/>
                </a:lnTo>
                <a:close/>
                <a:moveTo>
                  <a:pt x="7083302" y="236913"/>
                </a:moveTo>
                <a:lnTo>
                  <a:pt x="7083302" y="473593"/>
                </a:lnTo>
                <a:lnTo>
                  <a:pt x="7184736" y="473593"/>
                </a:lnTo>
                <a:lnTo>
                  <a:pt x="7184736" y="236913"/>
                </a:lnTo>
                <a:close/>
                <a:moveTo>
                  <a:pt x="6451885" y="0"/>
                </a:moveTo>
                <a:lnTo>
                  <a:pt x="7362782" y="0"/>
                </a:lnTo>
                <a:lnTo>
                  <a:pt x="7362782" y="3065819"/>
                </a:lnTo>
                <a:lnTo>
                  <a:pt x="1502792" y="3065819"/>
                </a:lnTo>
                <a:lnTo>
                  <a:pt x="1502792" y="2838399"/>
                </a:lnTo>
                <a:lnTo>
                  <a:pt x="1401357" y="2838399"/>
                </a:lnTo>
                <a:lnTo>
                  <a:pt x="1401357" y="3065819"/>
                </a:lnTo>
                <a:lnTo>
                  <a:pt x="1027795" y="3065819"/>
                </a:lnTo>
                <a:lnTo>
                  <a:pt x="1027795" y="2838399"/>
                </a:lnTo>
                <a:lnTo>
                  <a:pt x="834287" y="2838399"/>
                </a:lnTo>
                <a:lnTo>
                  <a:pt x="834287" y="2601604"/>
                </a:lnTo>
                <a:lnTo>
                  <a:pt x="1574392" y="2601604"/>
                </a:lnTo>
                <a:lnTo>
                  <a:pt x="1574392" y="2364807"/>
                </a:lnTo>
                <a:lnTo>
                  <a:pt x="2025404" y="2364807"/>
                </a:lnTo>
                <a:lnTo>
                  <a:pt x="2025404" y="2128010"/>
                </a:lnTo>
                <a:lnTo>
                  <a:pt x="2477237" y="2128010"/>
                </a:lnTo>
                <a:lnTo>
                  <a:pt x="2477237" y="2364807"/>
                </a:lnTo>
                <a:lnTo>
                  <a:pt x="2769488" y="2364807"/>
                </a:lnTo>
                <a:lnTo>
                  <a:pt x="2769488" y="1891916"/>
                </a:lnTo>
                <a:lnTo>
                  <a:pt x="2949894" y="1891916"/>
                </a:lnTo>
                <a:lnTo>
                  <a:pt x="2949894" y="2128712"/>
                </a:lnTo>
                <a:lnTo>
                  <a:pt x="3051327" y="2128712"/>
                </a:lnTo>
                <a:lnTo>
                  <a:pt x="3051327" y="1891916"/>
                </a:lnTo>
                <a:lnTo>
                  <a:pt x="3502341" y="1891916"/>
                </a:lnTo>
                <a:lnTo>
                  <a:pt x="3502341" y="2128712"/>
                </a:lnTo>
                <a:lnTo>
                  <a:pt x="3603775" y="2128712"/>
                </a:lnTo>
                <a:lnTo>
                  <a:pt x="3603775" y="1891916"/>
                </a:lnTo>
                <a:lnTo>
                  <a:pt x="3872159" y="1891916"/>
                </a:lnTo>
                <a:lnTo>
                  <a:pt x="3872159" y="1657343"/>
                </a:lnTo>
                <a:lnTo>
                  <a:pt x="3757037" y="1657343"/>
                </a:lnTo>
                <a:lnTo>
                  <a:pt x="3757037" y="1420546"/>
                </a:lnTo>
                <a:lnTo>
                  <a:pt x="3989154" y="1420546"/>
                </a:lnTo>
                <a:lnTo>
                  <a:pt x="3989154" y="1183750"/>
                </a:lnTo>
                <a:lnTo>
                  <a:pt x="4090588" y="1183750"/>
                </a:lnTo>
                <a:lnTo>
                  <a:pt x="4090588" y="1420546"/>
                </a:lnTo>
                <a:lnTo>
                  <a:pt x="4207349" y="1420546"/>
                </a:lnTo>
                <a:lnTo>
                  <a:pt x="4207349" y="1183750"/>
                </a:lnTo>
                <a:lnTo>
                  <a:pt x="4658361" y="1183750"/>
                </a:lnTo>
                <a:lnTo>
                  <a:pt x="4658361" y="1420546"/>
                </a:lnTo>
                <a:lnTo>
                  <a:pt x="5026776" y="1420546"/>
                </a:lnTo>
                <a:lnTo>
                  <a:pt x="5026776" y="1183750"/>
                </a:lnTo>
                <a:lnTo>
                  <a:pt x="4847074" y="1183750"/>
                </a:lnTo>
                <a:lnTo>
                  <a:pt x="4847074" y="946952"/>
                </a:lnTo>
                <a:lnTo>
                  <a:pt x="5517334" y="946952"/>
                </a:lnTo>
                <a:lnTo>
                  <a:pt x="5517334" y="710156"/>
                </a:lnTo>
                <a:lnTo>
                  <a:pt x="5899555" y="710156"/>
                </a:lnTo>
                <a:lnTo>
                  <a:pt x="5899555" y="473477"/>
                </a:lnTo>
                <a:lnTo>
                  <a:pt x="6068495" y="473477"/>
                </a:lnTo>
                <a:lnTo>
                  <a:pt x="6068495" y="236680"/>
                </a:lnTo>
                <a:lnTo>
                  <a:pt x="6166184" y="236680"/>
                </a:lnTo>
                <a:lnTo>
                  <a:pt x="6166184" y="473477"/>
                </a:lnTo>
                <a:lnTo>
                  <a:pt x="6350567" y="473477"/>
                </a:lnTo>
                <a:lnTo>
                  <a:pt x="6350567" y="710156"/>
                </a:lnTo>
                <a:lnTo>
                  <a:pt x="6452001" y="710156"/>
                </a:lnTo>
                <a:lnTo>
                  <a:pt x="6452001" y="473477"/>
                </a:lnTo>
                <a:lnTo>
                  <a:pt x="6632290" y="473477"/>
                </a:lnTo>
                <a:lnTo>
                  <a:pt x="6632290" y="236797"/>
                </a:lnTo>
                <a:lnTo>
                  <a:pt x="6451885" y="236797"/>
                </a:lnTo>
                <a:close/>
              </a:path>
            </a:pathLst>
          </a:custGeom>
          <a:solidFill>
            <a:srgbClr val="009CDE"/>
          </a:solidFill>
          <a:ln w="0" cap="flat">
            <a:noFill/>
            <a:prstDash val="solid"/>
            <a:miter/>
          </a:ln>
        </p:spPr>
        <p:txBody>
          <a:bodyPr rtlCol="0" anchor="ctr"/>
          <a:lstStyle/>
          <a:p>
            <a:endParaRPr lang="en-GB"/>
          </a:p>
        </p:txBody>
      </p:sp>
      <p:pic>
        <p:nvPicPr>
          <p:cNvPr id="2" name="Logo">
            <a:extLst>
              <a:ext uri="{FF2B5EF4-FFF2-40B4-BE49-F238E27FC236}">
                <a16:creationId xmlns:a16="http://schemas.microsoft.com/office/drawing/2014/main" id="{7B0398FD-91E4-1109-9ECC-48683FFCBC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66053" y="278965"/>
            <a:ext cx="900000" cy="378445"/>
          </a:xfrm>
          <a:prstGeom prst="rect">
            <a:avLst/>
          </a:prstGeom>
        </p:spPr>
      </p:pic>
    </p:spTree>
    <p:extLst>
      <p:ext uri="{BB962C8B-B14F-4D97-AF65-F5344CB8AC3E}">
        <p14:creationId xmlns:p14="http://schemas.microsoft.com/office/powerpoint/2010/main" val="92503375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reate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p:txBody>
          <a:bodyPr/>
          <a:lstStyle/>
          <a:p>
            <a:r>
              <a:rPr lang="en-US"/>
              <a:t>Click to edit Master title style</a:t>
            </a:r>
            <a:endParaRPr lang="en-GB" dirty="0"/>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a:extLst>
              <a:ext uri="{FF2B5EF4-FFF2-40B4-BE49-F238E27FC236}">
                <a16:creationId xmlns:a16="http://schemas.microsoft.com/office/drawing/2014/main" id="{2BCB024D-B642-6479-9437-663AA294E4E3}"/>
              </a:ext>
            </a:extLst>
          </p:cNvPr>
          <p:cNvSpPr>
            <a:spLocks noGrp="1"/>
          </p:cNvSpPr>
          <p:nvPr>
            <p:ph type="sldNum" sz="quarter" idx="33"/>
          </p:nvPr>
        </p:nvSpPr>
        <p:spPr/>
        <p:txBody>
          <a:bodyPr/>
          <a:lstStyle/>
          <a:p>
            <a:fld id="{6686A102-957E-47D3-A22D-E8508A8052D6}" type="slidenum">
              <a:rPr lang="en-GB" smtClean="0"/>
              <a:pPr/>
              <a:t>‹#›</a:t>
            </a:fld>
            <a:endParaRPr lang="en-GB" dirty="0"/>
          </a:p>
        </p:txBody>
      </p:sp>
    </p:spTree>
    <p:extLst>
      <p:ext uri="{BB962C8B-B14F-4D97-AF65-F5344CB8AC3E}">
        <p14:creationId xmlns:p14="http://schemas.microsoft.com/office/powerpoint/2010/main" val="7483641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Stats and text dark">
    <p:bg>
      <p:bgRef idx="1001">
        <a:schemeClr val="bg2"/>
      </p:bgRef>
    </p:bg>
    <p:spTree>
      <p:nvGrpSpPr>
        <p:cNvPr id="1" name=""/>
        <p:cNvGrpSpPr/>
        <p:nvPr/>
      </p:nvGrpSpPr>
      <p:grpSpPr>
        <a:xfrm>
          <a:off x="0" y="0"/>
          <a:ext cx="0" cy="0"/>
          <a:chOff x="0" y="0"/>
          <a:chExt cx="0" cy="0"/>
        </a:xfrm>
      </p:grpSpPr>
      <p:sp>
        <p:nvSpPr>
          <p:cNvPr id="5" name="PoP">
            <a:extLst>
              <a:ext uri="{FF2B5EF4-FFF2-40B4-BE49-F238E27FC236}">
                <a16:creationId xmlns:a16="http://schemas.microsoft.com/office/drawing/2014/main" id="{FA165846-B585-46D5-D508-A8A1B0901C2E}"/>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
        <p:nvSpPr>
          <p:cNvPr id="4" name="Title Placeholder 13">
            <a:extLst>
              <a:ext uri="{FF2B5EF4-FFF2-40B4-BE49-F238E27FC236}">
                <a16:creationId xmlns:a16="http://schemas.microsoft.com/office/drawing/2014/main" id="{F9FB6AB4-BD52-E671-219E-770825A0F405}"/>
              </a:ext>
            </a:extLst>
          </p:cNvPr>
          <p:cNvSpPr>
            <a:spLocks noGrp="1"/>
          </p:cNvSpPr>
          <p:nvPr>
            <p:ph type="title"/>
          </p:nvPr>
        </p:nvSpPr>
        <p:spPr>
          <a:xfrm>
            <a:off x="790538" y="709937"/>
            <a:ext cx="4248000" cy="553998"/>
          </a:xfrm>
          <a:prstGeom prst="rect">
            <a:avLst/>
          </a:prstGeom>
        </p:spPr>
        <p:txBody>
          <a:bodyPr vert="horz" wrap="square" lIns="0" tIns="0" rIns="0" bIns="0" rtlCol="0" anchor="t" anchorCtr="0">
            <a:spAutoFit/>
          </a:bodyPr>
          <a:lstStyle>
            <a:lvl1pPr>
              <a:defRPr>
                <a:solidFill>
                  <a:schemeClr val="tx1"/>
                </a:solidFill>
              </a:defRPr>
            </a:lvl1pPr>
          </a:lstStyle>
          <a:p>
            <a:r>
              <a:rPr lang="en-US"/>
              <a:t>Click to edit Master title style</a:t>
            </a:r>
            <a:endParaRPr lang="en-GB" dirty="0"/>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790538" y="1581150"/>
            <a:ext cx="4248000" cy="4637088"/>
          </a:xfrm>
          <a:prstGeom prst="rect">
            <a:avLst/>
          </a:prstGeom>
        </p:spPr>
        <p:txBody>
          <a:bodyPr vert="horz" lIns="0" tIns="0" rIns="0" bIns="0" rtlCol="0">
            <a:no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pic>
        <p:nvPicPr>
          <p:cNvPr id="2" name="Logo">
            <a:extLst>
              <a:ext uri="{FF2B5EF4-FFF2-40B4-BE49-F238E27FC236}">
                <a16:creationId xmlns:a16="http://schemas.microsoft.com/office/drawing/2014/main" id="{D5BDB948-D14F-3A39-1D46-7E3EA41BCD69}"/>
              </a:ext>
            </a:extLst>
          </p:cNvPr>
          <p:cNvPicPr>
            <a:picLocks/>
          </p:cNvPicPr>
          <p:nvPr>
            <p:custDataLst>
              <p:tags r:id="rId2"/>
            </p:custDataLst>
          </p:nvPr>
        </p:nvPicPr>
        <p:blipFill rotWithShape="1">
          <a:blip r:embed="rId6">
            <a:extLst>
              <a:ext uri="{96DAC541-7B7A-43D3-8B79-37D633B846F1}">
                <asvg:svgBlip xmlns:asvg="http://schemas.microsoft.com/office/drawing/2016/SVG/main" r:embed="rId7"/>
              </a:ext>
            </a:extLst>
          </a:blip>
          <a:srcRect t="80" b="80"/>
          <a:stretch/>
        </p:blipFill>
        <p:spPr bwMode="black">
          <a:xfrm>
            <a:off x="10866053" y="278965"/>
            <a:ext cx="900000" cy="385227"/>
          </a:xfrm>
          <a:prstGeom prst="rect">
            <a:avLst/>
          </a:prstGeom>
        </p:spPr>
      </p:pic>
      <p:sp>
        <p:nvSpPr>
          <p:cNvPr id="6" name="PoP">
            <a:extLst>
              <a:ext uri="{FF2B5EF4-FFF2-40B4-BE49-F238E27FC236}">
                <a16:creationId xmlns:a16="http://schemas.microsoft.com/office/drawing/2014/main" id="{E6256794-8038-6DA2-3037-A2BE826EE45A}"/>
              </a:ext>
            </a:extLst>
          </p:cNvPr>
          <p:cNvSpPr>
            <a:spLocks noChangeAspect="1"/>
          </p:cNvSpPr>
          <p:nvPr>
            <p:custDataLst>
              <p:tags r:id="rId3"/>
            </p:custDataLst>
          </p:nvPr>
        </p:nvSpPr>
        <p:spPr>
          <a:xfrm>
            <a:off x="4829218" y="3792181"/>
            <a:ext cx="7362782" cy="3065819"/>
          </a:xfrm>
          <a:custGeom>
            <a:avLst/>
            <a:gdLst>
              <a:gd name="connsiteX0" fmla="*/ 281839 w 7362782"/>
              <a:gd name="connsiteY0" fmla="*/ 2602189 h 3065819"/>
              <a:gd name="connsiteX1" fmla="*/ 732852 w 7362782"/>
              <a:gd name="connsiteY1" fmla="*/ 2602189 h 3065819"/>
              <a:gd name="connsiteX2" fmla="*/ 732852 w 7362782"/>
              <a:gd name="connsiteY2" fmla="*/ 2838984 h 3065819"/>
              <a:gd name="connsiteX3" fmla="*/ 281839 w 7362782"/>
              <a:gd name="connsiteY3" fmla="*/ 2838984 h 3065819"/>
              <a:gd name="connsiteX4" fmla="*/ 0 w 7362782"/>
              <a:gd name="connsiteY4" fmla="*/ 2602189 h 3065819"/>
              <a:gd name="connsiteX5" fmla="*/ 180406 w 7362782"/>
              <a:gd name="connsiteY5" fmla="*/ 2602189 h 3065819"/>
              <a:gd name="connsiteX6" fmla="*/ 180406 w 7362782"/>
              <a:gd name="connsiteY6" fmla="*/ 2838984 h 3065819"/>
              <a:gd name="connsiteX7" fmla="*/ 0 w 7362782"/>
              <a:gd name="connsiteY7" fmla="*/ 2838984 h 3065819"/>
              <a:gd name="connsiteX8" fmla="*/ 2955042 w 7362782"/>
              <a:gd name="connsiteY8" fmla="*/ 2365392 h 3065819"/>
              <a:gd name="connsiteX9" fmla="*/ 2955042 w 7362782"/>
              <a:gd name="connsiteY9" fmla="*/ 2602189 h 3065819"/>
              <a:gd name="connsiteX10" fmla="*/ 3056475 w 7362782"/>
              <a:gd name="connsiteY10" fmla="*/ 2602189 h 3065819"/>
              <a:gd name="connsiteX11" fmla="*/ 3056475 w 7362782"/>
              <a:gd name="connsiteY11" fmla="*/ 2365392 h 3065819"/>
              <a:gd name="connsiteX12" fmla="*/ 3181893 w 7362782"/>
              <a:gd name="connsiteY12" fmla="*/ 2128596 h 3065819"/>
              <a:gd name="connsiteX13" fmla="*/ 3181893 w 7362782"/>
              <a:gd name="connsiteY13" fmla="*/ 2365392 h 3065819"/>
              <a:gd name="connsiteX14" fmla="*/ 3362299 w 7362782"/>
              <a:gd name="connsiteY14" fmla="*/ 2365392 h 3065819"/>
              <a:gd name="connsiteX15" fmla="*/ 3362299 w 7362782"/>
              <a:gd name="connsiteY15" fmla="*/ 2128596 h 3065819"/>
              <a:gd name="connsiteX16" fmla="*/ 4682463 w 7362782"/>
              <a:gd name="connsiteY16" fmla="*/ 1657343 h 3065819"/>
              <a:gd name="connsiteX17" fmla="*/ 4682463 w 7362782"/>
              <a:gd name="connsiteY17" fmla="*/ 1891916 h 3065819"/>
              <a:gd name="connsiteX18" fmla="*/ 4846956 w 7362782"/>
              <a:gd name="connsiteY18" fmla="*/ 1891916 h 3065819"/>
              <a:gd name="connsiteX19" fmla="*/ 4846956 w 7362782"/>
              <a:gd name="connsiteY19" fmla="*/ 1657343 h 3065819"/>
              <a:gd name="connsiteX20" fmla="*/ 4207934 w 7362782"/>
              <a:gd name="connsiteY20" fmla="*/ 1420546 h 3065819"/>
              <a:gd name="connsiteX21" fmla="*/ 4207934 w 7362782"/>
              <a:gd name="connsiteY21" fmla="*/ 1655119 h 3065819"/>
              <a:gd name="connsiteX22" fmla="*/ 4309367 w 7362782"/>
              <a:gd name="connsiteY22" fmla="*/ 1655119 h 3065819"/>
              <a:gd name="connsiteX23" fmla="*/ 4309367 w 7362782"/>
              <a:gd name="connsiteY23" fmla="*/ 1420546 h 3065819"/>
              <a:gd name="connsiteX24" fmla="*/ 3475081 w 7362782"/>
              <a:gd name="connsiteY24" fmla="*/ 1420546 h 3065819"/>
              <a:gd name="connsiteX25" fmla="*/ 3655487 w 7362782"/>
              <a:gd name="connsiteY25" fmla="*/ 1420546 h 3065819"/>
              <a:gd name="connsiteX26" fmla="*/ 3655487 w 7362782"/>
              <a:gd name="connsiteY26" fmla="*/ 1657343 h 3065819"/>
              <a:gd name="connsiteX27" fmla="*/ 3475081 w 7362782"/>
              <a:gd name="connsiteY27" fmla="*/ 1657343 h 3065819"/>
              <a:gd name="connsiteX28" fmla="*/ 6673471 w 7362782"/>
              <a:gd name="connsiteY28" fmla="*/ 710273 h 3065819"/>
              <a:gd name="connsiteX29" fmla="*/ 6673471 w 7362782"/>
              <a:gd name="connsiteY29" fmla="*/ 946952 h 3065819"/>
              <a:gd name="connsiteX30" fmla="*/ 6774906 w 7362782"/>
              <a:gd name="connsiteY30" fmla="*/ 946952 h 3065819"/>
              <a:gd name="connsiteX31" fmla="*/ 6774906 w 7362782"/>
              <a:gd name="connsiteY31" fmla="*/ 710273 h 3065819"/>
              <a:gd name="connsiteX32" fmla="*/ 5968230 w 7362782"/>
              <a:gd name="connsiteY32" fmla="*/ 710273 h 3065819"/>
              <a:gd name="connsiteX33" fmla="*/ 5968230 w 7362782"/>
              <a:gd name="connsiteY33" fmla="*/ 946952 h 3065819"/>
              <a:gd name="connsiteX34" fmla="*/ 6069664 w 7362782"/>
              <a:gd name="connsiteY34" fmla="*/ 946952 h 3065819"/>
              <a:gd name="connsiteX35" fmla="*/ 6069664 w 7362782"/>
              <a:gd name="connsiteY35" fmla="*/ 710273 h 3065819"/>
              <a:gd name="connsiteX36" fmla="*/ 7083302 w 7362782"/>
              <a:gd name="connsiteY36" fmla="*/ 236913 h 3065819"/>
              <a:gd name="connsiteX37" fmla="*/ 7083302 w 7362782"/>
              <a:gd name="connsiteY37" fmla="*/ 473593 h 3065819"/>
              <a:gd name="connsiteX38" fmla="*/ 7184736 w 7362782"/>
              <a:gd name="connsiteY38" fmla="*/ 473593 h 3065819"/>
              <a:gd name="connsiteX39" fmla="*/ 7184736 w 7362782"/>
              <a:gd name="connsiteY39" fmla="*/ 236913 h 3065819"/>
              <a:gd name="connsiteX40" fmla="*/ 6451885 w 7362782"/>
              <a:gd name="connsiteY40" fmla="*/ 0 h 3065819"/>
              <a:gd name="connsiteX41" fmla="*/ 7362782 w 7362782"/>
              <a:gd name="connsiteY41" fmla="*/ 0 h 3065819"/>
              <a:gd name="connsiteX42" fmla="*/ 7362782 w 7362782"/>
              <a:gd name="connsiteY42" fmla="*/ 3065819 h 3065819"/>
              <a:gd name="connsiteX43" fmla="*/ 1502792 w 7362782"/>
              <a:gd name="connsiteY43" fmla="*/ 3065819 h 3065819"/>
              <a:gd name="connsiteX44" fmla="*/ 1502792 w 7362782"/>
              <a:gd name="connsiteY44" fmla="*/ 2838399 h 3065819"/>
              <a:gd name="connsiteX45" fmla="*/ 1401357 w 7362782"/>
              <a:gd name="connsiteY45" fmla="*/ 2838399 h 3065819"/>
              <a:gd name="connsiteX46" fmla="*/ 1401357 w 7362782"/>
              <a:gd name="connsiteY46" fmla="*/ 3065819 h 3065819"/>
              <a:gd name="connsiteX47" fmla="*/ 1027795 w 7362782"/>
              <a:gd name="connsiteY47" fmla="*/ 3065819 h 3065819"/>
              <a:gd name="connsiteX48" fmla="*/ 1027795 w 7362782"/>
              <a:gd name="connsiteY48" fmla="*/ 2838399 h 3065819"/>
              <a:gd name="connsiteX49" fmla="*/ 834287 w 7362782"/>
              <a:gd name="connsiteY49" fmla="*/ 2838399 h 3065819"/>
              <a:gd name="connsiteX50" fmla="*/ 834287 w 7362782"/>
              <a:gd name="connsiteY50" fmla="*/ 2601604 h 3065819"/>
              <a:gd name="connsiteX51" fmla="*/ 1574392 w 7362782"/>
              <a:gd name="connsiteY51" fmla="*/ 2601604 h 3065819"/>
              <a:gd name="connsiteX52" fmla="*/ 1574392 w 7362782"/>
              <a:gd name="connsiteY52" fmla="*/ 2364807 h 3065819"/>
              <a:gd name="connsiteX53" fmla="*/ 2025404 w 7362782"/>
              <a:gd name="connsiteY53" fmla="*/ 2364807 h 3065819"/>
              <a:gd name="connsiteX54" fmla="*/ 2025404 w 7362782"/>
              <a:gd name="connsiteY54" fmla="*/ 2128010 h 3065819"/>
              <a:gd name="connsiteX55" fmla="*/ 2477237 w 7362782"/>
              <a:gd name="connsiteY55" fmla="*/ 2128010 h 3065819"/>
              <a:gd name="connsiteX56" fmla="*/ 2477237 w 7362782"/>
              <a:gd name="connsiteY56" fmla="*/ 2364807 h 3065819"/>
              <a:gd name="connsiteX57" fmla="*/ 2769488 w 7362782"/>
              <a:gd name="connsiteY57" fmla="*/ 2364807 h 3065819"/>
              <a:gd name="connsiteX58" fmla="*/ 2769488 w 7362782"/>
              <a:gd name="connsiteY58" fmla="*/ 1891916 h 3065819"/>
              <a:gd name="connsiteX59" fmla="*/ 2949894 w 7362782"/>
              <a:gd name="connsiteY59" fmla="*/ 1891916 h 3065819"/>
              <a:gd name="connsiteX60" fmla="*/ 2949894 w 7362782"/>
              <a:gd name="connsiteY60" fmla="*/ 2128712 h 3065819"/>
              <a:gd name="connsiteX61" fmla="*/ 3051327 w 7362782"/>
              <a:gd name="connsiteY61" fmla="*/ 2128712 h 3065819"/>
              <a:gd name="connsiteX62" fmla="*/ 3051327 w 7362782"/>
              <a:gd name="connsiteY62" fmla="*/ 1891916 h 3065819"/>
              <a:gd name="connsiteX63" fmla="*/ 3502341 w 7362782"/>
              <a:gd name="connsiteY63" fmla="*/ 1891916 h 3065819"/>
              <a:gd name="connsiteX64" fmla="*/ 3502341 w 7362782"/>
              <a:gd name="connsiteY64" fmla="*/ 2128712 h 3065819"/>
              <a:gd name="connsiteX65" fmla="*/ 3603775 w 7362782"/>
              <a:gd name="connsiteY65" fmla="*/ 2128712 h 3065819"/>
              <a:gd name="connsiteX66" fmla="*/ 3603775 w 7362782"/>
              <a:gd name="connsiteY66" fmla="*/ 1891916 h 3065819"/>
              <a:gd name="connsiteX67" fmla="*/ 3872159 w 7362782"/>
              <a:gd name="connsiteY67" fmla="*/ 1891916 h 3065819"/>
              <a:gd name="connsiteX68" fmla="*/ 3872159 w 7362782"/>
              <a:gd name="connsiteY68" fmla="*/ 1657343 h 3065819"/>
              <a:gd name="connsiteX69" fmla="*/ 3757037 w 7362782"/>
              <a:gd name="connsiteY69" fmla="*/ 1657343 h 3065819"/>
              <a:gd name="connsiteX70" fmla="*/ 3757037 w 7362782"/>
              <a:gd name="connsiteY70" fmla="*/ 1420546 h 3065819"/>
              <a:gd name="connsiteX71" fmla="*/ 3989154 w 7362782"/>
              <a:gd name="connsiteY71" fmla="*/ 1420546 h 3065819"/>
              <a:gd name="connsiteX72" fmla="*/ 3989154 w 7362782"/>
              <a:gd name="connsiteY72" fmla="*/ 1183750 h 3065819"/>
              <a:gd name="connsiteX73" fmla="*/ 4090588 w 7362782"/>
              <a:gd name="connsiteY73" fmla="*/ 1183750 h 3065819"/>
              <a:gd name="connsiteX74" fmla="*/ 4090588 w 7362782"/>
              <a:gd name="connsiteY74" fmla="*/ 1420546 h 3065819"/>
              <a:gd name="connsiteX75" fmla="*/ 4207349 w 7362782"/>
              <a:gd name="connsiteY75" fmla="*/ 1420546 h 3065819"/>
              <a:gd name="connsiteX76" fmla="*/ 4207349 w 7362782"/>
              <a:gd name="connsiteY76" fmla="*/ 1183750 h 3065819"/>
              <a:gd name="connsiteX77" fmla="*/ 4658361 w 7362782"/>
              <a:gd name="connsiteY77" fmla="*/ 1183750 h 3065819"/>
              <a:gd name="connsiteX78" fmla="*/ 4658361 w 7362782"/>
              <a:gd name="connsiteY78" fmla="*/ 1420546 h 3065819"/>
              <a:gd name="connsiteX79" fmla="*/ 5026776 w 7362782"/>
              <a:gd name="connsiteY79" fmla="*/ 1420546 h 3065819"/>
              <a:gd name="connsiteX80" fmla="*/ 5026776 w 7362782"/>
              <a:gd name="connsiteY80" fmla="*/ 1183750 h 3065819"/>
              <a:gd name="connsiteX81" fmla="*/ 4847074 w 7362782"/>
              <a:gd name="connsiteY81" fmla="*/ 1183750 h 3065819"/>
              <a:gd name="connsiteX82" fmla="*/ 4847074 w 7362782"/>
              <a:gd name="connsiteY82" fmla="*/ 946952 h 3065819"/>
              <a:gd name="connsiteX83" fmla="*/ 5517334 w 7362782"/>
              <a:gd name="connsiteY83" fmla="*/ 946952 h 3065819"/>
              <a:gd name="connsiteX84" fmla="*/ 5517334 w 7362782"/>
              <a:gd name="connsiteY84" fmla="*/ 710156 h 3065819"/>
              <a:gd name="connsiteX85" fmla="*/ 5899555 w 7362782"/>
              <a:gd name="connsiteY85" fmla="*/ 710156 h 3065819"/>
              <a:gd name="connsiteX86" fmla="*/ 5899555 w 7362782"/>
              <a:gd name="connsiteY86" fmla="*/ 473477 h 3065819"/>
              <a:gd name="connsiteX87" fmla="*/ 6068495 w 7362782"/>
              <a:gd name="connsiteY87" fmla="*/ 473477 h 3065819"/>
              <a:gd name="connsiteX88" fmla="*/ 6068495 w 7362782"/>
              <a:gd name="connsiteY88" fmla="*/ 236680 h 3065819"/>
              <a:gd name="connsiteX89" fmla="*/ 6166184 w 7362782"/>
              <a:gd name="connsiteY89" fmla="*/ 236680 h 3065819"/>
              <a:gd name="connsiteX90" fmla="*/ 6166184 w 7362782"/>
              <a:gd name="connsiteY90" fmla="*/ 473477 h 3065819"/>
              <a:gd name="connsiteX91" fmla="*/ 6350567 w 7362782"/>
              <a:gd name="connsiteY91" fmla="*/ 473477 h 3065819"/>
              <a:gd name="connsiteX92" fmla="*/ 6350567 w 7362782"/>
              <a:gd name="connsiteY92" fmla="*/ 710156 h 3065819"/>
              <a:gd name="connsiteX93" fmla="*/ 6452001 w 7362782"/>
              <a:gd name="connsiteY93" fmla="*/ 710156 h 3065819"/>
              <a:gd name="connsiteX94" fmla="*/ 6452001 w 7362782"/>
              <a:gd name="connsiteY94" fmla="*/ 473477 h 3065819"/>
              <a:gd name="connsiteX95" fmla="*/ 6632290 w 7362782"/>
              <a:gd name="connsiteY95" fmla="*/ 473477 h 3065819"/>
              <a:gd name="connsiteX96" fmla="*/ 6632290 w 7362782"/>
              <a:gd name="connsiteY96" fmla="*/ 236797 h 3065819"/>
              <a:gd name="connsiteX97" fmla="*/ 6451885 w 7362782"/>
              <a:gd name="connsiteY97" fmla="*/ 236797 h 3065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7362782" h="3065819">
                <a:moveTo>
                  <a:pt x="281839" y="2602189"/>
                </a:moveTo>
                <a:lnTo>
                  <a:pt x="732852" y="2602189"/>
                </a:lnTo>
                <a:lnTo>
                  <a:pt x="732852" y="2838984"/>
                </a:lnTo>
                <a:lnTo>
                  <a:pt x="281839" y="2838984"/>
                </a:lnTo>
                <a:close/>
                <a:moveTo>
                  <a:pt x="0" y="2602189"/>
                </a:moveTo>
                <a:lnTo>
                  <a:pt x="180406" y="2602189"/>
                </a:lnTo>
                <a:lnTo>
                  <a:pt x="180406" y="2838984"/>
                </a:lnTo>
                <a:lnTo>
                  <a:pt x="0" y="2838984"/>
                </a:lnTo>
                <a:close/>
                <a:moveTo>
                  <a:pt x="2955042" y="2365392"/>
                </a:moveTo>
                <a:lnTo>
                  <a:pt x="2955042" y="2602189"/>
                </a:lnTo>
                <a:lnTo>
                  <a:pt x="3056475" y="2602189"/>
                </a:lnTo>
                <a:lnTo>
                  <a:pt x="3056475" y="2365392"/>
                </a:lnTo>
                <a:close/>
                <a:moveTo>
                  <a:pt x="3181893" y="2128596"/>
                </a:moveTo>
                <a:lnTo>
                  <a:pt x="3181893" y="2365392"/>
                </a:lnTo>
                <a:lnTo>
                  <a:pt x="3362299" y="2365392"/>
                </a:lnTo>
                <a:lnTo>
                  <a:pt x="3362299" y="2128596"/>
                </a:lnTo>
                <a:close/>
                <a:moveTo>
                  <a:pt x="4682463" y="1657343"/>
                </a:moveTo>
                <a:lnTo>
                  <a:pt x="4682463" y="1891916"/>
                </a:lnTo>
                <a:lnTo>
                  <a:pt x="4846956" y="1891916"/>
                </a:lnTo>
                <a:lnTo>
                  <a:pt x="4846956" y="1657343"/>
                </a:lnTo>
                <a:close/>
                <a:moveTo>
                  <a:pt x="4207934" y="1420546"/>
                </a:moveTo>
                <a:lnTo>
                  <a:pt x="4207934" y="1655119"/>
                </a:lnTo>
                <a:lnTo>
                  <a:pt x="4309367" y="1655119"/>
                </a:lnTo>
                <a:lnTo>
                  <a:pt x="4309367" y="1420546"/>
                </a:lnTo>
                <a:close/>
                <a:moveTo>
                  <a:pt x="3475081" y="1420546"/>
                </a:moveTo>
                <a:lnTo>
                  <a:pt x="3655487" y="1420546"/>
                </a:lnTo>
                <a:lnTo>
                  <a:pt x="3655487" y="1657343"/>
                </a:lnTo>
                <a:lnTo>
                  <a:pt x="3475081" y="1657343"/>
                </a:lnTo>
                <a:close/>
                <a:moveTo>
                  <a:pt x="6673471" y="710273"/>
                </a:moveTo>
                <a:lnTo>
                  <a:pt x="6673471" y="946952"/>
                </a:lnTo>
                <a:lnTo>
                  <a:pt x="6774906" y="946952"/>
                </a:lnTo>
                <a:lnTo>
                  <a:pt x="6774906" y="710273"/>
                </a:lnTo>
                <a:close/>
                <a:moveTo>
                  <a:pt x="5968230" y="710273"/>
                </a:moveTo>
                <a:lnTo>
                  <a:pt x="5968230" y="946952"/>
                </a:lnTo>
                <a:lnTo>
                  <a:pt x="6069664" y="946952"/>
                </a:lnTo>
                <a:lnTo>
                  <a:pt x="6069664" y="710273"/>
                </a:lnTo>
                <a:close/>
                <a:moveTo>
                  <a:pt x="7083302" y="236913"/>
                </a:moveTo>
                <a:lnTo>
                  <a:pt x="7083302" y="473593"/>
                </a:lnTo>
                <a:lnTo>
                  <a:pt x="7184736" y="473593"/>
                </a:lnTo>
                <a:lnTo>
                  <a:pt x="7184736" y="236913"/>
                </a:lnTo>
                <a:close/>
                <a:moveTo>
                  <a:pt x="6451885" y="0"/>
                </a:moveTo>
                <a:lnTo>
                  <a:pt x="7362782" y="0"/>
                </a:lnTo>
                <a:lnTo>
                  <a:pt x="7362782" y="3065819"/>
                </a:lnTo>
                <a:lnTo>
                  <a:pt x="1502792" y="3065819"/>
                </a:lnTo>
                <a:lnTo>
                  <a:pt x="1502792" y="2838399"/>
                </a:lnTo>
                <a:lnTo>
                  <a:pt x="1401357" y="2838399"/>
                </a:lnTo>
                <a:lnTo>
                  <a:pt x="1401357" y="3065819"/>
                </a:lnTo>
                <a:lnTo>
                  <a:pt x="1027795" y="3065819"/>
                </a:lnTo>
                <a:lnTo>
                  <a:pt x="1027795" y="2838399"/>
                </a:lnTo>
                <a:lnTo>
                  <a:pt x="834287" y="2838399"/>
                </a:lnTo>
                <a:lnTo>
                  <a:pt x="834287" y="2601604"/>
                </a:lnTo>
                <a:lnTo>
                  <a:pt x="1574392" y="2601604"/>
                </a:lnTo>
                <a:lnTo>
                  <a:pt x="1574392" y="2364807"/>
                </a:lnTo>
                <a:lnTo>
                  <a:pt x="2025404" y="2364807"/>
                </a:lnTo>
                <a:lnTo>
                  <a:pt x="2025404" y="2128010"/>
                </a:lnTo>
                <a:lnTo>
                  <a:pt x="2477237" y="2128010"/>
                </a:lnTo>
                <a:lnTo>
                  <a:pt x="2477237" y="2364807"/>
                </a:lnTo>
                <a:lnTo>
                  <a:pt x="2769488" y="2364807"/>
                </a:lnTo>
                <a:lnTo>
                  <a:pt x="2769488" y="1891916"/>
                </a:lnTo>
                <a:lnTo>
                  <a:pt x="2949894" y="1891916"/>
                </a:lnTo>
                <a:lnTo>
                  <a:pt x="2949894" y="2128712"/>
                </a:lnTo>
                <a:lnTo>
                  <a:pt x="3051327" y="2128712"/>
                </a:lnTo>
                <a:lnTo>
                  <a:pt x="3051327" y="1891916"/>
                </a:lnTo>
                <a:lnTo>
                  <a:pt x="3502341" y="1891916"/>
                </a:lnTo>
                <a:lnTo>
                  <a:pt x="3502341" y="2128712"/>
                </a:lnTo>
                <a:lnTo>
                  <a:pt x="3603775" y="2128712"/>
                </a:lnTo>
                <a:lnTo>
                  <a:pt x="3603775" y="1891916"/>
                </a:lnTo>
                <a:lnTo>
                  <a:pt x="3872159" y="1891916"/>
                </a:lnTo>
                <a:lnTo>
                  <a:pt x="3872159" y="1657343"/>
                </a:lnTo>
                <a:lnTo>
                  <a:pt x="3757037" y="1657343"/>
                </a:lnTo>
                <a:lnTo>
                  <a:pt x="3757037" y="1420546"/>
                </a:lnTo>
                <a:lnTo>
                  <a:pt x="3989154" y="1420546"/>
                </a:lnTo>
                <a:lnTo>
                  <a:pt x="3989154" y="1183750"/>
                </a:lnTo>
                <a:lnTo>
                  <a:pt x="4090588" y="1183750"/>
                </a:lnTo>
                <a:lnTo>
                  <a:pt x="4090588" y="1420546"/>
                </a:lnTo>
                <a:lnTo>
                  <a:pt x="4207349" y="1420546"/>
                </a:lnTo>
                <a:lnTo>
                  <a:pt x="4207349" y="1183750"/>
                </a:lnTo>
                <a:lnTo>
                  <a:pt x="4658361" y="1183750"/>
                </a:lnTo>
                <a:lnTo>
                  <a:pt x="4658361" y="1420546"/>
                </a:lnTo>
                <a:lnTo>
                  <a:pt x="5026776" y="1420546"/>
                </a:lnTo>
                <a:lnTo>
                  <a:pt x="5026776" y="1183750"/>
                </a:lnTo>
                <a:lnTo>
                  <a:pt x="4847074" y="1183750"/>
                </a:lnTo>
                <a:lnTo>
                  <a:pt x="4847074" y="946952"/>
                </a:lnTo>
                <a:lnTo>
                  <a:pt x="5517334" y="946952"/>
                </a:lnTo>
                <a:lnTo>
                  <a:pt x="5517334" y="710156"/>
                </a:lnTo>
                <a:lnTo>
                  <a:pt x="5899555" y="710156"/>
                </a:lnTo>
                <a:lnTo>
                  <a:pt x="5899555" y="473477"/>
                </a:lnTo>
                <a:lnTo>
                  <a:pt x="6068495" y="473477"/>
                </a:lnTo>
                <a:lnTo>
                  <a:pt x="6068495" y="236680"/>
                </a:lnTo>
                <a:lnTo>
                  <a:pt x="6166184" y="236680"/>
                </a:lnTo>
                <a:lnTo>
                  <a:pt x="6166184" y="473477"/>
                </a:lnTo>
                <a:lnTo>
                  <a:pt x="6350567" y="473477"/>
                </a:lnTo>
                <a:lnTo>
                  <a:pt x="6350567" y="710156"/>
                </a:lnTo>
                <a:lnTo>
                  <a:pt x="6452001" y="710156"/>
                </a:lnTo>
                <a:lnTo>
                  <a:pt x="6452001" y="473477"/>
                </a:lnTo>
                <a:lnTo>
                  <a:pt x="6632290" y="473477"/>
                </a:lnTo>
                <a:lnTo>
                  <a:pt x="6632290" y="236797"/>
                </a:lnTo>
                <a:lnTo>
                  <a:pt x="6451885" y="236797"/>
                </a:lnTo>
                <a:close/>
              </a:path>
            </a:pathLst>
          </a:custGeom>
          <a:solidFill>
            <a:srgbClr val="009CDE"/>
          </a:solidFill>
          <a:ln w="0" cap="flat">
            <a:noFill/>
            <a:prstDash val="solid"/>
            <a:miter/>
          </a:ln>
        </p:spPr>
        <p:txBody>
          <a:bodyPr rtlCol="0" anchor="ctr"/>
          <a:lstStyle/>
          <a:p>
            <a:endParaRPr lang="en-GB"/>
          </a:p>
        </p:txBody>
      </p:sp>
      <p:pic>
        <p:nvPicPr>
          <p:cNvPr id="9" name="Picture 8">
            <a:extLst>
              <a:ext uri="{FF2B5EF4-FFF2-40B4-BE49-F238E27FC236}">
                <a16:creationId xmlns:a16="http://schemas.microsoft.com/office/drawing/2014/main" id="{A1647CCA-2921-F01F-A7AA-6D67F5F33A21}"/>
              </a:ext>
            </a:extLst>
          </p:cNvPr>
          <p:cNvPicPr>
            <a:picLocks noChangeAspect="1"/>
          </p:cNvPicPr>
          <p:nvPr>
            <p:custDataLst>
              <p:tags r:id="rId4"/>
            </p:custDataLst>
          </p:nvPr>
        </p:nvPicPr>
        <p:blipFill>
          <a:blip r:embed="rId8"/>
          <a:stretch>
            <a:fillRect/>
          </a:stretch>
        </p:blipFill>
        <p:spPr>
          <a:xfrm>
            <a:off x="5915998" y="1313295"/>
            <a:ext cx="5602235" cy="2234189"/>
          </a:xfrm>
          <a:prstGeom prst="rect">
            <a:avLst/>
          </a:prstGeom>
        </p:spPr>
      </p:pic>
    </p:spTree>
    <p:extLst>
      <p:ext uri="{BB962C8B-B14F-4D97-AF65-F5344CB8AC3E}">
        <p14:creationId xmlns:p14="http://schemas.microsoft.com/office/powerpoint/2010/main" val="219865250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EE8C3-CAC5-6D7D-737C-C1FF54D6145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B676995-7283-373F-7C21-5BA3F1B7FA2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7997EE4A-D5D3-9C22-E81A-0BDCEC633496}"/>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19937491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5AE9C9-21B7-5594-1683-919090BEE943}"/>
              </a:ext>
            </a:extLst>
          </p:cNvPr>
          <p:cNvSpPr>
            <a:spLocks noGrp="1"/>
          </p:cNvSpPr>
          <p:nvPr>
            <p:ph type="title" orient="vert"/>
          </p:nvPr>
        </p:nvSpPr>
        <p:spPr>
          <a:xfrm>
            <a:off x="8885238" y="548968"/>
            <a:ext cx="2520950" cy="5669269"/>
          </a:xfrm>
        </p:spPr>
        <p:txBody>
          <a:bodyPr vert="eaVert"/>
          <a:lstStyle/>
          <a:p>
            <a:r>
              <a:rPr lang="en-US"/>
              <a:t>Click to edit Master title style</a:t>
            </a:r>
            <a:endParaRPr lang="en-GB" dirty="0"/>
          </a:p>
        </p:txBody>
      </p:sp>
      <p:sp>
        <p:nvSpPr>
          <p:cNvPr id="3" name="Vertical Text Placeholder 2">
            <a:extLst>
              <a:ext uri="{FF2B5EF4-FFF2-40B4-BE49-F238E27FC236}">
                <a16:creationId xmlns:a16="http://schemas.microsoft.com/office/drawing/2014/main" id="{99709DA0-877F-2DB6-3393-B09F0C22E4D6}"/>
              </a:ext>
            </a:extLst>
          </p:cNvPr>
          <p:cNvSpPr>
            <a:spLocks noGrp="1"/>
          </p:cNvSpPr>
          <p:nvPr>
            <p:ph type="body" orient="vert" idx="1"/>
          </p:nvPr>
        </p:nvSpPr>
        <p:spPr>
          <a:xfrm>
            <a:off x="785813" y="548968"/>
            <a:ext cx="8099425" cy="566926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a:extLst>
              <a:ext uri="{FF2B5EF4-FFF2-40B4-BE49-F238E27FC236}">
                <a16:creationId xmlns:a16="http://schemas.microsoft.com/office/drawing/2014/main" id="{90CA9267-7E18-DEBB-BCB1-7905ECDE0D7E}"/>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21684936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Back cover">
    <p:bg>
      <p:bgRef idx="1001">
        <a:schemeClr val="bg2"/>
      </p:bgRef>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121154CE-E443-F989-D157-4232E4E73F64}"/>
              </a:ext>
            </a:extLst>
          </p:cNvPr>
          <p:cNvPicPr>
            <a:picLocks/>
          </p:cNvPicPr>
          <p:nvPr>
            <p:custDataLst>
              <p:tags r:id="rId1"/>
            </p:custDataLst>
          </p:nvPr>
        </p:nvPicPr>
        <p:blipFill rotWithShape="1">
          <a:blip r:embed="rId3">
            <a:extLst>
              <a:ext uri="{96DAC541-7B7A-43D3-8B79-37D633B846F1}">
                <asvg:svgBlip xmlns:asvg="http://schemas.microsoft.com/office/drawing/2016/SVG/main" r:embed="rId4"/>
              </a:ext>
            </a:extLst>
          </a:blip>
          <a:srcRect t="80" b="80"/>
          <a:stretch/>
        </p:blipFill>
        <p:spPr>
          <a:xfrm>
            <a:off x="10171388" y="684213"/>
            <a:ext cx="1234800" cy="518400"/>
          </a:xfrm>
          <a:prstGeom prst="rect">
            <a:avLst/>
          </a:prstGeom>
        </p:spPr>
      </p:pic>
    </p:spTree>
    <p:extLst>
      <p:ext uri="{BB962C8B-B14F-4D97-AF65-F5344CB8AC3E}">
        <p14:creationId xmlns:p14="http://schemas.microsoft.com/office/powerpoint/2010/main" val="2249606009"/>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4"/>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231" indent="0" algn="ctr">
              <a:buNone/>
              <a:defRPr sz="2000"/>
            </a:lvl2pPr>
            <a:lvl3pPr marL="914462" indent="0" algn="ctr">
              <a:buNone/>
              <a:defRPr sz="1800"/>
            </a:lvl3pPr>
            <a:lvl4pPr marL="1371695" indent="0" algn="ctr">
              <a:buNone/>
              <a:defRPr sz="1600"/>
            </a:lvl4pPr>
            <a:lvl5pPr marL="1828926" indent="0" algn="ctr">
              <a:buNone/>
              <a:defRPr sz="1600"/>
            </a:lvl5pPr>
            <a:lvl6pPr marL="2286158" indent="0" algn="ctr">
              <a:buNone/>
              <a:defRPr sz="1600"/>
            </a:lvl6pPr>
            <a:lvl7pPr marL="2743389" indent="0" algn="ctr">
              <a:buNone/>
              <a:defRPr sz="1600"/>
            </a:lvl7pPr>
            <a:lvl8pPr marL="3200620" indent="0" algn="ctr">
              <a:buNone/>
              <a:defRPr sz="1600"/>
            </a:lvl8pPr>
            <a:lvl9pPr marL="3657851"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FFEFBBE2-AE6E-F54C-A730-30AA6756D286}" type="datetimeFigureOut">
              <a:rPr lang="en-US"/>
              <a:t>7/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5A8D2-B889-C84C-9F81-1812FD4E0C5C}" type="slidenum">
              <a:rPr lang="en-US"/>
              <a:t>‹#›</a:t>
            </a:fld>
            <a:endParaRPr lang="en-US"/>
          </a:p>
        </p:txBody>
      </p:sp>
    </p:spTree>
    <p:extLst>
      <p:ext uri="{BB962C8B-B14F-4D97-AF65-F5344CB8AC3E}">
        <p14:creationId xmlns:p14="http://schemas.microsoft.com/office/powerpoint/2010/main" val="23458854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22"/>
        <p:cNvGrpSpPr/>
        <p:nvPr/>
      </p:nvGrpSpPr>
      <p:grpSpPr>
        <a:xfrm>
          <a:off x="0" y="0"/>
          <a:ext cx="0" cy="0"/>
          <a:chOff x="0" y="0"/>
          <a:chExt cx="0" cy="0"/>
        </a:xfrm>
      </p:grpSpPr>
      <p:sp>
        <p:nvSpPr>
          <p:cNvPr id="23" name="Google Shape;23;g13b66430dbd_1_4198"/>
          <p:cNvSpPr txBox="1">
            <a:spLocks noGrp="1"/>
          </p:cNvSpPr>
          <p:nvPr>
            <p:ph type="body" idx="1"/>
          </p:nvPr>
        </p:nvSpPr>
        <p:spPr>
          <a:xfrm>
            <a:off x="547159" y="1066800"/>
            <a:ext cx="11120000" cy="5215400"/>
          </a:xfrm>
          <a:prstGeom prst="rect">
            <a:avLst/>
          </a:prstGeom>
          <a:noFill/>
          <a:ln>
            <a:noFill/>
          </a:ln>
        </p:spPr>
        <p:txBody>
          <a:bodyPr spcFirstLastPara="1" wrap="square" lIns="0" tIns="45700" rIns="0" bIns="45700" anchor="t" anchorCtr="0">
            <a:noAutofit/>
          </a:bodyPr>
          <a:lstStyle>
            <a:lvl1pPr marL="304815" lvl="0" indent="-245546" algn="l">
              <a:lnSpc>
                <a:spcPct val="110000"/>
              </a:lnSpc>
              <a:spcBef>
                <a:spcPts val="1000"/>
              </a:spcBef>
              <a:spcAft>
                <a:spcPts val="0"/>
              </a:spcAft>
              <a:buSzPts val="2200"/>
              <a:buChar char="▪"/>
              <a:defRPr/>
            </a:lvl1pPr>
            <a:lvl2pPr marL="609630" lvl="1" indent="-237079" algn="l">
              <a:lnSpc>
                <a:spcPct val="110000"/>
              </a:lnSpc>
              <a:spcBef>
                <a:spcPts val="1000"/>
              </a:spcBef>
              <a:spcAft>
                <a:spcPts val="0"/>
              </a:spcAft>
              <a:buSzPts val="2000"/>
              <a:buChar char="–"/>
              <a:defRPr/>
            </a:lvl2pPr>
            <a:lvl3pPr marL="914446" lvl="2" indent="-228611" algn="l">
              <a:lnSpc>
                <a:spcPct val="110000"/>
              </a:lnSpc>
              <a:spcBef>
                <a:spcPts val="1000"/>
              </a:spcBef>
              <a:spcAft>
                <a:spcPts val="0"/>
              </a:spcAft>
              <a:buSzPts val="1800"/>
              <a:buChar char="•"/>
              <a:defRPr/>
            </a:lvl3pPr>
            <a:lvl4pPr marL="1219261" lvl="3" indent="-220144" algn="l">
              <a:lnSpc>
                <a:spcPct val="110000"/>
              </a:lnSpc>
              <a:spcBef>
                <a:spcPts val="1000"/>
              </a:spcBef>
              <a:spcAft>
                <a:spcPts val="0"/>
              </a:spcAft>
              <a:buSzPts val="1600"/>
              <a:buChar char="&gt;"/>
              <a:defRPr/>
            </a:lvl4pPr>
            <a:lvl5pPr marL="1524076" lvl="4" indent="-211677" algn="l">
              <a:lnSpc>
                <a:spcPct val="110000"/>
              </a:lnSpc>
              <a:spcBef>
                <a:spcPts val="1000"/>
              </a:spcBef>
              <a:spcAft>
                <a:spcPts val="0"/>
              </a:spcAft>
              <a:buSzPts val="1400"/>
              <a:buChar char="o"/>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lang="en-US"/>
          </a:p>
        </p:txBody>
      </p:sp>
      <p:sp>
        <p:nvSpPr>
          <p:cNvPr id="24" name="Google Shape;24;g13b66430dbd_1_4198"/>
          <p:cNvSpPr txBox="1">
            <a:spLocks noGrp="1"/>
          </p:cNvSpPr>
          <p:nvPr>
            <p:ph type="title"/>
          </p:nvPr>
        </p:nvSpPr>
        <p:spPr>
          <a:xfrm>
            <a:off x="547160" y="343959"/>
            <a:ext cx="11120000" cy="604400"/>
          </a:xfrm>
          <a:prstGeom prst="rect">
            <a:avLst/>
          </a:prstGeom>
          <a:noFill/>
          <a:ln>
            <a:noFill/>
          </a:ln>
        </p:spPr>
        <p:txBody>
          <a:bodyPr spcFirstLastPara="1" wrap="square" lIns="0" tIns="45700" rIns="0" bIns="45700" anchor="t" anchorCtr="0">
            <a:noAutofit/>
          </a:bodyPr>
          <a:lstStyle>
            <a:lvl1pPr lvl="0" algn="l">
              <a:lnSpc>
                <a:spcPct val="90000"/>
              </a:lnSpc>
              <a:spcBef>
                <a:spcPts val="0"/>
              </a:spcBef>
              <a:spcAft>
                <a:spcPts val="0"/>
              </a:spcAft>
              <a:buClr>
                <a:schemeClr val="dk1"/>
              </a:buClr>
              <a:buSzPts val="5800"/>
              <a:buFont typeface="Arial"/>
              <a:buNone/>
              <a:defRPr sz="36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en-US"/>
          </a:p>
        </p:txBody>
      </p:sp>
      <p:sp>
        <p:nvSpPr>
          <p:cNvPr id="25" name="Google Shape;25;g13b66430dbd_1_4198"/>
          <p:cNvSpPr txBox="1">
            <a:spLocks noGrp="1"/>
          </p:cNvSpPr>
          <p:nvPr>
            <p:ph type="sldNum" idx="12"/>
          </p:nvPr>
        </p:nvSpPr>
        <p:spPr>
          <a:xfrm>
            <a:off x="10899423" y="6519334"/>
            <a:ext cx="767600" cy="2220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800" b="0" i="0" u="none" strike="noStrike" kern="1200" cap="none" spc="0" normalizeH="0" baseline="0" noProof="0" smtClean="0">
                <a:ln>
                  <a:noFill/>
                </a:ln>
                <a:solidFill>
                  <a:srgbClr val="7F7F7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a:t>
            </a:fld>
            <a:endParaRPr kumimoji="0" lang="en-US" sz="800" b="0" i="0" u="none" strike="noStrike" kern="1200" cap="none" spc="0" normalizeH="0" baseline="0" noProof="0">
              <a:ln>
                <a:noFill/>
              </a:ln>
              <a:solidFill>
                <a:srgbClr val="7F7F7F"/>
              </a:solidFill>
              <a:effectLst/>
              <a:uLnTx/>
              <a:uFillTx/>
              <a:latin typeface="Arial"/>
              <a:cs typeface="Arial"/>
              <a:sym typeface="Arial"/>
            </a:endParaRPr>
          </a:p>
        </p:txBody>
      </p:sp>
    </p:spTree>
    <p:extLst>
      <p:ext uri="{BB962C8B-B14F-4D97-AF65-F5344CB8AC3E}">
        <p14:creationId xmlns:p14="http://schemas.microsoft.com/office/powerpoint/2010/main" val="3653290571"/>
      </p:ext>
    </p:extLst>
  </p:cSld>
  <p:clrMapOvr>
    <a:masterClrMapping/>
  </p:clrMapOvr>
  <p:extLst>
    <p:ext uri="{DCECCB84-F9BA-43D5-87BE-67443E8EF086}">
      <p15:sldGuideLst xmlns:p15="http://schemas.microsoft.com/office/powerpoint/2012/main">
        <p15:guide id="1" orient="horz" pos="588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Mai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08000" y="1380067"/>
            <a:ext cx="10845800" cy="46397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12"/>
          </p:nvPr>
        </p:nvSpPr>
        <p:spPr>
          <a:xfrm>
            <a:off x="6154652" y="6356897"/>
            <a:ext cx="2743200" cy="264583"/>
          </a:xfrm>
          <a:prstGeom prst="rect">
            <a:avLst/>
          </a:prstGeom>
        </p:spPr>
        <p:txBody>
          <a:bodyPr/>
          <a:lstStyle>
            <a:lvl1pPr algn="l">
              <a:defRPr sz="1000">
                <a:solidFill>
                  <a:schemeClr val="tx1"/>
                </a:solidFill>
                <a:latin typeface="Arial" panose="020B0604020202020204" pitchFamily="34" charset="0"/>
                <a:cs typeface="Arial" panose="020B0604020202020204" pitchFamily="34" charset="0"/>
              </a:defRPr>
            </a:lvl1pPr>
          </a:lstStyle>
          <a:p>
            <a:fld id="{936A99BC-3C9D-4DF8-8B8C-E1FD2BDF0AD4}" type="slidenum">
              <a:rPr lang="en-US" smtClean="0"/>
              <a:pPr/>
              <a:t>‹#›</a:t>
            </a:fld>
            <a:endParaRPr lang="en-US"/>
          </a:p>
        </p:txBody>
      </p:sp>
      <p:sp>
        <p:nvSpPr>
          <p:cNvPr id="4" name="TextBox 3"/>
          <p:cNvSpPr txBox="1"/>
          <p:nvPr userDrawn="1"/>
        </p:nvSpPr>
        <p:spPr>
          <a:xfrm>
            <a:off x="508000" y="6470650"/>
            <a:ext cx="2589196" cy="215444"/>
          </a:xfrm>
          <a:prstGeom prst="rect">
            <a:avLst/>
          </a:prstGeom>
          <a:solidFill>
            <a:schemeClr val="bg1"/>
          </a:solidFill>
        </p:spPr>
        <p:txBody>
          <a:bodyPr wrap="square" rtlCol="0">
            <a:spAutoFit/>
          </a:bodyPr>
          <a:lstStyle/>
          <a:p>
            <a:r>
              <a:rPr lang="en-US" sz="800">
                <a:solidFill>
                  <a:schemeClr val="bg2">
                    <a:lumMod val="75000"/>
                  </a:schemeClr>
                </a:solidFill>
              </a:rPr>
              <a:t>© 2022 RSM US LLP. All Rights Reserved.</a:t>
            </a:r>
          </a:p>
        </p:txBody>
      </p:sp>
    </p:spTree>
    <p:extLst>
      <p:ext uri="{BB962C8B-B14F-4D97-AF65-F5344CB8AC3E}">
        <p14:creationId xmlns:p14="http://schemas.microsoft.com/office/powerpoint/2010/main" val="22778209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B - Aaron">
    <p:bg>
      <p:bgPr>
        <a:solidFill>
          <a:schemeClr val="tx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r>
              <a:rPr lang="en-US"/>
              <a:t>Click icon to add picture</a:t>
            </a:r>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0E61AC88-24D2-C626-F173-6701AD633AB3}"/>
              </a:ext>
            </a:extLst>
          </p:cNvPr>
          <p:cNvGrpSpPr/>
          <p:nvPr userDrawn="1"/>
        </p:nvGrpSpPr>
        <p:grpSpPr>
          <a:xfrm>
            <a:off x="10363200" y="381000"/>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52295" y="1909713"/>
            <a:ext cx="2264219" cy="273593"/>
          </a:xfrm>
          <a:prstGeom prst="rect">
            <a:avLst/>
          </a:prstGeom>
        </p:spPr>
      </p:pic>
    </p:spTree>
    <p:extLst>
      <p:ext uri="{BB962C8B-B14F-4D97-AF65-F5344CB8AC3E}">
        <p14:creationId xmlns:p14="http://schemas.microsoft.com/office/powerpoint/2010/main" val="39596320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 Lilian">
    <p:bg>
      <p:bgPr>
        <a:solidFill>
          <a:schemeClr val="tx1"/>
        </a:solidFill>
        <a:effectLst/>
      </p:bgPr>
    </p:bg>
    <p:spTree>
      <p:nvGrpSpPr>
        <p:cNvPr id="1" name=""/>
        <p:cNvGrpSpPr/>
        <p:nvPr/>
      </p:nvGrpSpPr>
      <p:grpSpPr>
        <a:xfrm>
          <a:off x="0" y="0"/>
          <a:ext cx="0" cy="0"/>
          <a:chOff x="0" y="0"/>
          <a:chExt cx="0" cy="0"/>
        </a:xfrm>
      </p:grpSpPr>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89EEF14-BF33-E89A-8154-00E812BE6542}"/>
              </a:ext>
            </a:extLst>
          </p:cNvPr>
          <p:cNvSpPr>
            <a:spLocks noGrp="1"/>
          </p:cNvSpPr>
          <p:nvPr>
            <p:ph type="body" sz="quarter" idx="14" hasCustomPrompt="1"/>
          </p:nvPr>
        </p:nvSpPr>
        <p:spPr>
          <a:xfrm>
            <a:off x="817562" y="657566"/>
            <a:ext cx="5218113" cy="191478"/>
          </a:xfrm>
        </p:spPr>
        <p:txBody>
          <a:bodyPr/>
          <a:lstStyle>
            <a:lvl1pP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IVATE AND CONFIDENTIAL</a:t>
            </a:r>
          </a:p>
        </p:txBody>
      </p:sp>
      <p:sp>
        <p:nvSpPr>
          <p:cNvPr id="5" name="Title 1">
            <a:extLst>
              <a:ext uri="{FF2B5EF4-FFF2-40B4-BE49-F238E27FC236}">
                <a16:creationId xmlns:a16="http://schemas.microsoft.com/office/drawing/2014/main" id="{ADD6B5F9-EA64-00A7-F731-F1BAF6BF0C12}"/>
              </a:ext>
            </a:extLst>
          </p:cNvPr>
          <p:cNvSpPr>
            <a:spLocks noGrp="1"/>
          </p:cNvSpPr>
          <p:nvPr>
            <p:ph type="ctrTitle" hasCustomPrompt="1"/>
          </p:nvPr>
        </p:nvSpPr>
        <p:spPr>
          <a:xfrm>
            <a:off x="817562" y="1049200"/>
            <a:ext cx="5218113" cy="1107996"/>
          </a:xfrm>
          <a:noFill/>
        </p:spPr>
        <p:txBody>
          <a:bodyPr lIns="0" tIns="0" rIns="900000" bIns="0" anchor="t" anchorCtr="0"/>
          <a:lstStyle>
            <a:lvl1pPr algn="l">
              <a:lnSpc>
                <a:spcPct val="100000"/>
              </a:lnSpc>
              <a:spcBef>
                <a:spcPts val="0"/>
              </a:spcBef>
              <a:spcAft>
                <a:spcPts val="0"/>
              </a:spcAft>
              <a:defRPr sz="3600">
                <a:solidFill>
                  <a:schemeClr val="accent1"/>
                </a:solidFill>
              </a:defRPr>
            </a:lvl1pPr>
          </a:lstStyle>
          <a:p>
            <a:r>
              <a:rPr lang="en-US"/>
              <a:t>Title</a:t>
            </a:r>
            <a:br>
              <a:rPr lang="en-US"/>
            </a:br>
            <a:endParaRPr lang="en-GB"/>
          </a:p>
        </p:txBody>
      </p:sp>
      <p:sp>
        <p:nvSpPr>
          <p:cNvPr id="6" name="Text Placeholder 3">
            <a:extLst>
              <a:ext uri="{FF2B5EF4-FFF2-40B4-BE49-F238E27FC236}">
                <a16:creationId xmlns:a16="http://schemas.microsoft.com/office/drawing/2014/main" id="{9DD067AA-FC7F-E211-B5E2-28259E7E6AF0}"/>
              </a:ext>
            </a:extLst>
          </p:cNvPr>
          <p:cNvSpPr>
            <a:spLocks noGrp="1"/>
          </p:cNvSpPr>
          <p:nvPr>
            <p:ph type="body" sz="quarter" idx="11" hasCustomPrompt="1"/>
          </p:nvPr>
        </p:nvSpPr>
        <p:spPr>
          <a:xfrm>
            <a:off x="817564" y="2155660"/>
            <a:ext cx="5218112" cy="715685"/>
          </a:xfrm>
        </p:spPr>
        <p:txBody>
          <a:bodyPr/>
          <a:lstStyle>
            <a:lvl1pPr>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endParaRPr lang="en-GB"/>
          </a:p>
        </p:txBody>
      </p:sp>
      <p:sp>
        <p:nvSpPr>
          <p:cNvPr id="10" name="Text Placeholder 6">
            <a:extLst>
              <a:ext uri="{FF2B5EF4-FFF2-40B4-BE49-F238E27FC236}">
                <a16:creationId xmlns:a16="http://schemas.microsoft.com/office/drawing/2014/main" id="{A3508DEC-04E2-86BC-198E-E9DF3D9C627E}"/>
              </a:ext>
            </a:extLst>
          </p:cNvPr>
          <p:cNvSpPr>
            <a:spLocks noGrp="1"/>
          </p:cNvSpPr>
          <p:nvPr>
            <p:ph type="body" sz="quarter" idx="15" hasCustomPrompt="1"/>
          </p:nvPr>
        </p:nvSpPr>
        <p:spPr>
          <a:xfrm>
            <a:off x="815975" y="2942005"/>
            <a:ext cx="5218113" cy="36699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grpSp>
        <p:nvGrpSpPr>
          <p:cNvPr id="3" name="Group 2">
            <a:extLst>
              <a:ext uri="{FF2B5EF4-FFF2-40B4-BE49-F238E27FC236}">
                <a16:creationId xmlns:a16="http://schemas.microsoft.com/office/drawing/2014/main" id="{A7B1296D-F0BF-D9B0-0599-6F9DB2C8BF7E}"/>
              </a:ext>
            </a:extLst>
          </p:cNvPr>
          <p:cNvGrpSpPr/>
          <p:nvPr userDrawn="1"/>
        </p:nvGrpSpPr>
        <p:grpSpPr>
          <a:xfrm>
            <a:off x="10187131" y="687949"/>
            <a:ext cx="1234969" cy="518323"/>
            <a:chOff x="7459170" y="481236"/>
            <a:chExt cx="2697427" cy="1132124"/>
          </a:xfrm>
        </p:grpSpPr>
        <p:sp>
          <p:nvSpPr>
            <p:cNvPr id="4" name="Freeform 3">
              <a:extLst>
                <a:ext uri="{FF2B5EF4-FFF2-40B4-BE49-F238E27FC236}">
                  <a16:creationId xmlns:a16="http://schemas.microsoft.com/office/drawing/2014/main" id="{2427C70E-4392-DDFB-1FFE-83FE8489D70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B1EC52A-D6AE-C40B-43DE-A84FEB4D4E9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6040785-9A72-5C7F-0A40-4A4E90F539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D264648-A1B9-FFEF-3E63-66B47A8243C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77277F7-5E4F-93AA-D1DD-F7D4C38677A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5ABE4D54-99E7-B389-7DAC-8641F10D047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1B8D232-D901-B3FF-9B08-BF5FB937800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8" name="Picture Placeholder 15">
            <a:extLst>
              <a:ext uri="{FF2B5EF4-FFF2-40B4-BE49-F238E27FC236}">
                <a16:creationId xmlns:a16="http://schemas.microsoft.com/office/drawing/2014/main" id="{04405897-9D53-17BF-7D09-7DAFBC0F0222}"/>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31375897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hank you layout 1">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C1C5AD7-5B65-FE5A-4963-D0EE113592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
        <p:nvSpPr>
          <p:cNvPr id="2" name="Title Placeholder 13">
            <a:extLst>
              <a:ext uri="{FF2B5EF4-FFF2-40B4-BE49-F238E27FC236}">
                <a16:creationId xmlns:a16="http://schemas.microsoft.com/office/drawing/2014/main" id="{843162E0-850D-1F95-8971-0EF33222B2E4}"/>
              </a:ext>
            </a:extLst>
          </p:cNvPr>
          <p:cNvSpPr>
            <a:spLocks noGrp="1"/>
          </p:cNvSpPr>
          <p:nvPr>
            <p:ph type="title" hasCustomPrompt="1"/>
          </p:nvPr>
        </p:nvSpPr>
        <p:spPr>
          <a:xfrm>
            <a:off x="990600" y="892199"/>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5" name="Slide Number Placeholder 2">
            <a:extLst>
              <a:ext uri="{FF2B5EF4-FFF2-40B4-BE49-F238E27FC236}">
                <a16:creationId xmlns:a16="http://schemas.microsoft.com/office/drawing/2014/main" id="{FA1CBAAE-4310-1C34-21AA-7F30B9307540}"/>
              </a:ext>
            </a:extLst>
          </p:cNvPr>
          <p:cNvSpPr>
            <a:spLocks noGrp="1"/>
          </p:cNvSpPr>
          <p:nvPr>
            <p:ph type="sldNum" sz="quarter" idx="4"/>
          </p:nvPr>
        </p:nvSpPr>
        <p:spPr>
          <a:xfrm>
            <a:off x="6869977" y="6077598"/>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
        <p:nvSpPr>
          <p:cNvPr id="15" name="Text Placeholder 39">
            <a:extLst>
              <a:ext uri="{FF2B5EF4-FFF2-40B4-BE49-F238E27FC236}">
                <a16:creationId xmlns:a16="http://schemas.microsoft.com/office/drawing/2014/main" id="{8CC41CAC-56D6-392A-5D26-87E5FB3834DF}"/>
              </a:ext>
            </a:extLst>
          </p:cNvPr>
          <p:cNvSpPr>
            <a:spLocks noGrp="1"/>
          </p:cNvSpPr>
          <p:nvPr>
            <p:ph type="body" sz="quarter" idx="10" hasCustomPrompt="1"/>
          </p:nvPr>
        </p:nvSpPr>
        <p:spPr>
          <a:xfrm>
            <a:off x="986726" y="1743416"/>
            <a:ext cx="996950" cy="430212"/>
          </a:xfrm>
          <a:noFill/>
          <a:ln>
            <a:noFill/>
          </a:ln>
        </p:spPr>
        <p:txBody>
          <a:bodyPr>
            <a:normAutofit/>
          </a:bodyPr>
          <a:lstStyle>
            <a:lvl1pPr>
              <a:defRPr sz="2800">
                <a:solidFill>
                  <a:schemeClr val="bg1"/>
                </a:solidFill>
              </a:defRPr>
            </a:lvl1pPr>
          </a:lstStyle>
          <a:p>
            <a:pPr lvl="0"/>
            <a:r>
              <a:rPr lang="en-US"/>
              <a:t>01</a:t>
            </a:r>
          </a:p>
        </p:txBody>
      </p:sp>
      <p:sp>
        <p:nvSpPr>
          <p:cNvPr id="16" name="Text Placeholder 39">
            <a:extLst>
              <a:ext uri="{FF2B5EF4-FFF2-40B4-BE49-F238E27FC236}">
                <a16:creationId xmlns:a16="http://schemas.microsoft.com/office/drawing/2014/main" id="{ED121771-EEE6-87F6-E727-A778892F5AE1}"/>
              </a:ext>
            </a:extLst>
          </p:cNvPr>
          <p:cNvSpPr>
            <a:spLocks noGrp="1"/>
          </p:cNvSpPr>
          <p:nvPr>
            <p:ph type="body" sz="quarter" idx="11" hasCustomPrompt="1"/>
          </p:nvPr>
        </p:nvSpPr>
        <p:spPr>
          <a:xfrm>
            <a:off x="986726" y="2237192"/>
            <a:ext cx="996950" cy="430212"/>
          </a:xfrm>
          <a:noFill/>
          <a:ln>
            <a:noFill/>
          </a:ln>
        </p:spPr>
        <p:txBody>
          <a:bodyPr>
            <a:normAutofit/>
          </a:bodyPr>
          <a:lstStyle>
            <a:lvl1pPr>
              <a:defRPr sz="2800">
                <a:solidFill>
                  <a:schemeClr val="bg1"/>
                </a:solidFill>
              </a:defRPr>
            </a:lvl1pPr>
          </a:lstStyle>
          <a:p>
            <a:pPr lvl="0"/>
            <a:r>
              <a:rPr lang="en-US"/>
              <a:t>02</a:t>
            </a:r>
          </a:p>
        </p:txBody>
      </p:sp>
      <p:sp>
        <p:nvSpPr>
          <p:cNvPr id="17" name="Text Placeholder 39">
            <a:extLst>
              <a:ext uri="{FF2B5EF4-FFF2-40B4-BE49-F238E27FC236}">
                <a16:creationId xmlns:a16="http://schemas.microsoft.com/office/drawing/2014/main" id="{63E85245-43B3-FC90-A131-30D162DB163A}"/>
              </a:ext>
            </a:extLst>
          </p:cNvPr>
          <p:cNvSpPr>
            <a:spLocks noGrp="1"/>
          </p:cNvSpPr>
          <p:nvPr>
            <p:ph type="body" sz="quarter" idx="12" hasCustomPrompt="1"/>
          </p:nvPr>
        </p:nvSpPr>
        <p:spPr>
          <a:xfrm>
            <a:off x="986726" y="2749256"/>
            <a:ext cx="996950" cy="430212"/>
          </a:xfrm>
          <a:noFill/>
          <a:ln>
            <a:noFill/>
          </a:ln>
        </p:spPr>
        <p:txBody>
          <a:bodyPr>
            <a:normAutofit/>
          </a:bodyPr>
          <a:lstStyle>
            <a:lvl1pPr>
              <a:defRPr sz="2800">
                <a:solidFill>
                  <a:schemeClr val="bg1"/>
                </a:solidFill>
              </a:defRPr>
            </a:lvl1pPr>
          </a:lstStyle>
          <a:p>
            <a:pPr lvl="0"/>
            <a:r>
              <a:rPr lang="en-US"/>
              <a:t>03</a:t>
            </a:r>
          </a:p>
        </p:txBody>
      </p:sp>
      <p:sp>
        <p:nvSpPr>
          <p:cNvPr id="18" name="Text Placeholder 39">
            <a:extLst>
              <a:ext uri="{FF2B5EF4-FFF2-40B4-BE49-F238E27FC236}">
                <a16:creationId xmlns:a16="http://schemas.microsoft.com/office/drawing/2014/main" id="{42C97626-6000-F4BB-17A9-927DA6D93543}"/>
              </a:ext>
            </a:extLst>
          </p:cNvPr>
          <p:cNvSpPr>
            <a:spLocks noGrp="1"/>
          </p:cNvSpPr>
          <p:nvPr>
            <p:ph type="body" sz="quarter" idx="13" hasCustomPrompt="1"/>
          </p:nvPr>
        </p:nvSpPr>
        <p:spPr>
          <a:xfrm>
            <a:off x="986726" y="3270464"/>
            <a:ext cx="996950" cy="430212"/>
          </a:xfrm>
          <a:noFill/>
          <a:ln>
            <a:noFill/>
          </a:ln>
        </p:spPr>
        <p:txBody>
          <a:bodyPr>
            <a:normAutofit/>
          </a:bodyPr>
          <a:lstStyle>
            <a:lvl1pPr>
              <a:defRPr sz="2800">
                <a:solidFill>
                  <a:schemeClr val="bg1"/>
                </a:solidFill>
              </a:defRPr>
            </a:lvl1pPr>
          </a:lstStyle>
          <a:p>
            <a:pPr lvl="0"/>
            <a:r>
              <a:rPr lang="en-US"/>
              <a:t>04</a:t>
            </a:r>
          </a:p>
        </p:txBody>
      </p:sp>
      <p:sp>
        <p:nvSpPr>
          <p:cNvPr id="19" name="Text Placeholder 39">
            <a:extLst>
              <a:ext uri="{FF2B5EF4-FFF2-40B4-BE49-F238E27FC236}">
                <a16:creationId xmlns:a16="http://schemas.microsoft.com/office/drawing/2014/main" id="{33BE94C5-20E6-9290-2DFC-B4A0142F9A0D}"/>
              </a:ext>
            </a:extLst>
          </p:cNvPr>
          <p:cNvSpPr>
            <a:spLocks noGrp="1"/>
          </p:cNvSpPr>
          <p:nvPr>
            <p:ph type="body" sz="quarter" idx="14" hasCustomPrompt="1"/>
          </p:nvPr>
        </p:nvSpPr>
        <p:spPr>
          <a:xfrm>
            <a:off x="986726" y="3791672"/>
            <a:ext cx="996950" cy="430212"/>
          </a:xfrm>
          <a:noFill/>
          <a:ln>
            <a:noFill/>
          </a:ln>
        </p:spPr>
        <p:txBody>
          <a:bodyPr>
            <a:normAutofit/>
          </a:bodyPr>
          <a:lstStyle>
            <a:lvl1pPr>
              <a:defRPr sz="2800">
                <a:solidFill>
                  <a:schemeClr val="bg1"/>
                </a:solidFill>
              </a:defRPr>
            </a:lvl1pPr>
          </a:lstStyle>
          <a:p>
            <a:pPr lvl="0"/>
            <a:r>
              <a:rPr lang="en-US"/>
              <a:t>05</a:t>
            </a:r>
          </a:p>
        </p:txBody>
      </p:sp>
      <p:sp>
        <p:nvSpPr>
          <p:cNvPr id="20" name="Text Placeholder 39">
            <a:extLst>
              <a:ext uri="{FF2B5EF4-FFF2-40B4-BE49-F238E27FC236}">
                <a16:creationId xmlns:a16="http://schemas.microsoft.com/office/drawing/2014/main" id="{6F4B84BA-05DA-3594-B5B1-2450ADA526B0}"/>
              </a:ext>
            </a:extLst>
          </p:cNvPr>
          <p:cNvSpPr>
            <a:spLocks noGrp="1"/>
          </p:cNvSpPr>
          <p:nvPr>
            <p:ph type="body" sz="quarter" idx="15" hasCustomPrompt="1"/>
          </p:nvPr>
        </p:nvSpPr>
        <p:spPr>
          <a:xfrm>
            <a:off x="986726" y="4303736"/>
            <a:ext cx="996950" cy="430212"/>
          </a:xfrm>
          <a:noFill/>
          <a:ln>
            <a:noFill/>
          </a:ln>
        </p:spPr>
        <p:txBody>
          <a:bodyPr>
            <a:normAutofit/>
          </a:bodyPr>
          <a:lstStyle>
            <a:lvl1pPr>
              <a:defRPr sz="2800">
                <a:solidFill>
                  <a:schemeClr val="bg1"/>
                </a:solidFill>
              </a:defRPr>
            </a:lvl1pPr>
          </a:lstStyle>
          <a:p>
            <a:pPr lvl="0"/>
            <a:r>
              <a:rPr lang="en-US"/>
              <a:t>06</a:t>
            </a:r>
          </a:p>
        </p:txBody>
      </p:sp>
      <p:sp>
        <p:nvSpPr>
          <p:cNvPr id="21" name="Text Placeholder 39">
            <a:extLst>
              <a:ext uri="{FF2B5EF4-FFF2-40B4-BE49-F238E27FC236}">
                <a16:creationId xmlns:a16="http://schemas.microsoft.com/office/drawing/2014/main" id="{3DDECEA8-9E63-80F5-40F9-510B9CD1FB48}"/>
              </a:ext>
            </a:extLst>
          </p:cNvPr>
          <p:cNvSpPr>
            <a:spLocks noGrp="1"/>
          </p:cNvSpPr>
          <p:nvPr>
            <p:ph type="body" sz="quarter" idx="16" hasCustomPrompt="1"/>
          </p:nvPr>
        </p:nvSpPr>
        <p:spPr>
          <a:xfrm>
            <a:off x="986726" y="4824944"/>
            <a:ext cx="996950" cy="430212"/>
          </a:xfrm>
          <a:noFill/>
          <a:ln>
            <a:noFill/>
          </a:ln>
        </p:spPr>
        <p:txBody>
          <a:bodyPr>
            <a:normAutofit/>
          </a:bodyPr>
          <a:lstStyle>
            <a:lvl1pPr>
              <a:defRPr sz="2800">
                <a:solidFill>
                  <a:schemeClr val="bg1"/>
                </a:solidFill>
              </a:defRPr>
            </a:lvl1pPr>
          </a:lstStyle>
          <a:p>
            <a:pPr lvl="0"/>
            <a:r>
              <a:rPr lang="en-US"/>
              <a:t>07</a:t>
            </a:r>
          </a:p>
        </p:txBody>
      </p:sp>
      <p:sp>
        <p:nvSpPr>
          <p:cNvPr id="22" name="Text Placeholder 39">
            <a:extLst>
              <a:ext uri="{FF2B5EF4-FFF2-40B4-BE49-F238E27FC236}">
                <a16:creationId xmlns:a16="http://schemas.microsoft.com/office/drawing/2014/main" id="{1BF6E091-3DD0-D5D2-D493-5883D4E348B3}"/>
              </a:ext>
            </a:extLst>
          </p:cNvPr>
          <p:cNvSpPr>
            <a:spLocks noGrp="1"/>
          </p:cNvSpPr>
          <p:nvPr>
            <p:ph type="body" sz="quarter" idx="17" hasCustomPrompt="1"/>
          </p:nvPr>
        </p:nvSpPr>
        <p:spPr>
          <a:xfrm>
            <a:off x="986726" y="5346152"/>
            <a:ext cx="996950" cy="430212"/>
          </a:xfrm>
          <a:noFill/>
          <a:ln>
            <a:noFill/>
          </a:ln>
        </p:spPr>
        <p:txBody>
          <a:bodyPr>
            <a:normAutofit/>
          </a:bodyPr>
          <a:lstStyle>
            <a:lvl1pPr>
              <a:defRPr sz="2800">
                <a:solidFill>
                  <a:schemeClr val="bg1"/>
                </a:solidFill>
              </a:defRPr>
            </a:lvl1pPr>
          </a:lstStyle>
          <a:p>
            <a:pPr lvl="0"/>
            <a:r>
              <a:rPr lang="en-US"/>
              <a:t>08</a:t>
            </a:r>
          </a:p>
        </p:txBody>
      </p:sp>
      <p:sp>
        <p:nvSpPr>
          <p:cNvPr id="23" name="Text Placeholder 39">
            <a:extLst>
              <a:ext uri="{FF2B5EF4-FFF2-40B4-BE49-F238E27FC236}">
                <a16:creationId xmlns:a16="http://schemas.microsoft.com/office/drawing/2014/main" id="{AF25BDB4-1E74-977C-9BC0-CF2986C6B6BF}"/>
              </a:ext>
            </a:extLst>
          </p:cNvPr>
          <p:cNvSpPr>
            <a:spLocks noGrp="1"/>
          </p:cNvSpPr>
          <p:nvPr>
            <p:ph type="body" sz="quarter" idx="18" hasCustomPrompt="1"/>
          </p:nvPr>
        </p:nvSpPr>
        <p:spPr>
          <a:xfrm>
            <a:off x="2074862" y="1743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4" name="Text Placeholder 39">
            <a:extLst>
              <a:ext uri="{FF2B5EF4-FFF2-40B4-BE49-F238E27FC236}">
                <a16:creationId xmlns:a16="http://schemas.microsoft.com/office/drawing/2014/main" id="{6B9D89AC-AE21-53D7-468F-DC46F394DF26}"/>
              </a:ext>
            </a:extLst>
          </p:cNvPr>
          <p:cNvSpPr>
            <a:spLocks noGrp="1"/>
          </p:cNvSpPr>
          <p:nvPr>
            <p:ph type="body" sz="quarter" idx="19" hasCustomPrompt="1"/>
          </p:nvPr>
        </p:nvSpPr>
        <p:spPr>
          <a:xfrm>
            <a:off x="2074862" y="2237192"/>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5" name="Text Placeholder 39">
            <a:extLst>
              <a:ext uri="{FF2B5EF4-FFF2-40B4-BE49-F238E27FC236}">
                <a16:creationId xmlns:a16="http://schemas.microsoft.com/office/drawing/2014/main" id="{355F269C-923E-2968-B3BC-E1B0B895816B}"/>
              </a:ext>
            </a:extLst>
          </p:cNvPr>
          <p:cNvSpPr>
            <a:spLocks noGrp="1"/>
          </p:cNvSpPr>
          <p:nvPr>
            <p:ph type="body" sz="quarter" idx="20" hasCustomPrompt="1"/>
          </p:nvPr>
        </p:nvSpPr>
        <p:spPr>
          <a:xfrm>
            <a:off x="2074862" y="27492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6" name="Text Placeholder 39">
            <a:extLst>
              <a:ext uri="{FF2B5EF4-FFF2-40B4-BE49-F238E27FC236}">
                <a16:creationId xmlns:a16="http://schemas.microsoft.com/office/drawing/2014/main" id="{3D5AB48D-0FEE-1956-DAD6-75FA82D60930}"/>
              </a:ext>
            </a:extLst>
          </p:cNvPr>
          <p:cNvSpPr>
            <a:spLocks noGrp="1"/>
          </p:cNvSpPr>
          <p:nvPr>
            <p:ph type="body" sz="quarter" idx="21" hasCustomPrompt="1"/>
          </p:nvPr>
        </p:nvSpPr>
        <p:spPr>
          <a:xfrm>
            <a:off x="2074862" y="3270464"/>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7" name="Text Placeholder 39">
            <a:extLst>
              <a:ext uri="{FF2B5EF4-FFF2-40B4-BE49-F238E27FC236}">
                <a16:creationId xmlns:a16="http://schemas.microsoft.com/office/drawing/2014/main" id="{D2668368-D087-FAEF-D81A-6198B1E7D3DB}"/>
              </a:ext>
            </a:extLst>
          </p:cNvPr>
          <p:cNvSpPr>
            <a:spLocks noGrp="1"/>
          </p:cNvSpPr>
          <p:nvPr>
            <p:ph type="body" sz="quarter" idx="22" hasCustomPrompt="1"/>
          </p:nvPr>
        </p:nvSpPr>
        <p:spPr>
          <a:xfrm>
            <a:off x="2074862" y="3791672"/>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8" name="Text Placeholder 39">
            <a:extLst>
              <a:ext uri="{FF2B5EF4-FFF2-40B4-BE49-F238E27FC236}">
                <a16:creationId xmlns:a16="http://schemas.microsoft.com/office/drawing/2014/main" id="{6D710049-110B-E34B-FD82-EE5E2FFFD175}"/>
              </a:ext>
            </a:extLst>
          </p:cNvPr>
          <p:cNvSpPr>
            <a:spLocks noGrp="1"/>
          </p:cNvSpPr>
          <p:nvPr>
            <p:ph type="body" sz="quarter" idx="23" hasCustomPrompt="1"/>
          </p:nvPr>
        </p:nvSpPr>
        <p:spPr>
          <a:xfrm>
            <a:off x="2074862" y="43037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9" name="Text Placeholder 39">
            <a:extLst>
              <a:ext uri="{FF2B5EF4-FFF2-40B4-BE49-F238E27FC236}">
                <a16:creationId xmlns:a16="http://schemas.microsoft.com/office/drawing/2014/main" id="{1B7255A0-56A6-4F0E-093B-142E69D677F7}"/>
              </a:ext>
            </a:extLst>
          </p:cNvPr>
          <p:cNvSpPr>
            <a:spLocks noGrp="1"/>
          </p:cNvSpPr>
          <p:nvPr>
            <p:ph type="body" sz="quarter" idx="24" hasCustomPrompt="1"/>
          </p:nvPr>
        </p:nvSpPr>
        <p:spPr>
          <a:xfrm>
            <a:off x="2074862" y="4824944"/>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30" name="Text Placeholder 39">
            <a:extLst>
              <a:ext uri="{FF2B5EF4-FFF2-40B4-BE49-F238E27FC236}">
                <a16:creationId xmlns:a16="http://schemas.microsoft.com/office/drawing/2014/main" id="{32A9D0BD-081B-2DB0-A074-7CDFC57AD5C8}"/>
              </a:ext>
            </a:extLst>
          </p:cNvPr>
          <p:cNvSpPr>
            <a:spLocks noGrp="1"/>
          </p:cNvSpPr>
          <p:nvPr>
            <p:ph type="body" sz="quarter" idx="25" hasCustomPrompt="1"/>
          </p:nvPr>
        </p:nvSpPr>
        <p:spPr>
          <a:xfrm>
            <a:off x="2074862" y="5346152"/>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193331676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reate Layout 1 sid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a:xfrm>
            <a:off x="785813" y="2221200"/>
            <a:ext cx="3419475" cy="1107996"/>
          </a:xfrm>
        </p:spPr>
        <p:txBody>
          <a:bodyPr/>
          <a:lstStyle>
            <a:lvl1pPr>
              <a:spcBef>
                <a:spcPts val="600"/>
              </a:spcBef>
              <a:defRPr/>
            </a:lvl1pPr>
          </a:lstStyle>
          <a:p>
            <a:r>
              <a:rPr lang="en-US"/>
              <a:t>Click to edit Master title style</a:t>
            </a:r>
            <a:endParaRPr lang="en-GB" dirty="0"/>
          </a:p>
        </p:txBody>
      </p:sp>
      <p:sp>
        <p:nvSpPr>
          <p:cNvPr id="5" name="Slide Number Placeholder 4">
            <a:extLst>
              <a:ext uri="{FF2B5EF4-FFF2-40B4-BE49-F238E27FC236}">
                <a16:creationId xmlns:a16="http://schemas.microsoft.com/office/drawing/2014/main" id="{97FC0791-90B0-E90A-3F40-E62CE7D9B6F2}"/>
              </a:ext>
            </a:extLst>
          </p:cNvPr>
          <p:cNvSpPr>
            <a:spLocks noGrp="1"/>
          </p:cNvSpPr>
          <p:nvPr>
            <p:ph type="sldNum" sz="quarter" idx="12"/>
          </p:nvPr>
        </p:nvSpPr>
        <p:spPr/>
        <p:txBody>
          <a:bodyPr/>
          <a:lstStyle/>
          <a:p>
            <a:fld id="{6686A102-957E-47D3-A22D-E8508A8052D6}" type="slidenum">
              <a:rPr lang="en-GB" smtClean="0"/>
              <a:pPr/>
              <a:t>‹#›</a:t>
            </a:fld>
            <a:endParaRPr lang="en-GB"/>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a:xfrm>
            <a:off x="5286375" y="1179513"/>
            <a:ext cx="6119813" cy="4319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77066881"/>
      </p:ext>
    </p:extLst>
  </p:cSld>
  <p:clrMapOvr>
    <a:masterClrMapping/>
  </p:clrMapOvr>
  <p:extLst>
    <p:ext uri="{DCECCB84-F9BA-43D5-87BE-67443E8EF086}">
      <p15:sldGuideLst xmlns:p15="http://schemas.microsoft.com/office/powerpoint/2012/main">
        <p15:guide id="1" orient="horz" pos="743">
          <p15:clr>
            <a:srgbClr val="FBAE40"/>
          </p15:clr>
        </p15:guide>
        <p15:guide id="2" pos="333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Divider Photo layout">
    <p:bg>
      <p:bgPr>
        <a:solidFill>
          <a:schemeClr val="tx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9582A0E-F62F-8302-F1D4-2F07D299714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1" y="0"/>
            <a:ext cx="12192000" cy="6858000"/>
          </a:xfrm>
          <a:prstGeom prst="rect">
            <a:avLst/>
          </a:prstGeom>
        </p:spPr>
      </p:pic>
      <p:grpSp>
        <p:nvGrpSpPr>
          <p:cNvPr id="28" name="Group 27">
            <a:extLst>
              <a:ext uri="{FF2B5EF4-FFF2-40B4-BE49-F238E27FC236}">
                <a16:creationId xmlns:a16="http://schemas.microsoft.com/office/drawing/2014/main" id="{E73B626C-A155-F346-D8EF-9E56183B06F8}"/>
              </a:ext>
            </a:extLst>
          </p:cNvPr>
          <p:cNvGrpSpPr/>
          <p:nvPr userDrawn="1"/>
        </p:nvGrpSpPr>
        <p:grpSpPr>
          <a:xfrm>
            <a:off x="10187131" y="687949"/>
            <a:ext cx="1234969" cy="518323"/>
            <a:chOff x="7459170" y="481236"/>
            <a:chExt cx="2697427" cy="1132124"/>
          </a:xfrm>
        </p:grpSpPr>
        <p:sp>
          <p:nvSpPr>
            <p:cNvPr id="29" name="Freeform 5">
              <a:extLst>
                <a:ext uri="{FF2B5EF4-FFF2-40B4-BE49-F238E27FC236}">
                  <a16:creationId xmlns:a16="http://schemas.microsoft.com/office/drawing/2014/main" id="{77E34495-9DEF-8D2B-7934-27A2BD8001D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0" name="Freeform 6">
              <a:extLst>
                <a:ext uri="{FF2B5EF4-FFF2-40B4-BE49-F238E27FC236}">
                  <a16:creationId xmlns:a16="http://schemas.microsoft.com/office/drawing/2014/main" id="{B4BC32B4-8A41-97C6-4FF2-16827B40C4B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1" name="Freeform 7">
              <a:extLst>
                <a:ext uri="{FF2B5EF4-FFF2-40B4-BE49-F238E27FC236}">
                  <a16:creationId xmlns:a16="http://schemas.microsoft.com/office/drawing/2014/main" id="{014F4BFF-C5C2-F661-5FC6-5DD649E8DD2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64" name="Freeform 9">
              <a:extLst>
                <a:ext uri="{FF2B5EF4-FFF2-40B4-BE49-F238E27FC236}">
                  <a16:creationId xmlns:a16="http://schemas.microsoft.com/office/drawing/2014/main" id="{E89DBDAC-5DD7-3AE5-2D0C-64125549559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65" name="Freeform 16">
              <a:extLst>
                <a:ext uri="{FF2B5EF4-FFF2-40B4-BE49-F238E27FC236}">
                  <a16:creationId xmlns:a16="http://schemas.microsoft.com/office/drawing/2014/main" id="{A1C1CE28-EB26-5838-C584-E650647A083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66" name="Freeform 17">
              <a:extLst>
                <a:ext uri="{FF2B5EF4-FFF2-40B4-BE49-F238E27FC236}">
                  <a16:creationId xmlns:a16="http://schemas.microsoft.com/office/drawing/2014/main" id="{CB4C4510-49A2-319E-9E3E-A0DE7D85FD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67" name="Freeform 18">
              <a:extLst>
                <a:ext uri="{FF2B5EF4-FFF2-40B4-BE49-F238E27FC236}">
                  <a16:creationId xmlns:a16="http://schemas.microsoft.com/office/drawing/2014/main" id="{C18717A2-D5F6-9E95-9BA3-5992CC5F45A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9644B963-AE06-4A64-9C7F-CE5981E07903}"/>
              </a:ext>
            </a:extLst>
          </p:cNvPr>
          <p:cNvSpPr>
            <a:spLocks noGrp="1"/>
          </p:cNvSpPr>
          <p:nvPr>
            <p:ph type="title" hasCustomPrompt="1"/>
          </p:nvPr>
        </p:nvSpPr>
        <p:spPr>
          <a:xfrm>
            <a:off x="990600" y="4191000"/>
            <a:ext cx="7315200" cy="1661993"/>
          </a:xfrm>
          <a:prstGeom prst="rect">
            <a:avLst/>
          </a:prstGeom>
        </p:spPr>
        <p:txBody>
          <a:bodyPr vert="horz" wrap="square" lIns="0" tIns="0" rIns="0" bIns="0" rtlCol="0" anchor="t" anchorCtr="0">
            <a:spAutoFit/>
          </a:bodyPr>
          <a:lstStyle>
            <a:lvl1pPr>
              <a:defRPr sz="5400" b="1">
                <a:solidFill>
                  <a:schemeClr val="bg1"/>
                </a:solidFill>
              </a:defRPr>
            </a:lvl1pPr>
          </a:lstStyle>
          <a:p>
            <a:r>
              <a:rPr lang="en-US"/>
              <a:t>Title slide</a:t>
            </a:r>
            <a:br>
              <a:rPr lang="en-US"/>
            </a:br>
            <a:r>
              <a:rPr lang="en-US"/>
              <a:t>Max two lines</a:t>
            </a:r>
            <a:endParaRPr lang="en-GB"/>
          </a:p>
        </p:txBody>
      </p:sp>
    </p:spTree>
    <p:extLst>
      <p:ext uri="{BB962C8B-B14F-4D97-AF65-F5344CB8AC3E}">
        <p14:creationId xmlns:p14="http://schemas.microsoft.com/office/powerpoint/2010/main" val="5071972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Photo layout">
    <p:bg>
      <p:bgPr>
        <a:solidFill>
          <a:schemeClr val="accent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9582A0E-F62F-8302-F1D4-2F07D299714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8" name="Group 27">
            <a:extLst>
              <a:ext uri="{FF2B5EF4-FFF2-40B4-BE49-F238E27FC236}">
                <a16:creationId xmlns:a16="http://schemas.microsoft.com/office/drawing/2014/main" id="{E73B626C-A155-F346-D8EF-9E56183B06F8}"/>
              </a:ext>
            </a:extLst>
          </p:cNvPr>
          <p:cNvGrpSpPr/>
          <p:nvPr userDrawn="1"/>
        </p:nvGrpSpPr>
        <p:grpSpPr>
          <a:xfrm>
            <a:off x="10187131" y="687949"/>
            <a:ext cx="1234969" cy="518323"/>
            <a:chOff x="7459170" y="481236"/>
            <a:chExt cx="2697427" cy="1132124"/>
          </a:xfrm>
        </p:grpSpPr>
        <p:sp>
          <p:nvSpPr>
            <p:cNvPr id="29" name="Freeform 5">
              <a:extLst>
                <a:ext uri="{FF2B5EF4-FFF2-40B4-BE49-F238E27FC236}">
                  <a16:creationId xmlns:a16="http://schemas.microsoft.com/office/drawing/2014/main" id="{77E34495-9DEF-8D2B-7934-27A2BD8001D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0" name="Freeform 6">
              <a:extLst>
                <a:ext uri="{FF2B5EF4-FFF2-40B4-BE49-F238E27FC236}">
                  <a16:creationId xmlns:a16="http://schemas.microsoft.com/office/drawing/2014/main" id="{B4BC32B4-8A41-97C6-4FF2-16827B40C4B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1" name="Freeform 7">
              <a:extLst>
                <a:ext uri="{FF2B5EF4-FFF2-40B4-BE49-F238E27FC236}">
                  <a16:creationId xmlns:a16="http://schemas.microsoft.com/office/drawing/2014/main" id="{014F4BFF-C5C2-F661-5FC6-5DD649E8DD2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64" name="Freeform 9">
              <a:extLst>
                <a:ext uri="{FF2B5EF4-FFF2-40B4-BE49-F238E27FC236}">
                  <a16:creationId xmlns:a16="http://schemas.microsoft.com/office/drawing/2014/main" id="{E89DBDAC-5DD7-3AE5-2D0C-64125549559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65" name="Freeform 16">
              <a:extLst>
                <a:ext uri="{FF2B5EF4-FFF2-40B4-BE49-F238E27FC236}">
                  <a16:creationId xmlns:a16="http://schemas.microsoft.com/office/drawing/2014/main" id="{A1C1CE28-EB26-5838-C584-E650647A083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66" name="Freeform 17">
              <a:extLst>
                <a:ext uri="{FF2B5EF4-FFF2-40B4-BE49-F238E27FC236}">
                  <a16:creationId xmlns:a16="http://schemas.microsoft.com/office/drawing/2014/main" id="{CB4C4510-49A2-319E-9E3E-A0DE7D85FD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67" name="Freeform 18">
              <a:extLst>
                <a:ext uri="{FF2B5EF4-FFF2-40B4-BE49-F238E27FC236}">
                  <a16:creationId xmlns:a16="http://schemas.microsoft.com/office/drawing/2014/main" id="{C18717A2-D5F6-9E95-9BA3-5992CC5F45A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9644B963-AE06-4A64-9C7F-CE5981E07903}"/>
              </a:ext>
            </a:extLst>
          </p:cNvPr>
          <p:cNvSpPr>
            <a:spLocks noGrp="1"/>
          </p:cNvSpPr>
          <p:nvPr>
            <p:ph type="title" hasCustomPrompt="1"/>
          </p:nvPr>
        </p:nvSpPr>
        <p:spPr>
          <a:xfrm>
            <a:off x="990600" y="4191000"/>
            <a:ext cx="7315200" cy="1661993"/>
          </a:xfrm>
          <a:prstGeom prst="rect">
            <a:avLst/>
          </a:prstGeom>
        </p:spPr>
        <p:txBody>
          <a:bodyPr vert="horz" wrap="square" lIns="0" tIns="0" rIns="0" bIns="0" rtlCol="0" anchor="t" anchorCtr="0">
            <a:spAutoFit/>
          </a:bodyPr>
          <a:lstStyle>
            <a:lvl1pPr>
              <a:defRPr sz="5400" b="1">
                <a:solidFill>
                  <a:schemeClr val="bg1"/>
                </a:solidFill>
              </a:defRPr>
            </a:lvl1pPr>
          </a:lstStyle>
          <a:p>
            <a:r>
              <a:rPr lang="en-US"/>
              <a:t>Title slide</a:t>
            </a:r>
            <a:br>
              <a:rPr lang="en-US"/>
            </a:br>
            <a:r>
              <a:rPr lang="en-US"/>
              <a:t>Max two lines</a:t>
            </a:r>
            <a:endParaRPr lang="en-GB"/>
          </a:p>
        </p:txBody>
      </p:sp>
    </p:spTree>
    <p:extLst>
      <p:ext uri="{BB962C8B-B14F-4D97-AF65-F5344CB8AC3E}">
        <p14:creationId xmlns:p14="http://schemas.microsoft.com/office/powerpoint/2010/main" val="32700384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wo person bio 1">
    <p:bg>
      <p:bgPr>
        <a:solidFill>
          <a:schemeClr val="tx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73B53081-2F82-C255-DE2D-C94568285F6B}"/>
              </a:ext>
            </a:extLst>
          </p:cNvPr>
          <p:cNvSpPr/>
          <p:nvPr userDrawn="1"/>
        </p:nvSpPr>
        <p:spPr>
          <a:xfrm>
            <a:off x="962232" y="3451645"/>
            <a:ext cx="5230994" cy="27134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6" name="Rectangle 25">
            <a:extLst>
              <a:ext uri="{FF2B5EF4-FFF2-40B4-BE49-F238E27FC236}">
                <a16:creationId xmlns:a16="http://schemas.microsoft.com/office/drawing/2014/main" id="{8C543281-E189-AA22-7F55-BCDC64F3F998}"/>
              </a:ext>
            </a:extLst>
          </p:cNvPr>
          <p:cNvSpPr/>
          <p:nvPr userDrawn="1"/>
        </p:nvSpPr>
        <p:spPr>
          <a:xfrm>
            <a:off x="6361009" y="3446522"/>
            <a:ext cx="5230994" cy="27134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1219200" y="1295400"/>
            <a:ext cx="1746015" cy="1746015"/>
          </a:xfrm>
          <a:prstGeom prst="ellipse">
            <a:avLst/>
          </a:prstGeom>
          <a:solidFill>
            <a:srgbClr val="E7E7E8"/>
          </a:solidFill>
          <a:ln w="34925">
            <a:solidFill>
              <a:schemeClr val="bg1"/>
            </a:solidFill>
          </a:ln>
        </p:spPr>
        <p:txBody>
          <a:bodyPr lIns="72000" tIns="72000" rIns="72000">
            <a:noAutofit/>
          </a:bodyPr>
          <a:lstStyle/>
          <a:p>
            <a:r>
              <a:rPr lang="en-US"/>
              <a:t>Click icon to add picture</a:t>
            </a:r>
            <a:endParaRPr lang="en-GB"/>
          </a:p>
        </p:txBody>
      </p:sp>
      <p:sp>
        <p:nvSpPr>
          <p:cNvPr id="3" name="Text Placeholder 2">
            <a:extLst>
              <a:ext uri="{FF2B5EF4-FFF2-40B4-BE49-F238E27FC236}">
                <a16:creationId xmlns:a16="http://schemas.microsoft.com/office/drawing/2014/main" id="{5623CA4F-526E-ABE4-FB78-11EA916026D8}"/>
              </a:ext>
            </a:extLst>
          </p:cNvPr>
          <p:cNvSpPr>
            <a:spLocks noGrp="1"/>
          </p:cNvSpPr>
          <p:nvPr>
            <p:ph type="body" sz="quarter" idx="10" hasCustomPrompt="1"/>
          </p:nvPr>
        </p:nvSpPr>
        <p:spPr>
          <a:xfrm>
            <a:off x="1304648" y="4252006"/>
            <a:ext cx="4979264" cy="1820334"/>
          </a:xfrm>
          <a:prstGeom prst="rect">
            <a:avLst/>
          </a:prstGeom>
          <a:noFill/>
        </p:spPr>
        <p:txBody>
          <a:bodyPr lIns="0" tIns="36000" rIns="0" bIns="0">
            <a:noAutofit/>
          </a:bodyPr>
          <a:lstStyle>
            <a:lvl1pPr>
              <a:spcBef>
                <a:spcPts val="1200"/>
              </a:spcBef>
              <a:spcAft>
                <a:spcPts val="0"/>
              </a:spcAft>
              <a:defRPr sz="1400">
                <a:solidFill>
                  <a:schemeClr val="bg1"/>
                </a:solidFill>
              </a:defRPr>
            </a:lvl1pPr>
            <a:lvl2pPr marL="180000" indent="-180000">
              <a:spcBef>
                <a:spcPts val="1200"/>
              </a:spcBef>
              <a:spcAft>
                <a:spcPts val="0"/>
              </a:spcAft>
              <a:buFont typeface="Wingdings" panose="05000000000000000000" pitchFamily="2" charset="2"/>
              <a:buChar char="§"/>
              <a:defRPr sz="1400">
                <a:solidFill>
                  <a:schemeClr val="bg1"/>
                </a:solidFill>
              </a:defRPr>
            </a:lvl2pPr>
            <a:lvl3pPr>
              <a:spcBef>
                <a:spcPts val="12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7" name="Text Placeholder 7">
            <a:extLst>
              <a:ext uri="{FF2B5EF4-FFF2-40B4-BE49-F238E27FC236}">
                <a16:creationId xmlns:a16="http://schemas.microsoft.com/office/drawing/2014/main" id="{420D8522-F614-29DC-EEF5-B7E3296212DF}"/>
              </a:ext>
            </a:extLst>
          </p:cNvPr>
          <p:cNvSpPr>
            <a:spLocks noGrp="1"/>
          </p:cNvSpPr>
          <p:nvPr>
            <p:ph type="body" sz="quarter" idx="19" hasCustomPrompt="1"/>
          </p:nvPr>
        </p:nvSpPr>
        <p:spPr>
          <a:xfrm>
            <a:off x="1314525" y="3156160"/>
            <a:ext cx="4979264" cy="306502"/>
          </a:xfrm>
        </p:spPr>
        <p:txBody>
          <a:bodyPr>
            <a:noAutofit/>
          </a:bodyPr>
          <a:lstStyle>
            <a:lvl1pPr>
              <a:spcBef>
                <a:spcPts val="0"/>
              </a:spcBef>
              <a:defRPr sz="2000" b="1">
                <a:solidFill>
                  <a:schemeClr val="tx2"/>
                </a:solidFill>
                <a:latin typeface="+mn-lt"/>
              </a:defRPr>
            </a:lvl1pPr>
          </a:lstStyle>
          <a:p>
            <a:pPr lvl="0"/>
            <a:r>
              <a:rPr lang="en-US"/>
              <a:t>Name</a:t>
            </a:r>
          </a:p>
        </p:txBody>
      </p:sp>
      <p:sp>
        <p:nvSpPr>
          <p:cNvPr id="8" name="Picture Placeholder 3">
            <a:extLst>
              <a:ext uri="{FF2B5EF4-FFF2-40B4-BE49-F238E27FC236}">
                <a16:creationId xmlns:a16="http://schemas.microsoft.com/office/drawing/2014/main" id="{CBDE7D5B-1889-1B13-420A-69689E25E81E}"/>
              </a:ext>
            </a:extLst>
          </p:cNvPr>
          <p:cNvSpPr>
            <a:spLocks noGrp="1"/>
          </p:cNvSpPr>
          <p:nvPr>
            <p:ph type="pic" sz="quarter" idx="20"/>
          </p:nvPr>
        </p:nvSpPr>
        <p:spPr>
          <a:xfrm>
            <a:off x="6703426" y="1295400"/>
            <a:ext cx="1746015" cy="1746015"/>
          </a:xfrm>
          <a:prstGeom prst="ellipse">
            <a:avLst/>
          </a:prstGeom>
          <a:solidFill>
            <a:srgbClr val="E7E7E8"/>
          </a:solidFill>
          <a:ln w="34925">
            <a:solidFill>
              <a:schemeClr val="bg1"/>
            </a:solidFill>
          </a:ln>
        </p:spPr>
        <p:txBody>
          <a:bodyPr lIns="72000" tIns="72000" rIns="72000">
            <a:noAutofit/>
          </a:bodyPr>
          <a:lstStyle/>
          <a:p>
            <a:r>
              <a:rPr lang="en-US"/>
              <a:t>Click icon to add picture</a:t>
            </a:r>
            <a:endParaRPr lang="en-GB"/>
          </a:p>
        </p:txBody>
      </p:sp>
      <p:sp>
        <p:nvSpPr>
          <p:cNvPr id="13" name="Text Placeholder 7">
            <a:extLst>
              <a:ext uri="{FF2B5EF4-FFF2-40B4-BE49-F238E27FC236}">
                <a16:creationId xmlns:a16="http://schemas.microsoft.com/office/drawing/2014/main" id="{42E2E00B-8604-C43A-05F7-F0787AB3162D}"/>
              </a:ext>
            </a:extLst>
          </p:cNvPr>
          <p:cNvSpPr>
            <a:spLocks noGrp="1"/>
          </p:cNvSpPr>
          <p:nvPr>
            <p:ph type="body" sz="quarter" idx="22" hasCustomPrompt="1"/>
          </p:nvPr>
        </p:nvSpPr>
        <p:spPr>
          <a:xfrm>
            <a:off x="1314525" y="3577384"/>
            <a:ext cx="4979264" cy="429019"/>
          </a:xfrm>
        </p:spPr>
        <p:txBody>
          <a:bodyPr>
            <a:noAutofit/>
          </a:bodyPr>
          <a:lstStyle>
            <a:lvl1pPr>
              <a:spcBef>
                <a:spcPts val="800"/>
              </a:spcBef>
              <a:defRPr sz="1400" b="1">
                <a:solidFill>
                  <a:schemeClr val="bg1"/>
                </a:solidFill>
                <a:latin typeface="+mn-lt"/>
              </a:defRPr>
            </a:lvl1pPr>
          </a:lstStyle>
          <a:p>
            <a:pPr lvl="0"/>
            <a:r>
              <a:rPr lang="en-US"/>
              <a:t>Title</a:t>
            </a:r>
          </a:p>
        </p:txBody>
      </p:sp>
      <p:sp>
        <p:nvSpPr>
          <p:cNvPr id="14" name="Text Placeholder 2">
            <a:extLst>
              <a:ext uri="{FF2B5EF4-FFF2-40B4-BE49-F238E27FC236}">
                <a16:creationId xmlns:a16="http://schemas.microsoft.com/office/drawing/2014/main" id="{C0691BEB-EF61-2375-E286-74E8736A6EF0}"/>
              </a:ext>
            </a:extLst>
          </p:cNvPr>
          <p:cNvSpPr>
            <a:spLocks noGrp="1"/>
          </p:cNvSpPr>
          <p:nvPr>
            <p:ph type="body" sz="quarter" idx="23" hasCustomPrompt="1"/>
          </p:nvPr>
        </p:nvSpPr>
        <p:spPr>
          <a:xfrm>
            <a:off x="6703425" y="4251712"/>
            <a:ext cx="4979265" cy="1820334"/>
          </a:xfrm>
          <a:prstGeom prst="rect">
            <a:avLst/>
          </a:prstGeom>
          <a:noFill/>
        </p:spPr>
        <p:txBody>
          <a:bodyPr lIns="0" tIns="36000" rIns="0" bIns="0">
            <a:noAutofit/>
          </a:bodyPr>
          <a:lstStyle>
            <a:lvl1pPr>
              <a:spcBef>
                <a:spcPts val="1200"/>
              </a:spcBef>
              <a:spcAft>
                <a:spcPts val="0"/>
              </a:spcAft>
              <a:defRPr sz="1400">
                <a:solidFill>
                  <a:schemeClr val="bg1"/>
                </a:solidFill>
              </a:defRPr>
            </a:lvl1pPr>
            <a:lvl2pPr marL="180000" indent="-180000">
              <a:spcBef>
                <a:spcPts val="1200"/>
              </a:spcBef>
              <a:spcAft>
                <a:spcPts val="0"/>
              </a:spcAft>
              <a:buFont typeface="Wingdings" panose="05000000000000000000" pitchFamily="2" charset="2"/>
              <a:buChar char="§"/>
              <a:defRPr sz="1400">
                <a:solidFill>
                  <a:schemeClr val="bg1"/>
                </a:solidFill>
              </a:defRPr>
            </a:lvl2pPr>
            <a:lvl3pPr>
              <a:spcBef>
                <a:spcPts val="12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8846313C-41CC-13A3-EA12-559355AD03D5}"/>
              </a:ext>
            </a:extLst>
          </p:cNvPr>
          <p:cNvSpPr>
            <a:spLocks noGrp="1"/>
          </p:cNvSpPr>
          <p:nvPr>
            <p:ph type="body" sz="quarter" idx="24" hasCustomPrompt="1"/>
          </p:nvPr>
        </p:nvSpPr>
        <p:spPr>
          <a:xfrm>
            <a:off x="6713302" y="3155866"/>
            <a:ext cx="4979265" cy="306502"/>
          </a:xfrm>
        </p:spPr>
        <p:txBody>
          <a:bodyPr>
            <a:noAutofit/>
          </a:bodyPr>
          <a:lstStyle>
            <a:lvl1pPr>
              <a:spcBef>
                <a:spcPts val="0"/>
              </a:spcBef>
              <a:defRPr sz="2000" b="1">
                <a:solidFill>
                  <a:schemeClr val="tx2"/>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E319DBA5-E17C-7BCD-7D57-C01BCEC75E4E}"/>
              </a:ext>
            </a:extLst>
          </p:cNvPr>
          <p:cNvSpPr>
            <a:spLocks noGrp="1"/>
          </p:cNvSpPr>
          <p:nvPr>
            <p:ph type="body" sz="quarter" idx="25" hasCustomPrompt="1"/>
          </p:nvPr>
        </p:nvSpPr>
        <p:spPr>
          <a:xfrm>
            <a:off x="6713302" y="3577090"/>
            <a:ext cx="4979265" cy="429019"/>
          </a:xfrm>
        </p:spPr>
        <p:txBody>
          <a:bodyPr>
            <a:noAutofit/>
          </a:bodyPr>
          <a:lstStyle>
            <a:lvl1pPr>
              <a:spcBef>
                <a:spcPts val="800"/>
              </a:spcBef>
              <a:defRPr sz="1400" b="1">
                <a:solidFill>
                  <a:schemeClr val="bg1"/>
                </a:solidFill>
                <a:latin typeface="+mn-lt"/>
              </a:defRPr>
            </a:lvl1pPr>
          </a:lstStyle>
          <a:p>
            <a:pPr lvl="0"/>
            <a:r>
              <a:rPr lang="en-US"/>
              <a:t>Title</a:t>
            </a:r>
          </a:p>
        </p:txBody>
      </p:sp>
      <p:sp>
        <p:nvSpPr>
          <p:cNvPr id="5" name="Title Placeholder 13">
            <a:extLst>
              <a:ext uri="{FF2B5EF4-FFF2-40B4-BE49-F238E27FC236}">
                <a16:creationId xmlns:a16="http://schemas.microsoft.com/office/drawing/2014/main" id="{F5C65AF7-8DD1-FCCD-E587-764A393C29B7}"/>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noAutofit/>
          </a:bodyPr>
          <a:lstStyle>
            <a:lvl1pPr>
              <a:defRPr sz="2800" b="1" baseline="0"/>
            </a:lvl1pPr>
          </a:lstStyle>
          <a:p>
            <a:r>
              <a:rPr lang="en-US"/>
              <a:t>Title and subtitle </a:t>
            </a:r>
            <a:endParaRPr lang="en-GB"/>
          </a:p>
        </p:txBody>
      </p:sp>
      <p:pic>
        <p:nvPicPr>
          <p:cNvPr id="37" name="Graphic 36">
            <a:extLst>
              <a:ext uri="{FF2B5EF4-FFF2-40B4-BE49-F238E27FC236}">
                <a16:creationId xmlns:a16="http://schemas.microsoft.com/office/drawing/2014/main" id="{3D40DFC8-2EA0-2A75-4461-D76745CDD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03192" y="1618567"/>
            <a:ext cx="9388808" cy="5268164"/>
          </a:xfrm>
          <a:prstGeom prst="rect">
            <a:avLst/>
          </a:prstGeom>
        </p:spPr>
      </p:pic>
    </p:spTree>
    <p:extLst>
      <p:ext uri="{BB962C8B-B14F-4D97-AF65-F5344CB8AC3E}">
        <p14:creationId xmlns:p14="http://schemas.microsoft.com/office/powerpoint/2010/main" val="4119888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layout 7">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03192" y="1618567"/>
            <a:ext cx="9388808" cy="5268164"/>
          </a:xfrm>
          <a:prstGeom prst="rect">
            <a:avLst/>
          </a:prstGeom>
        </p:spPr>
      </p:pic>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478576" y="443268"/>
            <a:ext cx="10621792" cy="492443"/>
          </a:xfrm>
          <a:prstGeom prst="rect">
            <a:avLst/>
          </a:prstGeom>
        </p:spPr>
        <p:txBody>
          <a:bodyPr vert="horz" wrap="square" lIns="0" tIns="0" rIns="0" bIns="0" rtlCol="0" anchor="t" anchorCtr="0">
            <a:spAutoFit/>
          </a:bodyPr>
          <a:lstStyle>
            <a:lvl1pPr>
              <a:defRPr sz="3200" baseline="0">
                <a:solidFill>
                  <a:schemeClr val="bg1"/>
                </a:solidFill>
              </a:defRPr>
            </a:lvl1pPr>
          </a:lstStyle>
          <a:p>
            <a:r>
              <a:rPr lang="en-US"/>
              <a:t>Title and subtitle </a:t>
            </a:r>
            <a:endParaRPr lang="en-GB"/>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744200" y="401044"/>
            <a:ext cx="1052143" cy="441590"/>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082583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only layout 7">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19400" y="1589836"/>
            <a:ext cx="9388808" cy="5268164"/>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744200" y="401044"/>
            <a:ext cx="1052143" cy="441590"/>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3" name="Title Placeholder 13">
            <a:extLst>
              <a:ext uri="{FF2B5EF4-FFF2-40B4-BE49-F238E27FC236}">
                <a16:creationId xmlns:a16="http://schemas.microsoft.com/office/drawing/2014/main" id="{270A7A05-B198-7C1C-E4A9-232C25617178}"/>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Tree>
    <p:extLst>
      <p:ext uri="{BB962C8B-B14F-4D97-AF65-F5344CB8AC3E}">
        <p14:creationId xmlns:p14="http://schemas.microsoft.com/office/powerpoint/2010/main" val="9567723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2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2F83B54-B05C-80E7-8D47-42A33486414C}"/>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1" y="0"/>
            <a:ext cx="12192000" cy="6858000"/>
          </a:xfrm>
          <a:prstGeom prst="rect">
            <a:avLst/>
          </a:prstGeom>
        </p:spPr>
      </p:pic>
      <p:sp>
        <p:nvSpPr>
          <p:cNvPr id="33" name="Title Placeholder 13">
            <a:extLst>
              <a:ext uri="{FF2B5EF4-FFF2-40B4-BE49-F238E27FC236}">
                <a16:creationId xmlns:a16="http://schemas.microsoft.com/office/drawing/2014/main" id="{DE6F7B1F-9D95-A8F7-0ED8-1168DA523D50}"/>
              </a:ext>
            </a:extLst>
          </p:cNvPr>
          <p:cNvSpPr>
            <a:spLocks noGrp="1"/>
          </p:cNvSpPr>
          <p:nvPr>
            <p:ph type="title" hasCustomPrompt="1"/>
          </p:nvPr>
        </p:nvSpPr>
        <p:spPr>
          <a:xfrm>
            <a:off x="990600" y="4191000"/>
            <a:ext cx="7315200" cy="1661993"/>
          </a:xfrm>
          <a:prstGeom prst="rect">
            <a:avLst/>
          </a:prstGeom>
        </p:spPr>
        <p:txBody>
          <a:bodyPr vert="horz" wrap="square" lIns="0" tIns="0" rIns="0" bIns="0" rtlCol="0" anchor="t" anchorCtr="0">
            <a:spAutoFit/>
          </a:bodyPr>
          <a:lstStyle>
            <a:lvl1pPr>
              <a:defRPr sz="5400">
                <a:solidFill>
                  <a:schemeClr val="bg1"/>
                </a:solidFill>
              </a:defRPr>
            </a:lvl1pPr>
          </a:lstStyle>
          <a:p>
            <a:r>
              <a:rPr lang="en-US"/>
              <a:t>Title slide</a:t>
            </a:r>
            <a:br>
              <a:rPr lang="en-US"/>
            </a:br>
            <a:r>
              <a:rPr lang="en-US"/>
              <a:t>Max two lines</a:t>
            </a:r>
            <a:endParaRPr lang="en-GB"/>
          </a:p>
        </p:txBody>
      </p:sp>
      <p:grpSp>
        <p:nvGrpSpPr>
          <p:cNvPr id="2" name="Group 1">
            <a:extLst>
              <a:ext uri="{FF2B5EF4-FFF2-40B4-BE49-F238E27FC236}">
                <a16:creationId xmlns:a16="http://schemas.microsoft.com/office/drawing/2014/main" id="{5D909BBB-7393-91AF-9975-D542656D6ECE}"/>
              </a:ext>
            </a:extLst>
          </p:cNvPr>
          <p:cNvGrpSpPr/>
          <p:nvPr userDrawn="1"/>
        </p:nvGrpSpPr>
        <p:grpSpPr>
          <a:xfrm>
            <a:off x="10363200" y="548477"/>
            <a:ext cx="1234969" cy="518323"/>
            <a:chOff x="7459170" y="481236"/>
            <a:chExt cx="2697427" cy="1132124"/>
          </a:xfrm>
          <a:solidFill>
            <a:schemeClr val="bg1"/>
          </a:solidFill>
        </p:grpSpPr>
        <p:sp>
          <p:nvSpPr>
            <p:cNvPr id="4" name="Freeform 3">
              <a:extLst>
                <a:ext uri="{FF2B5EF4-FFF2-40B4-BE49-F238E27FC236}">
                  <a16:creationId xmlns:a16="http://schemas.microsoft.com/office/drawing/2014/main" id="{9CBAD812-D47B-E299-C0B0-45EF8E5E89D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29E921A1-FB68-C466-981B-ACDA000F042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E03F9F8E-2F94-8F27-82A8-419F1504F5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4D16A74-A79E-AE32-EAAB-203ED726613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1ED56139-80CA-E8F6-65FD-653898A66C2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E04BB3A7-941D-BCDB-84FD-043F3284B70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EF7D6C70-8C06-4722-3FE4-EF324DC78E2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926729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subtitle layout">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pic>
        <p:nvPicPr>
          <p:cNvPr id="3" name="Graphic 2">
            <a:extLst>
              <a:ext uri="{FF2B5EF4-FFF2-40B4-BE49-F238E27FC236}">
                <a16:creationId xmlns:a16="http://schemas.microsoft.com/office/drawing/2014/main" id="{05C37E86-9556-64EB-5F5E-D29B5FB856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19400" y="1589836"/>
            <a:ext cx="9388808" cy="5268164"/>
          </a:xfrm>
          <a:prstGeom prst="rect">
            <a:avLst/>
          </a:prstGeom>
        </p:spPr>
      </p:pic>
    </p:spTree>
    <p:extLst>
      <p:ext uri="{BB962C8B-B14F-4D97-AF65-F5344CB8AC3E}">
        <p14:creationId xmlns:p14="http://schemas.microsoft.com/office/powerpoint/2010/main" val="41818361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and subtitle layout">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292901437"/>
      </p:ext>
    </p:extLst>
  </p:cSld>
  <p:clrMapOvr>
    <a:masterClrMapping/>
  </p:clrMapOvr>
  <p:extLst>
    <p:ext uri="{DCECCB84-F9BA-43D5-87BE-67443E8EF086}">
      <p15:sldGuideLst xmlns:p15="http://schemas.microsoft.com/office/powerpoint/2012/main">
        <p15:guide id="1" orient="horz" pos="120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subtitle layout">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pic>
        <p:nvPicPr>
          <p:cNvPr id="3" name="Graphic 2">
            <a:extLst>
              <a:ext uri="{FF2B5EF4-FFF2-40B4-BE49-F238E27FC236}">
                <a16:creationId xmlns:a16="http://schemas.microsoft.com/office/drawing/2014/main" id="{05C37E86-9556-64EB-5F5E-D29B5FB856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19400" y="1589836"/>
            <a:ext cx="9388808" cy="5268164"/>
          </a:xfrm>
          <a:prstGeom prst="rect">
            <a:avLst/>
          </a:prstGeom>
        </p:spPr>
      </p:pic>
    </p:spTree>
    <p:extLst>
      <p:ext uri="{BB962C8B-B14F-4D97-AF65-F5344CB8AC3E}">
        <p14:creationId xmlns:p14="http://schemas.microsoft.com/office/powerpoint/2010/main" val="39415083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and content layout">
    <p:spTree>
      <p:nvGrpSpPr>
        <p:cNvPr id="1" name=""/>
        <p:cNvGrpSpPr/>
        <p:nvPr/>
      </p:nvGrpSpPr>
      <p:grpSpPr>
        <a:xfrm>
          <a:off x="0" y="0"/>
          <a:ext cx="0" cy="0"/>
          <a:chOff x="0" y="0"/>
          <a:chExt cx="0" cy="0"/>
        </a:xfrm>
      </p:grpSpPr>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356727" y="1676400"/>
            <a:ext cx="10620376" cy="4308474"/>
          </a:xfrm>
          <a:prstGeom prst="rect">
            <a:avLst/>
          </a:prstGeom>
        </p:spPr>
        <p:txBody>
          <a:bodyPr vert="horz" lIns="0" tIns="0" rIns="0" bIns="0" rtlCol="0">
            <a:normAutofit/>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366554" y="873126"/>
            <a:ext cx="10621792" cy="330340"/>
          </a:xfrm>
        </p:spPr>
        <p:txBody>
          <a:bodyPr rIns="0">
            <a:normAutofit/>
          </a:bodyPr>
          <a:lstStyle>
            <a:lvl1pPr>
              <a:spcBef>
                <a:spcPts val="0"/>
              </a:spcBef>
              <a:defRPr sz="1200" b="1">
                <a:solidFill>
                  <a:schemeClr val="tx1"/>
                </a:solidFill>
              </a:defRPr>
            </a:lvl1pPr>
          </a:lstStyle>
          <a:p>
            <a:pPr lvl="0"/>
            <a:r>
              <a:rPr lang="en-US"/>
              <a:t>Click to add subheading</a:t>
            </a:r>
            <a:endParaRPr lang="en-GB"/>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pic>
        <p:nvPicPr>
          <p:cNvPr id="5" name="Graphic 4">
            <a:extLst>
              <a:ext uri="{FF2B5EF4-FFF2-40B4-BE49-F238E27FC236}">
                <a16:creationId xmlns:a16="http://schemas.microsoft.com/office/drawing/2014/main" id="{A7419ECA-A110-1A25-A8AC-9CB32D812E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19400" y="1589836"/>
            <a:ext cx="9388808" cy="5268164"/>
          </a:xfrm>
          <a:prstGeom prst="rect">
            <a:avLst/>
          </a:prstGeom>
        </p:spPr>
      </p:pic>
      <p:sp>
        <p:nvSpPr>
          <p:cNvPr id="4" name="Title Placeholder 13">
            <a:extLst>
              <a:ext uri="{FF2B5EF4-FFF2-40B4-BE49-F238E27FC236}">
                <a16:creationId xmlns:a16="http://schemas.microsoft.com/office/drawing/2014/main" id="{01670423-8412-C0EB-6BD6-19C32E1C0CB2}"/>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Tree>
    <p:extLst>
      <p:ext uri="{BB962C8B-B14F-4D97-AF65-F5344CB8AC3E}">
        <p14:creationId xmlns:p14="http://schemas.microsoft.com/office/powerpoint/2010/main" val="36310006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reate Layout 1 side title r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a:xfrm>
            <a:off x="785812" y="1179513"/>
            <a:ext cx="5219701" cy="4319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a:xfrm>
            <a:off x="6186489" y="2221200"/>
            <a:ext cx="3420000" cy="1108800"/>
          </a:xfrm>
        </p:spPr>
        <p:txBody>
          <a:bodyPr/>
          <a:lstStyle/>
          <a:p>
            <a:r>
              <a:rPr lang="en-US"/>
              <a:t>Click to edit Master title style</a:t>
            </a:r>
            <a:endParaRPr lang="en-GB" dirty="0"/>
          </a:p>
        </p:txBody>
      </p:sp>
      <p:sp>
        <p:nvSpPr>
          <p:cNvPr id="5" name="Slide Number Placeholder 4">
            <a:extLst>
              <a:ext uri="{FF2B5EF4-FFF2-40B4-BE49-F238E27FC236}">
                <a16:creationId xmlns:a16="http://schemas.microsoft.com/office/drawing/2014/main" id="{97FC0791-90B0-E90A-3F40-E62CE7D9B6F2}"/>
              </a:ext>
            </a:extLst>
          </p:cNvPr>
          <p:cNvSpPr>
            <a:spLocks noGrp="1"/>
          </p:cNvSpPr>
          <p:nvPr>
            <p:ph type="sldNum" sz="quarter" idx="12"/>
          </p:nvPr>
        </p:nvSpPr>
        <p:spPr/>
        <p:txBody>
          <a:bodyPr/>
          <a:lstStyle/>
          <a:p>
            <a:fld id="{6686A102-957E-47D3-A22D-E8508A8052D6}" type="slidenum">
              <a:rPr lang="en-GB" smtClean="0"/>
              <a:pPr/>
              <a:t>‹#›</a:t>
            </a:fld>
            <a:endParaRPr lang="en-GB"/>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361191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ubtitle and content layout">
    <p:spTree>
      <p:nvGrpSpPr>
        <p:cNvPr id="1" name=""/>
        <p:cNvGrpSpPr/>
        <p:nvPr/>
      </p:nvGrpSpPr>
      <p:grpSpPr>
        <a:xfrm>
          <a:off x="0" y="0"/>
          <a:ext cx="0" cy="0"/>
          <a:chOff x="0" y="0"/>
          <a:chExt cx="0" cy="0"/>
        </a:xfrm>
      </p:grpSpPr>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356727" y="1676400"/>
            <a:ext cx="10620376" cy="4308474"/>
          </a:xfrm>
          <a:prstGeom prst="rect">
            <a:avLst/>
          </a:prstGeom>
        </p:spPr>
        <p:txBody>
          <a:bodyPr vert="horz" lIns="0" tIns="0" rIns="0" bIns="0" rtlCol="0">
            <a:normAutofit/>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366554" y="873126"/>
            <a:ext cx="10621792" cy="330340"/>
          </a:xfrm>
        </p:spPr>
        <p:txBody>
          <a:bodyPr rIns="0">
            <a:normAutofit/>
          </a:bodyPr>
          <a:lstStyle>
            <a:lvl1pPr>
              <a:spcBef>
                <a:spcPts val="0"/>
              </a:spcBef>
              <a:defRPr sz="1200" b="1">
                <a:solidFill>
                  <a:schemeClr val="tx1"/>
                </a:solidFill>
              </a:defRPr>
            </a:lvl1pPr>
          </a:lstStyle>
          <a:p>
            <a:pPr lvl="0"/>
            <a:r>
              <a:rPr lang="en-US"/>
              <a:t>Click to add subheading</a:t>
            </a:r>
            <a:endParaRPr lang="en-GB"/>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pic>
        <p:nvPicPr>
          <p:cNvPr id="5" name="Graphic 4">
            <a:extLst>
              <a:ext uri="{FF2B5EF4-FFF2-40B4-BE49-F238E27FC236}">
                <a16:creationId xmlns:a16="http://schemas.microsoft.com/office/drawing/2014/main" id="{A7419ECA-A110-1A25-A8AC-9CB32D812E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19400" y="1589836"/>
            <a:ext cx="9388808" cy="5268164"/>
          </a:xfrm>
          <a:prstGeom prst="rect">
            <a:avLst/>
          </a:prstGeom>
        </p:spPr>
      </p:pic>
      <p:sp>
        <p:nvSpPr>
          <p:cNvPr id="4" name="Title Placeholder 13">
            <a:extLst>
              <a:ext uri="{FF2B5EF4-FFF2-40B4-BE49-F238E27FC236}">
                <a16:creationId xmlns:a16="http://schemas.microsoft.com/office/drawing/2014/main" id="{01670423-8412-C0EB-6BD6-19C32E1C0CB2}"/>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Tree>
    <p:extLst>
      <p:ext uri="{BB962C8B-B14F-4D97-AF65-F5344CB8AC3E}">
        <p14:creationId xmlns:p14="http://schemas.microsoft.com/office/powerpoint/2010/main" val="42308278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step process - squar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grpSp>
        <p:nvGrpSpPr>
          <p:cNvPr id="9" name="Group 8">
            <a:extLst>
              <a:ext uri="{FF2B5EF4-FFF2-40B4-BE49-F238E27FC236}">
                <a16:creationId xmlns:a16="http://schemas.microsoft.com/office/drawing/2014/main" id="{EDAC905F-2EB9-6216-DBB3-EF1D5ECD0722}"/>
              </a:ext>
            </a:extLst>
          </p:cNvPr>
          <p:cNvGrpSpPr/>
          <p:nvPr/>
        </p:nvGrpSpPr>
        <p:grpSpPr>
          <a:xfrm>
            <a:off x="795798" y="1486067"/>
            <a:ext cx="3409075" cy="4076533"/>
            <a:chOff x="550863" y="1689100"/>
            <a:chExt cx="3563625" cy="4764088"/>
          </a:xfrm>
        </p:grpSpPr>
        <p:sp>
          <p:nvSpPr>
            <p:cNvPr id="16" name="Rounded Rectangle 15">
              <a:extLst>
                <a:ext uri="{FF2B5EF4-FFF2-40B4-BE49-F238E27FC236}">
                  <a16:creationId xmlns:a16="http://schemas.microsoft.com/office/drawing/2014/main" id="{E13A0F39-58E9-9B04-EA6B-E832AD497155}"/>
                </a:ext>
              </a:extLst>
            </p:cNvPr>
            <p:cNvSpPr/>
            <p:nvPr/>
          </p:nvSpPr>
          <p:spPr>
            <a:xfrm>
              <a:off x="550865" y="1689100"/>
              <a:ext cx="3563623" cy="4764088"/>
            </a:xfrm>
            <a:prstGeom prst="roundRect">
              <a:avLst>
                <a:gd name="adj" fmla="val 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7" name="Freeform 16">
              <a:extLst>
                <a:ext uri="{FF2B5EF4-FFF2-40B4-BE49-F238E27FC236}">
                  <a16:creationId xmlns:a16="http://schemas.microsoft.com/office/drawing/2014/main" id="{F473863E-9C64-7C09-53D5-3DD010F79A06}"/>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20" name="Group 19">
            <a:extLst>
              <a:ext uri="{FF2B5EF4-FFF2-40B4-BE49-F238E27FC236}">
                <a16:creationId xmlns:a16="http://schemas.microsoft.com/office/drawing/2014/main" id="{13A130A8-9DB0-D9A4-8FF2-6B5EDB076568}"/>
              </a:ext>
            </a:extLst>
          </p:cNvPr>
          <p:cNvGrpSpPr/>
          <p:nvPr/>
        </p:nvGrpSpPr>
        <p:grpSpPr>
          <a:xfrm>
            <a:off x="4401448" y="1486067"/>
            <a:ext cx="3409075" cy="4076533"/>
            <a:chOff x="550863" y="1689100"/>
            <a:chExt cx="3563625" cy="4764088"/>
          </a:xfrm>
        </p:grpSpPr>
        <p:sp>
          <p:nvSpPr>
            <p:cNvPr id="22" name="Rounded Rectangle 21">
              <a:extLst>
                <a:ext uri="{FF2B5EF4-FFF2-40B4-BE49-F238E27FC236}">
                  <a16:creationId xmlns:a16="http://schemas.microsoft.com/office/drawing/2014/main" id="{7C77533A-EE54-D84D-6A62-18B52474F7FE}"/>
                </a:ext>
              </a:extLst>
            </p:cNvPr>
            <p:cNvSpPr/>
            <p:nvPr/>
          </p:nvSpPr>
          <p:spPr>
            <a:xfrm>
              <a:off x="550865" y="1689100"/>
              <a:ext cx="3563623"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3" name="Freeform 22">
              <a:extLst>
                <a:ext uri="{FF2B5EF4-FFF2-40B4-BE49-F238E27FC236}">
                  <a16:creationId xmlns:a16="http://schemas.microsoft.com/office/drawing/2014/main" id="{94549ECE-BDD5-F25D-242A-E284D106A98D}"/>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25" name="Group 24">
            <a:extLst>
              <a:ext uri="{FF2B5EF4-FFF2-40B4-BE49-F238E27FC236}">
                <a16:creationId xmlns:a16="http://schemas.microsoft.com/office/drawing/2014/main" id="{4E7832AA-3727-C094-D7D3-98CF4BBDEF42}"/>
              </a:ext>
            </a:extLst>
          </p:cNvPr>
          <p:cNvGrpSpPr/>
          <p:nvPr/>
        </p:nvGrpSpPr>
        <p:grpSpPr>
          <a:xfrm>
            <a:off x="8007098" y="1486067"/>
            <a:ext cx="3409075" cy="4076533"/>
            <a:chOff x="550863" y="1689100"/>
            <a:chExt cx="3563625" cy="4764088"/>
          </a:xfrm>
        </p:grpSpPr>
        <p:sp>
          <p:nvSpPr>
            <p:cNvPr id="27" name="Rounded Rectangle 26">
              <a:extLst>
                <a:ext uri="{FF2B5EF4-FFF2-40B4-BE49-F238E27FC236}">
                  <a16:creationId xmlns:a16="http://schemas.microsoft.com/office/drawing/2014/main" id="{A7F44772-FD18-3761-67B1-B6F1857D264A}"/>
                </a:ext>
              </a:extLst>
            </p:cNvPr>
            <p:cNvSpPr/>
            <p:nvPr/>
          </p:nvSpPr>
          <p:spPr>
            <a:xfrm>
              <a:off x="550865" y="1689100"/>
              <a:ext cx="3563623" cy="4764088"/>
            </a:xfrm>
            <a:prstGeom prst="roundRect">
              <a:avLst>
                <a:gd name="adj"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8" name="Freeform 27">
              <a:extLst>
                <a:ext uri="{FF2B5EF4-FFF2-40B4-BE49-F238E27FC236}">
                  <a16:creationId xmlns:a16="http://schemas.microsoft.com/office/drawing/2014/main" id="{912EE670-FED1-9C9C-DF03-92C3E3003F39}"/>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sp>
        <p:nvSpPr>
          <p:cNvPr id="29" name="Picture Placeholder 9">
            <a:extLst>
              <a:ext uri="{FF2B5EF4-FFF2-40B4-BE49-F238E27FC236}">
                <a16:creationId xmlns:a16="http://schemas.microsoft.com/office/drawing/2014/main" id="{281162E0-CF45-FB79-715F-3DDD27C1B83B}"/>
              </a:ext>
            </a:extLst>
          </p:cNvPr>
          <p:cNvSpPr>
            <a:spLocks noGrp="1"/>
          </p:cNvSpPr>
          <p:nvPr>
            <p:ph type="pic" sz="quarter" idx="19"/>
          </p:nvPr>
        </p:nvSpPr>
        <p:spPr>
          <a:xfrm>
            <a:off x="2118639" y="1597339"/>
            <a:ext cx="730250" cy="730250"/>
          </a:xfrm>
        </p:spPr>
        <p:txBody>
          <a:bodyPr>
            <a:normAutofit/>
          </a:bodyPr>
          <a:lstStyle>
            <a:lvl1pPr>
              <a:defRPr sz="800"/>
            </a:lvl1pPr>
          </a:lstStyle>
          <a:p>
            <a:r>
              <a:rPr lang="en-US"/>
              <a:t>Click icon to add picture</a:t>
            </a:r>
          </a:p>
        </p:txBody>
      </p:sp>
      <p:sp>
        <p:nvSpPr>
          <p:cNvPr id="30" name="Picture Placeholder 9">
            <a:extLst>
              <a:ext uri="{FF2B5EF4-FFF2-40B4-BE49-F238E27FC236}">
                <a16:creationId xmlns:a16="http://schemas.microsoft.com/office/drawing/2014/main" id="{B5D1FBA9-4A5E-0C43-0372-F80D7127F557}"/>
              </a:ext>
            </a:extLst>
          </p:cNvPr>
          <p:cNvSpPr>
            <a:spLocks noGrp="1"/>
          </p:cNvSpPr>
          <p:nvPr>
            <p:ph type="pic" sz="quarter" idx="20"/>
          </p:nvPr>
        </p:nvSpPr>
        <p:spPr>
          <a:xfrm>
            <a:off x="5739455" y="1597339"/>
            <a:ext cx="730250" cy="730250"/>
          </a:xfrm>
        </p:spPr>
        <p:txBody>
          <a:bodyPr>
            <a:normAutofit/>
          </a:bodyPr>
          <a:lstStyle>
            <a:lvl1pPr>
              <a:defRPr sz="800"/>
            </a:lvl1pPr>
          </a:lstStyle>
          <a:p>
            <a:r>
              <a:rPr lang="en-US"/>
              <a:t>Click icon to add picture</a:t>
            </a:r>
          </a:p>
        </p:txBody>
      </p:sp>
      <p:sp>
        <p:nvSpPr>
          <p:cNvPr id="31" name="Picture Placeholder 9">
            <a:extLst>
              <a:ext uri="{FF2B5EF4-FFF2-40B4-BE49-F238E27FC236}">
                <a16:creationId xmlns:a16="http://schemas.microsoft.com/office/drawing/2014/main" id="{205F7212-3F5C-8815-9FDC-9B5FBBE154F2}"/>
              </a:ext>
            </a:extLst>
          </p:cNvPr>
          <p:cNvSpPr>
            <a:spLocks noGrp="1"/>
          </p:cNvSpPr>
          <p:nvPr>
            <p:ph type="pic" sz="quarter" idx="21"/>
          </p:nvPr>
        </p:nvSpPr>
        <p:spPr>
          <a:xfrm>
            <a:off x="9350238" y="1597339"/>
            <a:ext cx="730250" cy="730250"/>
          </a:xfrm>
        </p:spPr>
        <p:txBody>
          <a:bodyPr>
            <a:normAutofit/>
          </a:bodyPr>
          <a:lstStyle>
            <a:lvl1pPr>
              <a:defRPr sz="800"/>
            </a:lvl1pPr>
          </a:lstStyle>
          <a:p>
            <a:r>
              <a:rPr lang="en-US"/>
              <a:t>Click icon to add picture</a:t>
            </a:r>
          </a:p>
        </p:txBody>
      </p:sp>
      <p:sp>
        <p:nvSpPr>
          <p:cNvPr id="35" name="Text Placeholder 49">
            <a:extLst>
              <a:ext uri="{FF2B5EF4-FFF2-40B4-BE49-F238E27FC236}">
                <a16:creationId xmlns:a16="http://schemas.microsoft.com/office/drawing/2014/main" id="{C5D697AB-768B-E466-5877-817532B16D29}"/>
              </a:ext>
            </a:extLst>
          </p:cNvPr>
          <p:cNvSpPr>
            <a:spLocks noGrp="1"/>
          </p:cNvSpPr>
          <p:nvPr>
            <p:ph type="body" sz="quarter" idx="55" hasCustomPrompt="1"/>
          </p:nvPr>
        </p:nvSpPr>
        <p:spPr>
          <a:xfrm>
            <a:off x="947261" y="3012522"/>
            <a:ext cx="3147361"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36" name="Text Placeholder 49">
            <a:extLst>
              <a:ext uri="{FF2B5EF4-FFF2-40B4-BE49-F238E27FC236}">
                <a16:creationId xmlns:a16="http://schemas.microsoft.com/office/drawing/2014/main" id="{6983E051-D6E9-F34B-8BCE-A34202F14973}"/>
              </a:ext>
            </a:extLst>
          </p:cNvPr>
          <p:cNvSpPr>
            <a:spLocks noGrp="1"/>
          </p:cNvSpPr>
          <p:nvPr>
            <p:ph type="body" sz="quarter" idx="56" hasCustomPrompt="1"/>
          </p:nvPr>
        </p:nvSpPr>
        <p:spPr>
          <a:xfrm>
            <a:off x="947260" y="2759959"/>
            <a:ext cx="3147361" cy="287245"/>
          </a:xfrm>
        </p:spPr>
        <p:txBody>
          <a:bodyPr>
            <a:normAutofit/>
          </a:bodyPr>
          <a:lstStyle>
            <a:lvl1pPr algn="ctr">
              <a:defRPr sz="1400" b="1">
                <a:solidFill>
                  <a:schemeClr val="bg1"/>
                </a:solidFill>
              </a:defRPr>
            </a:lvl1pPr>
          </a:lstStyle>
          <a:p>
            <a:pPr lvl="0"/>
            <a:r>
              <a:rPr lang="en-US"/>
              <a:t>Lorem ipsum dolor</a:t>
            </a:r>
          </a:p>
        </p:txBody>
      </p:sp>
      <p:sp>
        <p:nvSpPr>
          <p:cNvPr id="37" name="Text Placeholder 49">
            <a:extLst>
              <a:ext uri="{FF2B5EF4-FFF2-40B4-BE49-F238E27FC236}">
                <a16:creationId xmlns:a16="http://schemas.microsoft.com/office/drawing/2014/main" id="{8B6EDF5D-C837-C6DA-E6FA-3092B9147EB4}"/>
              </a:ext>
            </a:extLst>
          </p:cNvPr>
          <p:cNvSpPr>
            <a:spLocks noGrp="1"/>
          </p:cNvSpPr>
          <p:nvPr>
            <p:ph type="body" sz="quarter" idx="57" hasCustomPrompt="1"/>
          </p:nvPr>
        </p:nvSpPr>
        <p:spPr>
          <a:xfrm>
            <a:off x="4475623" y="3015664"/>
            <a:ext cx="3238542"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38" name="Text Placeholder 49">
            <a:extLst>
              <a:ext uri="{FF2B5EF4-FFF2-40B4-BE49-F238E27FC236}">
                <a16:creationId xmlns:a16="http://schemas.microsoft.com/office/drawing/2014/main" id="{A3A63564-AB2C-A01F-1D20-94D4059E8CE9}"/>
              </a:ext>
            </a:extLst>
          </p:cNvPr>
          <p:cNvSpPr>
            <a:spLocks noGrp="1"/>
          </p:cNvSpPr>
          <p:nvPr>
            <p:ph type="body" sz="quarter" idx="58" hasCustomPrompt="1"/>
          </p:nvPr>
        </p:nvSpPr>
        <p:spPr>
          <a:xfrm>
            <a:off x="4475622" y="2763101"/>
            <a:ext cx="3238542" cy="287245"/>
          </a:xfrm>
        </p:spPr>
        <p:txBody>
          <a:bodyPr>
            <a:normAutofit/>
          </a:bodyPr>
          <a:lstStyle>
            <a:lvl1pPr algn="ctr">
              <a:defRPr sz="1400" b="1">
                <a:solidFill>
                  <a:schemeClr val="bg1"/>
                </a:solidFill>
              </a:defRPr>
            </a:lvl1pPr>
          </a:lstStyle>
          <a:p>
            <a:pPr lvl="0"/>
            <a:r>
              <a:rPr lang="en-US"/>
              <a:t>Lorem ipsum dolor</a:t>
            </a:r>
          </a:p>
        </p:txBody>
      </p:sp>
      <p:sp>
        <p:nvSpPr>
          <p:cNvPr id="39" name="Text Placeholder 49">
            <a:extLst>
              <a:ext uri="{FF2B5EF4-FFF2-40B4-BE49-F238E27FC236}">
                <a16:creationId xmlns:a16="http://schemas.microsoft.com/office/drawing/2014/main" id="{CB7A6F6F-FE2D-09A9-42EA-725CF6ECF004}"/>
              </a:ext>
            </a:extLst>
          </p:cNvPr>
          <p:cNvSpPr>
            <a:spLocks noGrp="1"/>
          </p:cNvSpPr>
          <p:nvPr>
            <p:ph type="body" sz="quarter" idx="59" hasCustomPrompt="1"/>
          </p:nvPr>
        </p:nvSpPr>
        <p:spPr>
          <a:xfrm>
            <a:off x="8118167" y="3012522"/>
            <a:ext cx="3227339"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40" name="Text Placeholder 49">
            <a:extLst>
              <a:ext uri="{FF2B5EF4-FFF2-40B4-BE49-F238E27FC236}">
                <a16:creationId xmlns:a16="http://schemas.microsoft.com/office/drawing/2014/main" id="{26F3C7D8-3337-F6F1-F96F-E1837F5269D3}"/>
              </a:ext>
            </a:extLst>
          </p:cNvPr>
          <p:cNvSpPr>
            <a:spLocks noGrp="1"/>
          </p:cNvSpPr>
          <p:nvPr>
            <p:ph type="body" sz="quarter" idx="60" hasCustomPrompt="1"/>
          </p:nvPr>
        </p:nvSpPr>
        <p:spPr>
          <a:xfrm>
            <a:off x="8118166" y="2759959"/>
            <a:ext cx="3227339" cy="287245"/>
          </a:xfrm>
        </p:spPr>
        <p:txBody>
          <a:bodyPr>
            <a:normAutofit/>
          </a:bodyPr>
          <a:lstStyle>
            <a:lvl1pPr algn="ctr">
              <a:defRPr sz="1400" b="1">
                <a:solidFill>
                  <a:schemeClr val="bg1"/>
                </a:solidFill>
              </a:defRPr>
            </a:lvl1pPr>
          </a:lstStyle>
          <a:p>
            <a:pPr lvl="0"/>
            <a:r>
              <a:rPr lang="en-US"/>
              <a:t>Lorem ipsum dolor</a:t>
            </a:r>
          </a:p>
        </p:txBody>
      </p:sp>
      <p:sp>
        <p:nvSpPr>
          <p:cNvPr id="5" name="Title Placeholder 13">
            <a:extLst>
              <a:ext uri="{FF2B5EF4-FFF2-40B4-BE49-F238E27FC236}">
                <a16:creationId xmlns:a16="http://schemas.microsoft.com/office/drawing/2014/main" id="{7F3F8F33-2CB0-6A00-6047-3475F2736A6B}"/>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Tree>
    <p:extLst>
      <p:ext uri="{BB962C8B-B14F-4D97-AF65-F5344CB8AC3E}">
        <p14:creationId xmlns:p14="http://schemas.microsoft.com/office/powerpoint/2010/main" val="20276905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1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4061A3F-47F8-A84F-7E6F-93933D518E5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25902" y="0"/>
            <a:ext cx="12217901" cy="6870629"/>
          </a:xfrm>
          <a:prstGeom prst="rect">
            <a:avLst/>
          </a:prstGeom>
        </p:spPr>
      </p:pic>
      <p:sp>
        <p:nvSpPr>
          <p:cNvPr id="6" name="Text Placeholder 5">
            <a:extLst>
              <a:ext uri="{FF2B5EF4-FFF2-40B4-BE49-F238E27FC236}">
                <a16:creationId xmlns:a16="http://schemas.microsoft.com/office/drawing/2014/main" id="{41C67C17-03F0-336A-F782-185E8314E532}"/>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7" name="Title Placeholder 13">
            <a:extLst>
              <a:ext uri="{FF2B5EF4-FFF2-40B4-BE49-F238E27FC236}">
                <a16:creationId xmlns:a16="http://schemas.microsoft.com/office/drawing/2014/main" id="{05C4F7E3-76F2-8816-1FEE-EB1E510A2B6E}"/>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grpSp>
        <p:nvGrpSpPr>
          <p:cNvPr id="2" name="Group 1">
            <a:extLst>
              <a:ext uri="{FF2B5EF4-FFF2-40B4-BE49-F238E27FC236}">
                <a16:creationId xmlns:a16="http://schemas.microsoft.com/office/drawing/2014/main" id="{D1EBE406-CC0A-D855-C047-B83B6A274921}"/>
              </a:ext>
            </a:extLst>
          </p:cNvPr>
          <p:cNvGrpSpPr/>
          <p:nvPr userDrawn="1"/>
        </p:nvGrpSpPr>
        <p:grpSpPr>
          <a:xfrm>
            <a:off x="10187131" y="687949"/>
            <a:ext cx="1234969" cy="518323"/>
            <a:chOff x="7459170" y="481236"/>
            <a:chExt cx="2697427" cy="1132124"/>
          </a:xfrm>
          <a:solidFill>
            <a:schemeClr val="bg1"/>
          </a:solidFill>
        </p:grpSpPr>
        <p:sp>
          <p:nvSpPr>
            <p:cNvPr id="3" name="Freeform 2">
              <a:extLst>
                <a:ext uri="{FF2B5EF4-FFF2-40B4-BE49-F238E27FC236}">
                  <a16:creationId xmlns:a16="http://schemas.microsoft.com/office/drawing/2014/main" id="{3535458D-D6F2-0DEB-240C-566B71330F6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D64F59B7-6AEE-E93C-A00A-7CF6CCE1B23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673062BC-F597-285A-CA5D-04928CFD3E4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6AF880-3E36-D43A-44CB-A2926D722A7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54938477-1B85-CE55-650E-1724595150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483D60A-F0CF-6D77-FD8B-291D9E4D7B0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80B5A102-87DA-0B8A-AACB-E55C56CA80F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5813362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layout 1">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6BE8D818-BF4A-6255-2C9D-8D2A2D00690E}"/>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7" name="Title Placeholder 13">
            <a:extLst>
              <a:ext uri="{FF2B5EF4-FFF2-40B4-BE49-F238E27FC236}">
                <a16:creationId xmlns:a16="http://schemas.microsoft.com/office/drawing/2014/main" id="{104D388C-C8C9-153D-E99E-4E8009911BD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
        <p:nvSpPr>
          <p:cNvPr id="6" name="Rectangle 5">
            <a:extLst>
              <a:ext uri="{FF2B5EF4-FFF2-40B4-BE49-F238E27FC236}">
                <a16:creationId xmlns:a16="http://schemas.microsoft.com/office/drawing/2014/main" id="{EC46EC70-B8F1-8496-9C2F-8EE6ADB5246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0" indent="0" algn="l">
              <a:buFont typeface="+mj-lt"/>
              <a:buNone/>
            </a:pPr>
            <a:r>
              <a:rPr lang="en-US" sz="1400" b="0">
                <a:solidFill>
                  <a:srgbClr val="E40046"/>
                </a:solidFill>
              </a:rPr>
              <a:t>xxx</a:t>
            </a:r>
          </a:p>
          <a:p>
            <a:pPr marL="0" indent="0" algn="l">
              <a:buFont typeface="+mj-lt"/>
              <a:buNone/>
            </a:pPr>
            <a:endParaRPr lang="en-US" sz="1800" b="0">
              <a:solidFill>
                <a:srgbClr val="E40046"/>
              </a:solidFill>
            </a:endParaRPr>
          </a:p>
        </p:txBody>
      </p:sp>
      <p:sp>
        <p:nvSpPr>
          <p:cNvPr id="9" name="Slide Number Placeholder 2">
            <a:extLst>
              <a:ext uri="{FF2B5EF4-FFF2-40B4-BE49-F238E27FC236}">
                <a16:creationId xmlns:a16="http://schemas.microsoft.com/office/drawing/2014/main" id="{A3A49431-06D5-AE22-11F4-C7FE14BF169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4" name="Group 23">
            <a:extLst>
              <a:ext uri="{FF2B5EF4-FFF2-40B4-BE49-F238E27FC236}">
                <a16:creationId xmlns:a16="http://schemas.microsoft.com/office/drawing/2014/main" id="{0A0D3B85-ED5B-1E3D-DFC6-A1D7FF6706C3}"/>
              </a:ext>
            </a:extLst>
          </p:cNvPr>
          <p:cNvGrpSpPr/>
          <p:nvPr userDrawn="1"/>
        </p:nvGrpSpPr>
        <p:grpSpPr>
          <a:xfrm>
            <a:off x="10863102" y="309052"/>
            <a:ext cx="911847" cy="382707"/>
            <a:chOff x="7459170" y="481236"/>
            <a:chExt cx="2697427" cy="1132124"/>
          </a:xfrm>
          <a:solidFill>
            <a:schemeClr val="bg1"/>
          </a:solidFill>
        </p:grpSpPr>
        <p:sp>
          <p:nvSpPr>
            <p:cNvPr id="25" name="Freeform 24">
              <a:extLst>
                <a:ext uri="{FF2B5EF4-FFF2-40B4-BE49-F238E27FC236}">
                  <a16:creationId xmlns:a16="http://schemas.microsoft.com/office/drawing/2014/main" id="{B580446A-1135-33B9-3FAD-2870149BBF3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C26B99C1-1718-1756-8D39-8FEFE2C8793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E66819A6-6CA6-261D-3477-D0DA1E11900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8BF64F8-020F-932B-8EC5-818FBB297D0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4AA0F19-F799-C1C5-BB29-45EC36C8A9A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3489BCCD-110C-3447-0F8C-8E6174676DA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7FFDC9A-C4BA-580D-027F-A202C844C3F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3" name="Slide Number Placeholder 1">
            <a:extLst>
              <a:ext uri="{FF2B5EF4-FFF2-40B4-BE49-F238E27FC236}">
                <a16:creationId xmlns:a16="http://schemas.microsoft.com/office/drawing/2014/main" id="{2F0E98DC-8855-957B-075C-9476F2CB6AC0}"/>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Tree>
    <p:extLst>
      <p:ext uri="{BB962C8B-B14F-4D97-AF65-F5344CB8AC3E}">
        <p14:creationId xmlns:p14="http://schemas.microsoft.com/office/powerpoint/2010/main" val="29969952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layout 2">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
        <p:nvSpPr>
          <p:cNvPr id="7" name="Slide Number Placeholder 1">
            <a:extLst>
              <a:ext uri="{FF2B5EF4-FFF2-40B4-BE49-F238E27FC236}">
                <a16:creationId xmlns:a16="http://schemas.microsoft.com/office/drawing/2014/main" id="{C80B48E6-9A43-6F3C-E262-77B87F38BC64}"/>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Tree>
    <p:extLst>
      <p:ext uri="{BB962C8B-B14F-4D97-AF65-F5344CB8AC3E}">
        <p14:creationId xmlns:p14="http://schemas.microsoft.com/office/powerpoint/2010/main" val="24339246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layout 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9" name="Title Placeholder 13">
            <a:extLst>
              <a:ext uri="{FF2B5EF4-FFF2-40B4-BE49-F238E27FC236}">
                <a16:creationId xmlns:a16="http://schemas.microsoft.com/office/drawing/2014/main" id="{79DE4726-69C5-555D-D13D-0397913A2D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7" name="Slide Number Placeholder 1">
            <a:extLst>
              <a:ext uri="{FF2B5EF4-FFF2-40B4-BE49-F238E27FC236}">
                <a16:creationId xmlns:a16="http://schemas.microsoft.com/office/drawing/2014/main" id="{B718CDCC-D8DC-B0D6-1BD9-921E8D4874E6}"/>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Tree>
    <p:extLst>
      <p:ext uri="{BB962C8B-B14F-4D97-AF65-F5344CB8AC3E}">
        <p14:creationId xmlns:p14="http://schemas.microsoft.com/office/powerpoint/2010/main" val="39544116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layout 4">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9" name="Title Placeholder 13">
            <a:extLst>
              <a:ext uri="{FF2B5EF4-FFF2-40B4-BE49-F238E27FC236}">
                <a16:creationId xmlns:a16="http://schemas.microsoft.com/office/drawing/2014/main" id="{79DE4726-69C5-555D-D13D-0397913A2D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
        <p:nvSpPr>
          <p:cNvPr id="7" name="Slide Number Placeholder 1">
            <a:extLst>
              <a:ext uri="{FF2B5EF4-FFF2-40B4-BE49-F238E27FC236}">
                <a16:creationId xmlns:a16="http://schemas.microsoft.com/office/drawing/2014/main" id="{1A9ACDF7-C8FC-B221-9C32-53F084C66403}"/>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grpSp>
        <p:nvGrpSpPr>
          <p:cNvPr id="16" name="Group 15">
            <a:extLst>
              <a:ext uri="{FF2B5EF4-FFF2-40B4-BE49-F238E27FC236}">
                <a16:creationId xmlns:a16="http://schemas.microsoft.com/office/drawing/2014/main" id="{8E195C2C-CFF3-9E10-347B-6940BED6B9A4}"/>
              </a:ext>
            </a:extLst>
          </p:cNvPr>
          <p:cNvGrpSpPr/>
          <p:nvPr userDrawn="1"/>
        </p:nvGrpSpPr>
        <p:grpSpPr>
          <a:xfrm>
            <a:off x="10863102" y="309052"/>
            <a:ext cx="911847" cy="382707"/>
            <a:chOff x="7459170" y="481236"/>
            <a:chExt cx="2697427" cy="1132124"/>
          </a:xfrm>
          <a:solidFill>
            <a:schemeClr val="bg1"/>
          </a:solidFill>
        </p:grpSpPr>
        <p:sp>
          <p:nvSpPr>
            <p:cNvPr id="17" name="Freeform 3">
              <a:extLst>
                <a:ext uri="{FF2B5EF4-FFF2-40B4-BE49-F238E27FC236}">
                  <a16:creationId xmlns:a16="http://schemas.microsoft.com/office/drawing/2014/main" id="{11E5DC67-7742-369B-C00D-F45618B97D97}"/>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18" name="Freeform 7">
              <a:extLst>
                <a:ext uri="{FF2B5EF4-FFF2-40B4-BE49-F238E27FC236}">
                  <a16:creationId xmlns:a16="http://schemas.microsoft.com/office/drawing/2014/main" id="{2E8FC8C5-E847-B617-5B01-7D25C9D5688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19" name="Freeform 8">
              <a:extLst>
                <a:ext uri="{FF2B5EF4-FFF2-40B4-BE49-F238E27FC236}">
                  <a16:creationId xmlns:a16="http://schemas.microsoft.com/office/drawing/2014/main" id="{3B8A685D-031A-908C-79A6-C0FB42DB95C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0" name="Freeform 10">
              <a:extLst>
                <a:ext uri="{FF2B5EF4-FFF2-40B4-BE49-F238E27FC236}">
                  <a16:creationId xmlns:a16="http://schemas.microsoft.com/office/drawing/2014/main" id="{676EAC55-26A1-7793-E325-E25421C0ADC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1" name="Freeform 11">
              <a:extLst>
                <a:ext uri="{FF2B5EF4-FFF2-40B4-BE49-F238E27FC236}">
                  <a16:creationId xmlns:a16="http://schemas.microsoft.com/office/drawing/2014/main" id="{A90596A8-45C1-FE4E-6EE9-5521D5C423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22" name="Freeform 12">
              <a:extLst>
                <a:ext uri="{FF2B5EF4-FFF2-40B4-BE49-F238E27FC236}">
                  <a16:creationId xmlns:a16="http://schemas.microsoft.com/office/drawing/2014/main" id="{F02C72E7-58B2-DC53-F651-35DBD502F09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23" name="Freeform 13">
              <a:extLst>
                <a:ext uri="{FF2B5EF4-FFF2-40B4-BE49-F238E27FC236}">
                  <a16:creationId xmlns:a16="http://schemas.microsoft.com/office/drawing/2014/main" id="{25D326AC-01F7-A1C9-2AB2-9826AB20959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2568070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layout 5">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pic>
        <p:nvPicPr>
          <p:cNvPr id="7" name="Graphic 6">
            <a:extLst>
              <a:ext uri="{FF2B5EF4-FFF2-40B4-BE49-F238E27FC236}">
                <a16:creationId xmlns:a16="http://schemas.microsoft.com/office/drawing/2014/main" id="{CE6FFEB1-D53E-7F13-D1AC-68619E6876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spTree>
    <p:extLst>
      <p:ext uri="{BB962C8B-B14F-4D97-AF65-F5344CB8AC3E}">
        <p14:creationId xmlns:p14="http://schemas.microsoft.com/office/powerpoint/2010/main" val="39267604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layout 6">
    <p:bg>
      <p:bgPr>
        <a:solidFill>
          <a:schemeClr val="accent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9243993-DCF4-918A-43FA-C47318EEBE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spTree>
    <p:extLst>
      <p:ext uri="{BB962C8B-B14F-4D97-AF65-F5344CB8AC3E}">
        <p14:creationId xmlns:p14="http://schemas.microsoft.com/office/powerpoint/2010/main" val="1075836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layout 8">
    <p:bg>
      <p:bgPr>
        <a:solidFill>
          <a:schemeClr val="accent4"/>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4058A20-5A6B-F5DB-969D-CC8F3EEF2E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spTree>
    <p:extLst>
      <p:ext uri="{BB962C8B-B14F-4D97-AF65-F5344CB8AC3E}">
        <p14:creationId xmlns:p14="http://schemas.microsoft.com/office/powerpoint/2010/main" val="10665589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ograph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p:txBody>
          <a:bodyPr/>
          <a:lstStyle/>
          <a:p>
            <a:r>
              <a:rPr lang="en-US"/>
              <a:t>Click to edit Master title style</a:t>
            </a:r>
            <a:endParaRPr lang="en-GB"/>
          </a:p>
        </p:txBody>
      </p:sp>
      <p:sp>
        <p:nvSpPr>
          <p:cNvPr id="5" name="Slide Number Placeholder 4">
            <a:extLst>
              <a:ext uri="{FF2B5EF4-FFF2-40B4-BE49-F238E27FC236}">
                <a16:creationId xmlns:a16="http://schemas.microsoft.com/office/drawing/2014/main" id="{97FC0791-90B0-E90A-3F40-E62CE7D9B6F2}"/>
              </a:ext>
            </a:extLst>
          </p:cNvPr>
          <p:cNvSpPr>
            <a:spLocks noGrp="1"/>
          </p:cNvSpPr>
          <p:nvPr>
            <p:ph type="sldNum" sz="quarter" idx="12"/>
          </p:nvPr>
        </p:nvSpPr>
        <p:spPr/>
        <p:txBody>
          <a:bodyPr/>
          <a:lstStyle/>
          <a:p>
            <a:fld id="{6686A102-957E-47D3-A22D-E8508A8052D6}" type="slidenum">
              <a:rPr lang="en-GB" smtClean="0"/>
              <a:pPr/>
              <a:t>‹#›</a:t>
            </a:fld>
            <a:endParaRPr lang="en-GB" dirty="0"/>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p:txBody>
          <a:bodyPr/>
          <a:lstStyle>
            <a:lvl1pPr>
              <a:defRPr sz="1200">
                <a:solidFill>
                  <a:srgbClr val="FFFFFF"/>
                </a:solidFill>
              </a:defRPr>
            </a:lvl1pPr>
            <a:lvl2pPr>
              <a:buClr>
                <a:schemeClr val="bg1"/>
              </a:buClr>
              <a:defRPr sz="1200">
                <a:solidFill>
                  <a:srgbClr val="FFFFFF"/>
                </a:solidFill>
              </a:defRPr>
            </a:lvl2pPr>
            <a:lvl3pPr>
              <a:defRPr sz="1200">
                <a:solidFill>
                  <a:srgbClr val="FFFFFF"/>
                </a:solidFill>
              </a:defRPr>
            </a:lvl3pPr>
            <a:lvl4pPr>
              <a:defRPr sz="1200">
                <a:solidFill>
                  <a:srgbClr val="FFFFFF"/>
                </a:solidFill>
              </a:defRPr>
            </a:lvl4pPr>
            <a:lvl5pPr>
              <a:defRPr sz="1200">
                <a:solidFill>
                  <a:srgbClr val="FFFFFF"/>
                </a:solidFill>
              </a:defRPr>
            </a:lvl5pPr>
            <a:lvl6pPr>
              <a:defRPr sz="1600" b="1">
                <a:solidFill>
                  <a:srgbClr val="FFFFFF"/>
                </a:solidFill>
              </a:defRPr>
            </a:lvl6pPr>
            <a:lvl7pPr>
              <a:defRPr sz="1400">
                <a:solidFill>
                  <a:srgbClr val="FFFFFF"/>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4518475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layout 1">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
        <p:nvSpPr>
          <p:cNvPr id="7" name="Slide Number Placeholder 1">
            <a:extLst>
              <a:ext uri="{FF2B5EF4-FFF2-40B4-BE49-F238E27FC236}">
                <a16:creationId xmlns:a16="http://schemas.microsoft.com/office/drawing/2014/main" id="{C80B48E6-9A43-6F3C-E262-77B87F38BC64}"/>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cxnSp>
        <p:nvCxnSpPr>
          <p:cNvPr id="19" name="Straight Connector 18">
            <a:extLst>
              <a:ext uri="{FF2B5EF4-FFF2-40B4-BE49-F238E27FC236}">
                <a16:creationId xmlns:a16="http://schemas.microsoft.com/office/drawing/2014/main" id="{135CCC4D-5CF9-5FBD-F77B-A6F94DB5C2D8}"/>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0" name="Straight Connector 19">
            <a:extLst>
              <a:ext uri="{FF2B5EF4-FFF2-40B4-BE49-F238E27FC236}">
                <a16:creationId xmlns:a16="http://schemas.microsoft.com/office/drawing/2014/main" id="{6B9DFBA5-6368-E88D-F954-303827B967AA}"/>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1" name="Straight Connector 20">
            <a:extLst>
              <a:ext uri="{FF2B5EF4-FFF2-40B4-BE49-F238E27FC236}">
                <a16:creationId xmlns:a16="http://schemas.microsoft.com/office/drawing/2014/main" id="{CBCA33FC-6477-AF5A-96D4-D19326027125}"/>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2" name="Straight Connector 21">
            <a:extLst>
              <a:ext uri="{FF2B5EF4-FFF2-40B4-BE49-F238E27FC236}">
                <a16:creationId xmlns:a16="http://schemas.microsoft.com/office/drawing/2014/main" id="{80C177B4-08C2-9D46-5865-01B97843C4A5}"/>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3" name="Straight Connector 22">
            <a:extLst>
              <a:ext uri="{FF2B5EF4-FFF2-40B4-BE49-F238E27FC236}">
                <a16:creationId xmlns:a16="http://schemas.microsoft.com/office/drawing/2014/main" id="{F31554C6-10CE-9B15-DA4E-05C3BC11AD28}"/>
              </a:ext>
            </a:extLst>
          </p:cNvPr>
          <p:cNvCxnSpPr/>
          <p:nvPr userDrawn="1"/>
        </p:nvCxnSpPr>
        <p:spPr>
          <a:xfrm flipH="1">
            <a:off x="5312664" y="452628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4" name="Straight Connector 23">
            <a:extLst>
              <a:ext uri="{FF2B5EF4-FFF2-40B4-BE49-F238E27FC236}">
                <a16:creationId xmlns:a16="http://schemas.microsoft.com/office/drawing/2014/main" id="{6050109D-8698-D08D-52C2-FDE559507E6D}"/>
              </a:ext>
            </a:extLst>
          </p:cNvPr>
          <p:cNvCxnSpPr/>
          <p:nvPr userDrawn="1"/>
        </p:nvCxnSpPr>
        <p:spPr>
          <a:xfrm flipH="1">
            <a:off x="5312664" y="504748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5" name="Straight Connector 24">
            <a:extLst>
              <a:ext uri="{FF2B5EF4-FFF2-40B4-BE49-F238E27FC236}">
                <a16:creationId xmlns:a16="http://schemas.microsoft.com/office/drawing/2014/main" id="{9366AA3D-683E-4B15-5588-B08FD89C2E96}"/>
              </a:ext>
            </a:extLst>
          </p:cNvPr>
          <p:cNvCxnSpPr/>
          <p:nvPr userDrawn="1"/>
        </p:nvCxnSpPr>
        <p:spPr>
          <a:xfrm flipH="1">
            <a:off x="5312664" y="55626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40" name="Text Placeholder 39">
            <a:extLst>
              <a:ext uri="{FF2B5EF4-FFF2-40B4-BE49-F238E27FC236}">
                <a16:creationId xmlns:a16="http://schemas.microsoft.com/office/drawing/2014/main" id="{E2CBECA9-CA46-46FC-7794-5A9FE543CCDB}"/>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41" name="Text Placeholder 39">
            <a:extLst>
              <a:ext uri="{FF2B5EF4-FFF2-40B4-BE49-F238E27FC236}">
                <a16:creationId xmlns:a16="http://schemas.microsoft.com/office/drawing/2014/main" id="{2D30B758-7E0D-C0DA-97E2-A72168BC4B23}"/>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42" name="Text Placeholder 39">
            <a:extLst>
              <a:ext uri="{FF2B5EF4-FFF2-40B4-BE49-F238E27FC236}">
                <a16:creationId xmlns:a16="http://schemas.microsoft.com/office/drawing/2014/main" id="{70FC90D5-536F-3E28-21EA-30CDF1035621}"/>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43" name="Text Placeholder 39">
            <a:extLst>
              <a:ext uri="{FF2B5EF4-FFF2-40B4-BE49-F238E27FC236}">
                <a16:creationId xmlns:a16="http://schemas.microsoft.com/office/drawing/2014/main" id="{D060757D-35BA-A819-7663-14527A16BE9A}"/>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44" name="Text Placeholder 39">
            <a:extLst>
              <a:ext uri="{FF2B5EF4-FFF2-40B4-BE49-F238E27FC236}">
                <a16:creationId xmlns:a16="http://schemas.microsoft.com/office/drawing/2014/main" id="{B912733E-F0E5-CF74-1FA9-9FC280FCE2D8}"/>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45" name="Text Placeholder 39">
            <a:extLst>
              <a:ext uri="{FF2B5EF4-FFF2-40B4-BE49-F238E27FC236}">
                <a16:creationId xmlns:a16="http://schemas.microsoft.com/office/drawing/2014/main" id="{9A1A9A09-CCCD-C80F-1B7A-08D15BCD89CE}"/>
              </a:ext>
            </a:extLst>
          </p:cNvPr>
          <p:cNvSpPr>
            <a:spLocks noGrp="1"/>
          </p:cNvSpPr>
          <p:nvPr>
            <p:ph type="body" sz="quarter" idx="15" hasCustomPrompt="1"/>
          </p:nvPr>
        </p:nvSpPr>
        <p:spPr>
          <a:xfrm>
            <a:off x="5312664" y="4572000"/>
            <a:ext cx="996950" cy="430212"/>
          </a:xfrm>
          <a:noFill/>
          <a:ln>
            <a:noFill/>
          </a:ln>
        </p:spPr>
        <p:txBody>
          <a:bodyPr>
            <a:normAutofit/>
          </a:bodyPr>
          <a:lstStyle>
            <a:lvl1pPr>
              <a:defRPr sz="2800">
                <a:solidFill>
                  <a:schemeClr val="bg1"/>
                </a:solidFill>
              </a:defRPr>
            </a:lvl1pPr>
          </a:lstStyle>
          <a:p>
            <a:pPr lvl="0"/>
            <a:r>
              <a:rPr lang="en-US"/>
              <a:t>06</a:t>
            </a:r>
          </a:p>
        </p:txBody>
      </p:sp>
      <p:sp>
        <p:nvSpPr>
          <p:cNvPr id="46" name="Text Placeholder 39">
            <a:extLst>
              <a:ext uri="{FF2B5EF4-FFF2-40B4-BE49-F238E27FC236}">
                <a16:creationId xmlns:a16="http://schemas.microsoft.com/office/drawing/2014/main" id="{19E8923D-3CD4-44E9-90BE-9849BB275B46}"/>
              </a:ext>
            </a:extLst>
          </p:cNvPr>
          <p:cNvSpPr>
            <a:spLocks noGrp="1"/>
          </p:cNvSpPr>
          <p:nvPr>
            <p:ph type="body" sz="quarter" idx="16" hasCustomPrompt="1"/>
          </p:nvPr>
        </p:nvSpPr>
        <p:spPr>
          <a:xfrm>
            <a:off x="5312664" y="5093208"/>
            <a:ext cx="996950" cy="430212"/>
          </a:xfrm>
          <a:noFill/>
          <a:ln>
            <a:noFill/>
          </a:ln>
        </p:spPr>
        <p:txBody>
          <a:bodyPr>
            <a:normAutofit/>
          </a:bodyPr>
          <a:lstStyle>
            <a:lvl1pPr>
              <a:defRPr sz="2800">
                <a:solidFill>
                  <a:schemeClr val="bg1"/>
                </a:solidFill>
              </a:defRPr>
            </a:lvl1pPr>
          </a:lstStyle>
          <a:p>
            <a:pPr lvl="0"/>
            <a:r>
              <a:rPr lang="en-US"/>
              <a:t>07</a:t>
            </a:r>
          </a:p>
        </p:txBody>
      </p:sp>
      <p:sp>
        <p:nvSpPr>
          <p:cNvPr id="47" name="Text Placeholder 39">
            <a:extLst>
              <a:ext uri="{FF2B5EF4-FFF2-40B4-BE49-F238E27FC236}">
                <a16:creationId xmlns:a16="http://schemas.microsoft.com/office/drawing/2014/main" id="{E345F7FB-748D-3448-30F4-3180075600D1}"/>
              </a:ext>
            </a:extLst>
          </p:cNvPr>
          <p:cNvSpPr>
            <a:spLocks noGrp="1"/>
          </p:cNvSpPr>
          <p:nvPr>
            <p:ph type="body" sz="quarter" idx="17" hasCustomPrompt="1"/>
          </p:nvPr>
        </p:nvSpPr>
        <p:spPr>
          <a:xfrm>
            <a:off x="5312664" y="5614416"/>
            <a:ext cx="996950" cy="430212"/>
          </a:xfrm>
          <a:noFill/>
          <a:ln>
            <a:noFill/>
          </a:ln>
        </p:spPr>
        <p:txBody>
          <a:bodyPr>
            <a:normAutofit/>
          </a:bodyPr>
          <a:lstStyle>
            <a:lvl1pPr>
              <a:defRPr sz="2800">
                <a:solidFill>
                  <a:schemeClr val="bg1"/>
                </a:solidFill>
              </a:defRPr>
            </a:lvl1pPr>
          </a:lstStyle>
          <a:p>
            <a:pPr lvl="0"/>
            <a:r>
              <a:rPr lang="en-US"/>
              <a:t>08</a:t>
            </a:r>
          </a:p>
        </p:txBody>
      </p:sp>
      <p:sp>
        <p:nvSpPr>
          <p:cNvPr id="50" name="Text Placeholder 39">
            <a:extLst>
              <a:ext uri="{FF2B5EF4-FFF2-40B4-BE49-F238E27FC236}">
                <a16:creationId xmlns:a16="http://schemas.microsoft.com/office/drawing/2014/main" id="{51D0229B-A7D8-CCDE-811F-0A0B4491BC00}"/>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1" name="Text Placeholder 39">
            <a:extLst>
              <a:ext uri="{FF2B5EF4-FFF2-40B4-BE49-F238E27FC236}">
                <a16:creationId xmlns:a16="http://schemas.microsoft.com/office/drawing/2014/main" id="{E2053B38-6070-9530-7A9F-0D8F15AF0403}"/>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2" name="Text Placeholder 39">
            <a:extLst>
              <a:ext uri="{FF2B5EF4-FFF2-40B4-BE49-F238E27FC236}">
                <a16:creationId xmlns:a16="http://schemas.microsoft.com/office/drawing/2014/main" id="{A2F8C8C8-1352-F219-3BAA-7BC7252B77B7}"/>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3" name="Text Placeholder 39">
            <a:extLst>
              <a:ext uri="{FF2B5EF4-FFF2-40B4-BE49-F238E27FC236}">
                <a16:creationId xmlns:a16="http://schemas.microsoft.com/office/drawing/2014/main" id="{6C756CB9-21BC-666B-2D62-983CD6D15EFF}"/>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4" name="Text Placeholder 39">
            <a:extLst>
              <a:ext uri="{FF2B5EF4-FFF2-40B4-BE49-F238E27FC236}">
                <a16:creationId xmlns:a16="http://schemas.microsoft.com/office/drawing/2014/main" id="{06E4614F-45BB-9DF5-B59C-9D55B7AF89C9}"/>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5" name="Text Placeholder 39">
            <a:extLst>
              <a:ext uri="{FF2B5EF4-FFF2-40B4-BE49-F238E27FC236}">
                <a16:creationId xmlns:a16="http://schemas.microsoft.com/office/drawing/2014/main" id="{7D3A9DDF-A5EA-FF80-9E63-A3C735CA9B33}"/>
              </a:ext>
            </a:extLst>
          </p:cNvPr>
          <p:cNvSpPr>
            <a:spLocks noGrp="1"/>
          </p:cNvSpPr>
          <p:nvPr>
            <p:ph type="body" sz="quarter" idx="23" hasCustomPrompt="1"/>
          </p:nvPr>
        </p:nvSpPr>
        <p:spPr>
          <a:xfrm>
            <a:off x="6400800" y="457200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6" name="Text Placeholder 39">
            <a:extLst>
              <a:ext uri="{FF2B5EF4-FFF2-40B4-BE49-F238E27FC236}">
                <a16:creationId xmlns:a16="http://schemas.microsoft.com/office/drawing/2014/main" id="{69ED4F07-CD14-AADD-1EED-A132C8C63A3D}"/>
              </a:ext>
            </a:extLst>
          </p:cNvPr>
          <p:cNvSpPr>
            <a:spLocks noGrp="1"/>
          </p:cNvSpPr>
          <p:nvPr>
            <p:ph type="body" sz="quarter" idx="24" hasCustomPrompt="1"/>
          </p:nvPr>
        </p:nvSpPr>
        <p:spPr>
          <a:xfrm>
            <a:off x="6400800" y="509320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7" name="Text Placeholder 39">
            <a:extLst>
              <a:ext uri="{FF2B5EF4-FFF2-40B4-BE49-F238E27FC236}">
                <a16:creationId xmlns:a16="http://schemas.microsoft.com/office/drawing/2014/main" id="{6FCC2A08-0137-67BD-B3D4-89722CEC2799}"/>
              </a:ext>
            </a:extLst>
          </p:cNvPr>
          <p:cNvSpPr>
            <a:spLocks noGrp="1"/>
          </p:cNvSpPr>
          <p:nvPr>
            <p:ph type="body" sz="quarter" idx="25" hasCustomPrompt="1"/>
          </p:nvPr>
        </p:nvSpPr>
        <p:spPr>
          <a:xfrm>
            <a:off x="6400800" y="5614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42685408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layout 2">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7" name="Slide Number Placeholder 1">
            <a:extLst>
              <a:ext uri="{FF2B5EF4-FFF2-40B4-BE49-F238E27FC236}">
                <a16:creationId xmlns:a16="http://schemas.microsoft.com/office/drawing/2014/main" id="{B718CDCC-D8DC-B0D6-1BD9-921E8D4874E6}"/>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
        <p:nvSpPr>
          <p:cNvPr id="64" name="Title Placeholder 13">
            <a:extLst>
              <a:ext uri="{FF2B5EF4-FFF2-40B4-BE49-F238E27FC236}">
                <a16:creationId xmlns:a16="http://schemas.microsoft.com/office/drawing/2014/main" id="{6EB62A34-548B-BEDA-D7A4-52B80F28F6F6}"/>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cxnSp>
        <p:nvCxnSpPr>
          <p:cNvPr id="65" name="Straight Connector 64">
            <a:extLst>
              <a:ext uri="{FF2B5EF4-FFF2-40B4-BE49-F238E27FC236}">
                <a16:creationId xmlns:a16="http://schemas.microsoft.com/office/drawing/2014/main" id="{E7C0E53A-2A85-E8F8-E26B-976181F90D07}"/>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6" name="Straight Connector 65">
            <a:extLst>
              <a:ext uri="{FF2B5EF4-FFF2-40B4-BE49-F238E27FC236}">
                <a16:creationId xmlns:a16="http://schemas.microsoft.com/office/drawing/2014/main" id="{5DC6CB0C-179F-81EB-02CE-0106DE1166AC}"/>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7" name="Straight Connector 66">
            <a:extLst>
              <a:ext uri="{FF2B5EF4-FFF2-40B4-BE49-F238E27FC236}">
                <a16:creationId xmlns:a16="http://schemas.microsoft.com/office/drawing/2014/main" id="{C8128A8F-98D7-3341-3CA5-E7A3743FDCDD}"/>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8" name="Straight Connector 67">
            <a:extLst>
              <a:ext uri="{FF2B5EF4-FFF2-40B4-BE49-F238E27FC236}">
                <a16:creationId xmlns:a16="http://schemas.microsoft.com/office/drawing/2014/main" id="{55CC3607-E7CC-FDEC-B87C-D626258DA100}"/>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9" name="Straight Connector 68">
            <a:extLst>
              <a:ext uri="{FF2B5EF4-FFF2-40B4-BE49-F238E27FC236}">
                <a16:creationId xmlns:a16="http://schemas.microsoft.com/office/drawing/2014/main" id="{9409FA13-0EB3-DAC4-D8E9-678F17AE1D62}"/>
              </a:ext>
            </a:extLst>
          </p:cNvPr>
          <p:cNvCxnSpPr/>
          <p:nvPr userDrawn="1"/>
        </p:nvCxnSpPr>
        <p:spPr>
          <a:xfrm flipH="1">
            <a:off x="5312664" y="452628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70" name="Straight Connector 69">
            <a:extLst>
              <a:ext uri="{FF2B5EF4-FFF2-40B4-BE49-F238E27FC236}">
                <a16:creationId xmlns:a16="http://schemas.microsoft.com/office/drawing/2014/main" id="{DD676B04-EEFF-230F-5D92-ADB493448432}"/>
              </a:ext>
            </a:extLst>
          </p:cNvPr>
          <p:cNvCxnSpPr/>
          <p:nvPr userDrawn="1"/>
        </p:nvCxnSpPr>
        <p:spPr>
          <a:xfrm flipH="1">
            <a:off x="5312664" y="504748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71" name="Straight Connector 70">
            <a:extLst>
              <a:ext uri="{FF2B5EF4-FFF2-40B4-BE49-F238E27FC236}">
                <a16:creationId xmlns:a16="http://schemas.microsoft.com/office/drawing/2014/main" id="{538D5F85-D448-7E5B-BDB5-0A4968D63F33}"/>
              </a:ext>
            </a:extLst>
          </p:cNvPr>
          <p:cNvCxnSpPr/>
          <p:nvPr userDrawn="1"/>
        </p:nvCxnSpPr>
        <p:spPr>
          <a:xfrm flipH="1">
            <a:off x="5312664" y="55626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72" name="Text Placeholder 39">
            <a:extLst>
              <a:ext uri="{FF2B5EF4-FFF2-40B4-BE49-F238E27FC236}">
                <a16:creationId xmlns:a16="http://schemas.microsoft.com/office/drawing/2014/main" id="{07E73D03-5863-56DB-D568-6AB728944129}"/>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73" name="Text Placeholder 39">
            <a:extLst>
              <a:ext uri="{FF2B5EF4-FFF2-40B4-BE49-F238E27FC236}">
                <a16:creationId xmlns:a16="http://schemas.microsoft.com/office/drawing/2014/main" id="{EE959897-51AA-1BAA-0F53-BDCF2828B8C9}"/>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74" name="Text Placeholder 39">
            <a:extLst>
              <a:ext uri="{FF2B5EF4-FFF2-40B4-BE49-F238E27FC236}">
                <a16:creationId xmlns:a16="http://schemas.microsoft.com/office/drawing/2014/main" id="{B456E000-7E49-11B1-C77A-0DA997F4D5EB}"/>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75" name="Text Placeholder 39">
            <a:extLst>
              <a:ext uri="{FF2B5EF4-FFF2-40B4-BE49-F238E27FC236}">
                <a16:creationId xmlns:a16="http://schemas.microsoft.com/office/drawing/2014/main" id="{3C4EF879-36E0-FF43-913F-0E9A02BA1201}"/>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76" name="Text Placeholder 39">
            <a:extLst>
              <a:ext uri="{FF2B5EF4-FFF2-40B4-BE49-F238E27FC236}">
                <a16:creationId xmlns:a16="http://schemas.microsoft.com/office/drawing/2014/main" id="{518D1BC5-FA3F-4F93-FEE1-CB7B86723DE8}"/>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77" name="Text Placeholder 39">
            <a:extLst>
              <a:ext uri="{FF2B5EF4-FFF2-40B4-BE49-F238E27FC236}">
                <a16:creationId xmlns:a16="http://schemas.microsoft.com/office/drawing/2014/main" id="{F324FD2B-6ABE-7CE4-0191-5185B3BAFF4B}"/>
              </a:ext>
            </a:extLst>
          </p:cNvPr>
          <p:cNvSpPr>
            <a:spLocks noGrp="1"/>
          </p:cNvSpPr>
          <p:nvPr>
            <p:ph type="body" sz="quarter" idx="15" hasCustomPrompt="1"/>
          </p:nvPr>
        </p:nvSpPr>
        <p:spPr>
          <a:xfrm>
            <a:off x="5312664" y="4572000"/>
            <a:ext cx="996950" cy="430212"/>
          </a:xfrm>
          <a:noFill/>
          <a:ln>
            <a:noFill/>
          </a:ln>
        </p:spPr>
        <p:txBody>
          <a:bodyPr>
            <a:normAutofit/>
          </a:bodyPr>
          <a:lstStyle>
            <a:lvl1pPr>
              <a:defRPr sz="2800">
                <a:solidFill>
                  <a:schemeClr val="bg1"/>
                </a:solidFill>
              </a:defRPr>
            </a:lvl1pPr>
          </a:lstStyle>
          <a:p>
            <a:pPr lvl="0"/>
            <a:r>
              <a:rPr lang="en-US"/>
              <a:t>06</a:t>
            </a:r>
          </a:p>
        </p:txBody>
      </p:sp>
      <p:sp>
        <p:nvSpPr>
          <p:cNvPr id="78" name="Text Placeholder 39">
            <a:extLst>
              <a:ext uri="{FF2B5EF4-FFF2-40B4-BE49-F238E27FC236}">
                <a16:creationId xmlns:a16="http://schemas.microsoft.com/office/drawing/2014/main" id="{06F73631-0C79-EE6F-6A24-6F2CB7E4239F}"/>
              </a:ext>
            </a:extLst>
          </p:cNvPr>
          <p:cNvSpPr>
            <a:spLocks noGrp="1"/>
          </p:cNvSpPr>
          <p:nvPr>
            <p:ph type="body" sz="quarter" idx="16" hasCustomPrompt="1"/>
          </p:nvPr>
        </p:nvSpPr>
        <p:spPr>
          <a:xfrm>
            <a:off x="5312664" y="5093208"/>
            <a:ext cx="996950" cy="430212"/>
          </a:xfrm>
          <a:noFill/>
          <a:ln>
            <a:noFill/>
          </a:ln>
        </p:spPr>
        <p:txBody>
          <a:bodyPr>
            <a:normAutofit/>
          </a:bodyPr>
          <a:lstStyle>
            <a:lvl1pPr>
              <a:defRPr sz="2800">
                <a:solidFill>
                  <a:schemeClr val="bg1"/>
                </a:solidFill>
              </a:defRPr>
            </a:lvl1pPr>
          </a:lstStyle>
          <a:p>
            <a:pPr lvl="0"/>
            <a:r>
              <a:rPr lang="en-US"/>
              <a:t>07</a:t>
            </a:r>
          </a:p>
        </p:txBody>
      </p:sp>
      <p:sp>
        <p:nvSpPr>
          <p:cNvPr id="79" name="Text Placeholder 39">
            <a:extLst>
              <a:ext uri="{FF2B5EF4-FFF2-40B4-BE49-F238E27FC236}">
                <a16:creationId xmlns:a16="http://schemas.microsoft.com/office/drawing/2014/main" id="{D4BFECB8-B272-4E27-73A6-DD1EB09622D1}"/>
              </a:ext>
            </a:extLst>
          </p:cNvPr>
          <p:cNvSpPr>
            <a:spLocks noGrp="1"/>
          </p:cNvSpPr>
          <p:nvPr>
            <p:ph type="body" sz="quarter" idx="17" hasCustomPrompt="1"/>
          </p:nvPr>
        </p:nvSpPr>
        <p:spPr>
          <a:xfrm>
            <a:off x="5312664" y="5614416"/>
            <a:ext cx="996950" cy="430212"/>
          </a:xfrm>
          <a:noFill/>
          <a:ln>
            <a:noFill/>
          </a:ln>
        </p:spPr>
        <p:txBody>
          <a:bodyPr>
            <a:normAutofit/>
          </a:bodyPr>
          <a:lstStyle>
            <a:lvl1pPr>
              <a:defRPr sz="2800">
                <a:solidFill>
                  <a:schemeClr val="bg1"/>
                </a:solidFill>
              </a:defRPr>
            </a:lvl1pPr>
          </a:lstStyle>
          <a:p>
            <a:pPr lvl="0"/>
            <a:r>
              <a:rPr lang="en-US"/>
              <a:t>08</a:t>
            </a:r>
          </a:p>
        </p:txBody>
      </p:sp>
      <p:sp>
        <p:nvSpPr>
          <p:cNvPr id="80" name="Text Placeholder 39">
            <a:extLst>
              <a:ext uri="{FF2B5EF4-FFF2-40B4-BE49-F238E27FC236}">
                <a16:creationId xmlns:a16="http://schemas.microsoft.com/office/drawing/2014/main" id="{3909EADE-A5FA-971F-AF65-A48123991355}"/>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1" name="Text Placeholder 39">
            <a:extLst>
              <a:ext uri="{FF2B5EF4-FFF2-40B4-BE49-F238E27FC236}">
                <a16:creationId xmlns:a16="http://schemas.microsoft.com/office/drawing/2014/main" id="{8E045A1E-A07D-3C8A-C6B9-FA131E0B3B38}"/>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2" name="Text Placeholder 39">
            <a:extLst>
              <a:ext uri="{FF2B5EF4-FFF2-40B4-BE49-F238E27FC236}">
                <a16:creationId xmlns:a16="http://schemas.microsoft.com/office/drawing/2014/main" id="{FDF63BA5-591D-F3A6-BB3D-C74753EE1120}"/>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3" name="Text Placeholder 39">
            <a:extLst>
              <a:ext uri="{FF2B5EF4-FFF2-40B4-BE49-F238E27FC236}">
                <a16:creationId xmlns:a16="http://schemas.microsoft.com/office/drawing/2014/main" id="{5F96C7D4-5F77-30AD-13E2-6D08A59A5B11}"/>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4" name="Text Placeholder 39">
            <a:extLst>
              <a:ext uri="{FF2B5EF4-FFF2-40B4-BE49-F238E27FC236}">
                <a16:creationId xmlns:a16="http://schemas.microsoft.com/office/drawing/2014/main" id="{C8CDEF22-E859-45D9-BF9C-BBB18933EF4C}"/>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5" name="Text Placeholder 39">
            <a:extLst>
              <a:ext uri="{FF2B5EF4-FFF2-40B4-BE49-F238E27FC236}">
                <a16:creationId xmlns:a16="http://schemas.microsoft.com/office/drawing/2014/main" id="{F99BC4FF-602B-1EE0-5635-292F58CAF3C0}"/>
              </a:ext>
            </a:extLst>
          </p:cNvPr>
          <p:cNvSpPr>
            <a:spLocks noGrp="1"/>
          </p:cNvSpPr>
          <p:nvPr>
            <p:ph type="body" sz="quarter" idx="23" hasCustomPrompt="1"/>
          </p:nvPr>
        </p:nvSpPr>
        <p:spPr>
          <a:xfrm>
            <a:off x="6400800" y="457200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6" name="Text Placeholder 39">
            <a:extLst>
              <a:ext uri="{FF2B5EF4-FFF2-40B4-BE49-F238E27FC236}">
                <a16:creationId xmlns:a16="http://schemas.microsoft.com/office/drawing/2014/main" id="{F90BF824-AB0C-19AB-212C-A4BAEAB974FA}"/>
              </a:ext>
            </a:extLst>
          </p:cNvPr>
          <p:cNvSpPr>
            <a:spLocks noGrp="1"/>
          </p:cNvSpPr>
          <p:nvPr>
            <p:ph type="body" sz="quarter" idx="24" hasCustomPrompt="1"/>
          </p:nvPr>
        </p:nvSpPr>
        <p:spPr>
          <a:xfrm>
            <a:off x="6400800" y="509320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7" name="Text Placeholder 39">
            <a:extLst>
              <a:ext uri="{FF2B5EF4-FFF2-40B4-BE49-F238E27FC236}">
                <a16:creationId xmlns:a16="http://schemas.microsoft.com/office/drawing/2014/main" id="{92FE9B89-8F64-6D51-8E2B-A18271F4BC20}"/>
              </a:ext>
            </a:extLst>
          </p:cNvPr>
          <p:cNvSpPr>
            <a:spLocks noGrp="1"/>
          </p:cNvSpPr>
          <p:nvPr>
            <p:ph type="body" sz="quarter" idx="25" hasCustomPrompt="1"/>
          </p:nvPr>
        </p:nvSpPr>
        <p:spPr>
          <a:xfrm>
            <a:off x="6400800" y="5614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309492931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layout 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
        <p:nvSpPr>
          <p:cNvPr id="7" name="Slide Number Placeholder 1">
            <a:extLst>
              <a:ext uri="{FF2B5EF4-FFF2-40B4-BE49-F238E27FC236}">
                <a16:creationId xmlns:a16="http://schemas.microsoft.com/office/drawing/2014/main" id="{1A9ACDF7-C8FC-B221-9C32-53F084C66403}"/>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448E2F0A-EB88-3AEB-AA37-140D830BCC44}"/>
              </a:ext>
            </a:extLst>
          </p:cNvPr>
          <p:cNvGrpSpPr/>
          <p:nvPr userDrawn="1"/>
        </p:nvGrpSpPr>
        <p:grpSpPr>
          <a:xfrm>
            <a:off x="10863102" y="309052"/>
            <a:ext cx="911847" cy="382707"/>
            <a:chOff x="7459170" y="481236"/>
            <a:chExt cx="2697427" cy="1132124"/>
          </a:xfrm>
          <a:solidFill>
            <a:schemeClr val="bg1"/>
          </a:solidFill>
        </p:grpSpPr>
        <p:sp>
          <p:nvSpPr>
            <p:cNvPr id="16" name="Freeform 3">
              <a:extLst>
                <a:ext uri="{FF2B5EF4-FFF2-40B4-BE49-F238E27FC236}">
                  <a16:creationId xmlns:a16="http://schemas.microsoft.com/office/drawing/2014/main" id="{04065129-0703-3780-A5B0-57A494D305D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17" name="Freeform 7">
              <a:extLst>
                <a:ext uri="{FF2B5EF4-FFF2-40B4-BE49-F238E27FC236}">
                  <a16:creationId xmlns:a16="http://schemas.microsoft.com/office/drawing/2014/main" id="{B4B772F5-39B3-38AE-EDD9-52228969E35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18" name="Freeform 8">
              <a:extLst>
                <a:ext uri="{FF2B5EF4-FFF2-40B4-BE49-F238E27FC236}">
                  <a16:creationId xmlns:a16="http://schemas.microsoft.com/office/drawing/2014/main" id="{0E6544EE-DD5E-3AAB-A057-AFCAABDAD3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9" name="Freeform 10">
              <a:extLst>
                <a:ext uri="{FF2B5EF4-FFF2-40B4-BE49-F238E27FC236}">
                  <a16:creationId xmlns:a16="http://schemas.microsoft.com/office/drawing/2014/main" id="{3D59632F-0E27-53F5-C71D-FDB41E68C4B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0" name="Freeform 11">
              <a:extLst>
                <a:ext uri="{FF2B5EF4-FFF2-40B4-BE49-F238E27FC236}">
                  <a16:creationId xmlns:a16="http://schemas.microsoft.com/office/drawing/2014/main" id="{010B2E46-F5AC-6F89-3970-D1B425D07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21" name="Freeform 12">
              <a:extLst>
                <a:ext uri="{FF2B5EF4-FFF2-40B4-BE49-F238E27FC236}">
                  <a16:creationId xmlns:a16="http://schemas.microsoft.com/office/drawing/2014/main" id="{BD0F27C4-5895-9BF1-019A-71F3FB089C5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22" name="Freeform 13">
              <a:extLst>
                <a:ext uri="{FF2B5EF4-FFF2-40B4-BE49-F238E27FC236}">
                  <a16:creationId xmlns:a16="http://schemas.microsoft.com/office/drawing/2014/main" id="{23628B6A-984E-A1C0-58C8-AA6F7EC0554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39" name="Title Placeholder 13">
            <a:extLst>
              <a:ext uri="{FF2B5EF4-FFF2-40B4-BE49-F238E27FC236}">
                <a16:creationId xmlns:a16="http://schemas.microsoft.com/office/drawing/2014/main" id="{1E72F3D2-E81D-A9FB-3CB5-3387E2019C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cxnSp>
        <p:nvCxnSpPr>
          <p:cNvPr id="40" name="Straight Connector 39">
            <a:extLst>
              <a:ext uri="{FF2B5EF4-FFF2-40B4-BE49-F238E27FC236}">
                <a16:creationId xmlns:a16="http://schemas.microsoft.com/office/drawing/2014/main" id="{589C69E9-A795-305D-BF66-7F44A3A8D0C9}"/>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1" name="Straight Connector 40">
            <a:extLst>
              <a:ext uri="{FF2B5EF4-FFF2-40B4-BE49-F238E27FC236}">
                <a16:creationId xmlns:a16="http://schemas.microsoft.com/office/drawing/2014/main" id="{E50D317A-E0E8-05E8-9522-7F5256B2148E}"/>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2" name="Straight Connector 41">
            <a:extLst>
              <a:ext uri="{FF2B5EF4-FFF2-40B4-BE49-F238E27FC236}">
                <a16:creationId xmlns:a16="http://schemas.microsoft.com/office/drawing/2014/main" id="{6CF0A759-7682-27AA-DB35-878B76242D34}"/>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3" name="Straight Connector 42">
            <a:extLst>
              <a:ext uri="{FF2B5EF4-FFF2-40B4-BE49-F238E27FC236}">
                <a16:creationId xmlns:a16="http://schemas.microsoft.com/office/drawing/2014/main" id="{0D9B7AC4-54F8-A38F-D4D0-7E8FA955A383}"/>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4" name="Straight Connector 43">
            <a:extLst>
              <a:ext uri="{FF2B5EF4-FFF2-40B4-BE49-F238E27FC236}">
                <a16:creationId xmlns:a16="http://schemas.microsoft.com/office/drawing/2014/main" id="{443B685A-8374-78D2-2D03-8B69291B85DD}"/>
              </a:ext>
            </a:extLst>
          </p:cNvPr>
          <p:cNvCxnSpPr/>
          <p:nvPr userDrawn="1"/>
        </p:nvCxnSpPr>
        <p:spPr>
          <a:xfrm flipH="1">
            <a:off x="5312664" y="452628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5" name="Straight Connector 44">
            <a:extLst>
              <a:ext uri="{FF2B5EF4-FFF2-40B4-BE49-F238E27FC236}">
                <a16:creationId xmlns:a16="http://schemas.microsoft.com/office/drawing/2014/main" id="{58EE9976-E554-5337-0E5E-A938F9BDAC19}"/>
              </a:ext>
            </a:extLst>
          </p:cNvPr>
          <p:cNvCxnSpPr/>
          <p:nvPr userDrawn="1"/>
        </p:nvCxnSpPr>
        <p:spPr>
          <a:xfrm flipH="1">
            <a:off x="5312664" y="504748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6" name="Straight Connector 45">
            <a:extLst>
              <a:ext uri="{FF2B5EF4-FFF2-40B4-BE49-F238E27FC236}">
                <a16:creationId xmlns:a16="http://schemas.microsoft.com/office/drawing/2014/main" id="{DE4646BF-8103-2DEA-5959-1AA24B826CC3}"/>
              </a:ext>
            </a:extLst>
          </p:cNvPr>
          <p:cNvCxnSpPr/>
          <p:nvPr userDrawn="1"/>
        </p:nvCxnSpPr>
        <p:spPr>
          <a:xfrm flipH="1">
            <a:off x="5312664" y="55626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47" name="Text Placeholder 39">
            <a:extLst>
              <a:ext uri="{FF2B5EF4-FFF2-40B4-BE49-F238E27FC236}">
                <a16:creationId xmlns:a16="http://schemas.microsoft.com/office/drawing/2014/main" id="{5FAA3E12-835D-E655-78D0-ADCECA89DFC9}"/>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48" name="Text Placeholder 39">
            <a:extLst>
              <a:ext uri="{FF2B5EF4-FFF2-40B4-BE49-F238E27FC236}">
                <a16:creationId xmlns:a16="http://schemas.microsoft.com/office/drawing/2014/main" id="{3C9F545F-1136-4470-8F71-0DF7EC609D19}"/>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49" name="Text Placeholder 39">
            <a:extLst>
              <a:ext uri="{FF2B5EF4-FFF2-40B4-BE49-F238E27FC236}">
                <a16:creationId xmlns:a16="http://schemas.microsoft.com/office/drawing/2014/main" id="{E068F80C-D198-A21D-F3A1-6AFC13CE94AA}"/>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50" name="Text Placeholder 39">
            <a:extLst>
              <a:ext uri="{FF2B5EF4-FFF2-40B4-BE49-F238E27FC236}">
                <a16:creationId xmlns:a16="http://schemas.microsoft.com/office/drawing/2014/main" id="{445B268D-F6A1-4B4D-4148-702A352C3922}"/>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51" name="Text Placeholder 39">
            <a:extLst>
              <a:ext uri="{FF2B5EF4-FFF2-40B4-BE49-F238E27FC236}">
                <a16:creationId xmlns:a16="http://schemas.microsoft.com/office/drawing/2014/main" id="{15AAED45-F756-7524-01E4-AF583C645AB8}"/>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52" name="Text Placeholder 39">
            <a:extLst>
              <a:ext uri="{FF2B5EF4-FFF2-40B4-BE49-F238E27FC236}">
                <a16:creationId xmlns:a16="http://schemas.microsoft.com/office/drawing/2014/main" id="{08453C6B-C09A-F8C3-89BC-9A4E5C7835D8}"/>
              </a:ext>
            </a:extLst>
          </p:cNvPr>
          <p:cNvSpPr>
            <a:spLocks noGrp="1"/>
          </p:cNvSpPr>
          <p:nvPr>
            <p:ph type="body" sz="quarter" idx="15" hasCustomPrompt="1"/>
          </p:nvPr>
        </p:nvSpPr>
        <p:spPr>
          <a:xfrm>
            <a:off x="5312664" y="4572000"/>
            <a:ext cx="996950" cy="430212"/>
          </a:xfrm>
          <a:noFill/>
          <a:ln>
            <a:noFill/>
          </a:ln>
        </p:spPr>
        <p:txBody>
          <a:bodyPr>
            <a:normAutofit/>
          </a:bodyPr>
          <a:lstStyle>
            <a:lvl1pPr>
              <a:defRPr sz="2800">
                <a:solidFill>
                  <a:schemeClr val="bg1"/>
                </a:solidFill>
              </a:defRPr>
            </a:lvl1pPr>
          </a:lstStyle>
          <a:p>
            <a:pPr lvl="0"/>
            <a:r>
              <a:rPr lang="en-US"/>
              <a:t>06</a:t>
            </a:r>
          </a:p>
        </p:txBody>
      </p:sp>
      <p:sp>
        <p:nvSpPr>
          <p:cNvPr id="53" name="Text Placeholder 39">
            <a:extLst>
              <a:ext uri="{FF2B5EF4-FFF2-40B4-BE49-F238E27FC236}">
                <a16:creationId xmlns:a16="http://schemas.microsoft.com/office/drawing/2014/main" id="{01B7C4A6-4F1A-C7C0-9431-5DD51D86E0DF}"/>
              </a:ext>
            </a:extLst>
          </p:cNvPr>
          <p:cNvSpPr>
            <a:spLocks noGrp="1"/>
          </p:cNvSpPr>
          <p:nvPr>
            <p:ph type="body" sz="quarter" idx="16" hasCustomPrompt="1"/>
          </p:nvPr>
        </p:nvSpPr>
        <p:spPr>
          <a:xfrm>
            <a:off x="5312664" y="5093208"/>
            <a:ext cx="996950" cy="430212"/>
          </a:xfrm>
          <a:noFill/>
          <a:ln>
            <a:noFill/>
          </a:ln>
        </p:spPr>
        <p:txBody>
          <a:bodyPr>
            <a:normAutofit/>
          </a:bodyPr>
          <a:lstStyle>
            <a:lvl1pPr>
              <a:defRPr sz="2800">
                <a:solidFill>
                  <a:schemeClr val="bg1"/>
                </a:solidFill>
              </a:defRPr>
            </a:lvl1pPr>
          </a:lstStyle>
          <a:p>
            <a:pPr lvl="0"/>
            <a:r>
              <a:rPr lang="en-US"/>
              <a:t>07</a:t>
            </a:r>
          </a:p>
        </p:txBody>
      </p:sp>
      <p:sp>
        <p:nvSpPr>
          <p:cNvPr id="54" name="Text Placeholder 39">
            <a:extLst>
              <a:ext uri="{FF2B5EF4-FFF2-40B4-BE49-F238E27FC236}">
                <a16:creationId xmlns:a16="http://schemas.microsoft.com/office/drawing/2014/main" id="{8FB2E255-FD50-ADF4-4FA8-E3DE13073A0D}"/>
              </a:ext>
            </a:extLst>
          </p:cNvPr>
          <p:cNvSpPr>
            <a:spLocks noGrp="1"/>
          </p:cNvSpPr>
          <p:nvPr>
            <p:ph type="body" sz="quarter" idx="17" hasCustomPrompt="1"/>
          </p:nvPr>
        </p:nvSpPr>
        <p:spPr>
          <a:xfrm>
            <a:off x="5312664" y="5614416"/>
            <a:ext cx="996950" cy="430212"/>
          </a:xfrm>
          <a:noFill/>
          <a:ln>
            <a:noFill/>
          </a:ln>
        </p:spPr>
        <p:txBody>
          <a:bodyPr>
            <a:normAutofit/>
          </a:bodyPr>
          <a:lstStyle>
            <a:lvl1pPr>
              <a:defRPr sz="2800">
                <a:solidFill>
                  <a:schemeClr val="bg1"/>
                </a:solidFill>
              </a:defRPr>
            </a:lvl1pPr>
          </a:lstStyle>
          <a:p>
            <a:pPr lvl="0"/>
            <a:r>
              <a:rPr lang="en-US"/>
              <a:t>08</a:t>
            </a:r>
          </a:p>
        </p:txBody>
      </p:sp>
      <p:sp>
        <p:nvSpPr>
          <p:cNvPr id="55" name="Text Placeholder 39">
            <a:extLst>
              <a:ext uri="{FF2B5EF4-FFF2-40B4-BE49-F238E27FC236}">
                <a16:creationId xmlns:a16="http://schemas.microsoft.com/office/drawing/2014/main" id="{2D87C794-8C30-0DA4-DD94-B4FDC5FEC154}"/>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6" name="Text Placeholder 39">
            <a:extLst>
              <a:ext uri="{FF2B5EF4-FFF2-40B4-BE49-F238E27FC236}">
                <a16:creationId xmlns:a16="http://schemas.microsoft.com/office/drawing/2014/main" id="{7A34A8B9-CE39-8488-19E1-703536592FC2}"/>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7" name="Text Placeholder 39">
            <a:extLst>
              <a:ext uri="{FF2B5EF4-FFF2-40B4-BE49-F238E27FC236}">
                <a16:creationId xmlns:a16="http://schemas.microsoft.com/office/drawing/2014/main" id="{BAE10919-7160-E908-7649-70307CEA9356}"/>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8" name="Text Placeholder 39">
            <a:extLst>
              <a:ext uri="{FF2B5EF4-FFF2-40B4-BE49-F238E27FC236}">
                <a16:creationId xmlns:a16="http://schemas.microsoft.com/office/drawing/2014/main" id="{FADD6BC6-DEC9-9D0C-2CCC-D9B98B1660E4}"/>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9" name="Text Placeholder 39">
            <a:extLst>
              <a:ext uri="{FF2B5EF4-FFF2-40B4-BE49-F238E27FC236}">
                <a16:creationId xmlns:a16="http://schemas.microsoft.com/office/drawing/2014/main" id="{9174C0CB-1D27-C1EA-5B34-71B5F18EB9F0}"/>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0" name="Text Placeholder 39">
            <a:extLst>
              <a:ext uri="{FF2B5EF4-FFF2-40B4-BE49-F238E27FC236}">
                <a16:creationId xmlns:a16="http://schemas.microsoft.com/office/drawing/2014/main" id="{F2E5E1CF-5771-F08D-C35B-437B00CDFC28}"/>
              </a:ext>
            </a:extLst>
          </p:cNvPr>
          <p:cNvSpPr>
            <a:spLocks noGrp="1"/>
          </p:cNvSpPr>
          <p:nvPr>
            <p:ph type="body" sz="quarter" idx="23" hasCustomPrompt="1"/>
          </p:nvPr>
        </p:nvSpPr>
        <p:spPr>
          <a:xfrm>
            <a:off x="6400800" y="457200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1" name="Text Placeholder 39">
            <a:extLst>
              <a:ext uri="{FF2B5EF4-FFF2-40B4-BE49-F238E27FC236}">
                <a16:creationId xmlns:a16="http://schemas.microsoft.com/office/drawing/2014/main" id="{70198A42-ABED-7A3E-AB7D-E20627325196}"/>
              </a:ext>
            </a:extLst>
          </p:cNvPr>
          <p:cNvSpPr>
            <a:spLocks noGrp="1"/>
          </p:cNvSpPr>
          <p:nvPr>
            <p:ph type="body" sz="quarter" idx="24" hasCustomPrompt="1"/>
          </p:nvPr>
        </p:nvSpPr>
        <p:spPr>
          <a:xfrm>
            <a:off x="6400800" y="509320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2" name="Text Placeholder 39">
            <a:extLst>
              <a:ext uri="{FF2B5EF4-FFF2-40B4-BE49-F238E27FC236}">
                <a16:creationId xmlns:a16="http://schemas.microsoft.com/office/drawing/2014/main" id="{DE1E1CAD-7920-187A-B826-7E4A49A624FA}"/>
              </a:ext>
            </a:extLst>
          </p:cNvPr>
          <p:cNvSpPr>
            <a:spLocks noGrp="1"/>
          </p:cNvSpPr>
          <p:nvPr>
            <p:ph type="body" sz="quarter" idx="25" hasCustomPrompt="1"/>
          </p:nvPr>
        </p:nvSpPr>
        <p:spPr>
          <a:xfrm>
            <a:off x="6400800" y="5614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11863338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layout 4">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6BE8D818-BF4A-6255-2C9D-8D2A2D00690E}"/>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9" name="Slide Number Placeholder 2">
            <a:extLst>
              <a:ext uri="{FF2B5EF4-FFF2-40B4-BE49-F238E27FC236}">
                <a16:creationId xmlns:a16="http://schemas.microsoft.com/office/drawing/2014/main" id="{A3A49431-06D5-AE22-11F4-C7FE14BF169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4" name="Group 23">
            <a:extLst>
              <a:ext uri="{FF2B5EF4-FFF2-40B4-BE49-F238E27FC236}">
                <a16:creationId xmlns:a16="http://schemas.microsoft.com/office/drawing/2014/main" id="{0A0D3B85-ED5B-1E3D-DFC6-A1D7FF6706C3}"/>
              </a:ext>
            </a:extLst>
          </p:cNvPr>
          <p:cNvGrpSpPr/>
          <p:nvPr userDrawn="1"/>
        </p:nvGrpSpPr>
        <p:grpSpPr>
          <a:xfrm>
            <a:off x="10863102" y="309052"/>
            <a:ext cx="911847" cy="382707"/>
            <a:chOff x="7459170" y="481236"/>
            <a:chExt cx="2697427" cy="1132124"/>
          </a:xfrm>
          <a:solidFill>
            <a:schemeClr val="bg1"/>
          </a:solidFill>
        </p:grpSpPr>
        <p:sp>
          <p:nvSpPr>
            <p:cNvPr id="25" name="Freeform 24">
              <a:extLst>
                <a:ext uri="{FF2B5EF4-FFF2-40B4-BE49-F238E27FC236}">
                  <a16:creationId xmlns:a16="http://schemas.microsoft.com/office/drawing/2014/main" id="{B580446A-1135-33B9-3FAD-2870149BBF3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C26B99C1-1718-1756-8D39-8FEFE2C8793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E66819A6-6CA6-261D-3477-D0DA1E11900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8BF64F8-020F-932B-8EC5-818FBB297D0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4AA0F19-F799-C1C5-BB29-45EC36C8A9A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3489BCCD-110C-3447-0F8C-8E6174676DA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7FFDC9A-C4BA-580D-027F-A202C844C3F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3" name="Slide Number Placeholder 1">
            <a:extLst>
              <a:ext uri="{FF2B5EF4-FFF2-40B4-BE49-F238E27FC236}">
                <a16:creationId xmlns:a16="http://schemas.microsoft.com/office/drawing/2014/main" id="{2F0E98DC-8855-957B-075C-9476F2CB6AC0}"/>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
        <p:nvSpPr>
          <p:cNvPr id="39" name="Title Placeholder 13">
            <a:extLst>
              <a:ext uri="{FF2B5EF4-FFF2-40B4-BE49-F238E27FC236}">
                <a16:creationId xmlns:a16="http://schemas.microsoft.com/office/drawing/2014/main" id="{1C33E444-FA0F-D986-784C-71E4A797F5B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cxnSp>
        <p:nvCxnSpPr>
          <p:cNvPr id="40" name="Straight Connector 39">
            <a:extLst>
              <a:ext uri="{FF2B5EF4-FFF2-40B4-BE49-F238E27FC236}">
                <a16:creationId xmlns:a16="http://schemas.microsoft.com/office/drawing/2014/main" id="{9EAAEF78-5E53-87D8-9D93-0D1035872D9B}"/>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1" name="Straight Connector 40">
            <a:extLst>
              <a:ext uri="{FF2B5EF4-FFF2-40B4-BE49-F238E27FC236}">
                <a16:creationId xmlns:a16="http://schemas.microsoft.com/office/drawing/2014/main" id="{9A5D8CCC-D1C3-287B-1E63-82F6D70CE710}"/>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2" name="Straight Connector 41">
            <a:extLst>
              <a:ext uri="{FF2B5EF4-FFF2-40B4-BE49-F238E27FC236}">
                <a16:creationId xmlns:a16="http://schemas.microsoft.com/office/drawing/2014/main" id="{3867E2EB-7B83-C208-27BE-16E75566446A}"/>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3" name="Straight Connector 42">
            <a:extLst>
              <a:ext uri="{FF2B5EF4-FFF2-40B4-BE49-F238E27FC236}">
                <a16:creationId xmlns:a16="http://schemas.microsoft.com/office/drawing/2014/main" id="{C3E8CD87-5C72-E62A-E17A-032FB2AE3DF2}"/>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4" name="Straight Connector 43">
            <a:extLst>
              <a:ext uri="{FF2B5EF4-FFF2-40B4-BE49-F238E27FC236}">
                <a16:creationId xmlns:a16="http://schemas.microsoft.com/office/drawing/2014/main" id="{A6263FF5-B0BE-19EB-A815-E5FC3B104AFE}"/>
              </a:ext>
            </a:extLst>
          </p:cNvPr>
          <p:cNvCxnSpPr/>
          <p:nvPr userDrawn="1"/>
        </p:nvCxnSpPr>
        <p:spPr>
          <a:xfrm flipH="1">
            <a:off x="5312664" y="452628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5" name="Straight Connector 44">
            <a:extLst>
              <a:ext uri="{FF2B5EF4-FFF2-40B4-BE49-F238E27FC236}">
                <a16:creationId xmlns:a16="http://schemas.microsoft.com/office/drawing/2014/main" id="{78B7F650-F615-076D-72D4-FAC9D377C703}"/>
              </a:ext>
            </a:extLst>
          </p:cNvPr>
          <p:cNvCxnSpPr/>
          <p:nvPr userDrawn="1"/>
        </p:nvCxnSpPr>
        <p:spPr>
          <a:xfrm flipH="1">
            <a:off x="5312664" y="504748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6" name="Straight Connector 45">
            <a:extLst>
              <a:ext uri="{FF2B5EF4-FFF2-40B4-BE49-F238E27FC236}">
                <a16:creationId xmlns:a16="http://schemas.microsoft.com/office/drawing/2014/main" id="{37D5EFD3-01BE-9D2E-5498-A2566B7FF9F0}"/>
              </a:ext>
            </a:extLst>
          </p:cNvPr>
          <p:cNvCxnSpPr/>
          <p:nvPr userDrawn="1"/>
        </p:nvCxnSpPr>
        <p:spPr>
          <a:xfrm flipH="1">
            <a:off x="5312664" y="55626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47" name="Text Placeholder 39">
            <a:extLst>
              <a:ext uri="{FF2B5EF4-FFF2-40B4-BE49-F238E27FC236}">
                <a16:creationId xmlns:a16="http://schemas.microsoft.com/office/drawing/2014/main" id="{9EBB322B-3F8A-82A0-D38C-3B0EAF274D69}"/>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48" name="Text Placeholder 39">
            <a:extLst>
              <a:ext uri="{FF2B5EF4-FFF2-40B4-BE49-F238E27FC236}">
                <a16:creationId xmlns:a16="http://schemas.microsoft.com/office/drawing/2014/main" id="{395B2319-0567-C743-748B-627E75B707E8}"/>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49" name="Text Placeholder 39">
            <a:extLst>
              <a:ext uri="{FF2B5EF4-FFF2-40B4-BE49-F238E27FC236}">
                <a16:creationId xmlns:a16="http://schemas.microsoft.com/office/drawing/2014/main" id="{31912C3E-7ADD-21D1-6311-94E61BD523B2}"/>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50" name="Text Placeholder 39">
            <a:extLst>
              <a:ext uri="{FF2B5EF4-FFF2-40B4-BE49-F238E27FC236}">
                <a16:creationId xmlns:a16="http://schemas.microsoft.com/office/drawing/2014/main" id="{B35A7D17-0BA1-50CD-BFF9-110B4144B1CD}"/>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51" name="Text Placeholder 39">
            <a:extLst>
              <a:ext uri="{FF2B5EF4-FFF2-40B4-BE49-F238E27FC236}">
                <a16:creationId xmlns:a16="http://schemas.microsoft.com/office/drawing/2014/main" id="{58649877-7697-942F-0AFD-04CE442360F3}"/>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52" name="Text Placeholder 39">
            <a:extLst>
              <a:ext uri="{FF2B5EF4-FFF2-40B4-BE49-F238E27FC236}">
                <a16:creationId xmlns:a16="http://schemas.microsoft.com/office/drawing/2014/main" id="{1D2B4700-BEF8-D5FC-E4AF-98C66B5EE995}"/>
              </a:ext>
            </a:extLst>
          </p:cNvPr>
          <p:cNvSpPr>
            <a:spLocks noGrp="1"/>
          </p:cNvSpPr>
          <p:nvPr>
            <p:ph type="body" sz="quarter" idx="15" hasCustomPrompt="1"/>
          </p:nvPr>
        </p:nvSpPr>
        <p:spPr>
          <a:xfrm>
            <a:off x="5312664" y="4572000"/>
            <a:ext cx="996950" cy="430212"/>
          </a:xfrm>
          <a:noFill/>
          <a:ln>
            <a:noFill/>
          </a:ln>
        </p:spPr>
        <p:txBody>
          <a:bodyPr>
            <a:normAutofit/>
          </a:bodyPr>
          <a:lstStyle>
            <a:lvl1pPr>
              <a:defRPr sz="2800">
                <a:solidFill>
                  <a:schemeClr val="bg1"/>
                </a:solidFill>
              </a:defRPr>
            </a:lvl1pPr>
          </a:lstStyle>
          <a:p>
            <a:pPr lvl="0"/>
            <a:r>
              <a:rPr lang="en-US"/>
              <a:t>06</a:t>
            </a:r>
          </a:p>
        </p:txBody>
      </p:sp>
      <p:sp>
        <p:nvSpPr>
          <p:cNvPr id="53" name="Text Placeholder 39">
            <a:extLst>
              <a:ext uri="{FF2B5EF4-FFF2-40B4-BE49-F238E27FC236}">
                <a16:creationId xmlns:a16="http://schemas.microsoft.com/office/drawing/2014/main" id="{21339569-E30C-E034-14CD-1C3181FCEBDE}"/>
              </a:ext>
            </a:extLst>
          </p:cNvPr>
          <p:cNvSpPr>
            <a:spLocks noGrp="1"/>
          </p:cNvSpPr>
          <p:nvPr>
            <p:ph type="body" sz="quarter" idx="16" hasCustomPrompt="1"/>
          </p:nvPr>
        </p:nvSpPr>
        <p:spPr>
          <a:xfrm>
            <a:off x="5312664" y="5093208"/>
            <a:ext cx="996950" cy="430212"/>
          </a:xfrm>
          <a:noFill/>
          <a:ln>
            <a:noFill/>
          </a:ln>
        </p:spPr>
        <p:txBody>
          <a:bodyPr>
            <a:normAutofit/>
          </a:bodyPr>
          <a:lstStyle>
            <a:lvl1pPr>
              <a:defRPr sz="2800">
                <a:solidFill>
                  <a:schemeClr val="bg1"/>
                </a:solidFill>
              </a:defRPr>
            </a:lvl1pPr>
          </a:lstStyle>
          <a:p>
            <a:pPr lvl="0"/>
            <a:r>
              <a:rPr lang="en-US"/>
              <a:t>07</a:t>
            </a:r>
          </a:p>
        </p:txBody>
      </p:sp>
      <p:sp>
        <p:nvSpPr>
          <p:cNvPr id="54" name="Text Placeholder 39">
            <a:extLst>
              <a:ext uri="{FF2B5EF4-FFF2-40B4-BE49-F238E27FC236}">
                <a16:creationId xmlns:a16="http://schemas.microsoft.com/office/drawing/2014/main" id="{F3F41331-49E0-608C-5019-6833E7C011FC}"/>
              </a:ext>
            </a:extLst>
          </p:cNvPr>
          <p:cNvSpPr>
            <a:spLocks noGrp="1"/>
          </p:cNvSpPr>
          <p:nvPr>
            <p:ph type="body" sz="quarter" idx="17" hasCustomPrompt="1"/>
          </p:nvPr>
        </p:nvSpPr>
        <p:spPr>
          <a:xfrm>
            <a:off x="5312664" y="5614416"/>
            <a:ext cx="996950" cy="430212"/>
          </a:xfrm>
          <a:noFill/>
          <a:ln>
            <a:noFill/>
          </a:ln>
        </p:spPr>
        <p:txBody>
          <a:bodyPr>
            <a:normAutofit/>
          </a:bodyPr>
          <a:lstStyle>
            <a:lvl1pPr>
              <a:defRPr sz="2800">
                <a:solidFill>
                  <a:schemeClr val="bg1"/>
                </a:solidFill>
              </a:defRPr>
            </a:lvl1pPr>
          </a:lstStyle>
          <a:p>
            <a:pPr lvl="0"/>
            <a:r>
              <a:rPr lang="en-US"/>
              <a:t>08</a:t>
            </a:r>
          </a:p>
        </p:txBody>
      </p:sp>
      <p:sp>
        <p:nvSpPr>
          <p:cNvPr id="55" name="Text Placeholder 39">
            <a:extLst>
              <a:ext uri="{FF2B5EF4-FFF2-40B4-BE49-F238E27FC236}">
                <a16:creationId xmlns:a16="http://schemas.microsoft.com/office/drawing/2014/main" id="{74CC074E-BF67-042C-48A5-4A746E6CF5C4}"/>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6" name="Text Placeholder 39">
            <a:extLst>
              <a:ext uri="{FF2B5EF4-FFF2-40B4-BE49-F238E27FC236}">
                <a16:creationId xmlns:a16="http://schemas.microsoft.com/office/drawing/2014/main" id="{605EC573-9874-C54D-053A-84481BF921CB}"/>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7" name="Text Placeholder 39">
            <a:extLst>
              <a:ext uri="{FF2B5EF4-FFF2-40B4-BE49-F238E27FC236}">
                <a16:creationId xmlns:a16="http://schemas.microsoft.com/office/drawing/2014/main" id="{35E2E518-EF54-E1BB-579C-15D087341CAA}"/>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8" name="Text Placeholder 39">
            <a:extLst>
              <a:ext uri="{FF2B5EF4-FFF2-40B4-BE49-F238E27FC236}">
                <a16:creationId xmlns:a16="http://schemas.microsoft.com/office/drawing/2014/main" id="{5079E896-AC28-01D8-4E40-24CA2BC65F8E}"/>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9" name="Text Placeholder 39">
            <a:extLst>
              <a:ext uri="{FF2B5EF4-FFF2-40B4-BE49-F238E27FC236}">
                <a16:creationId xmlns:a16="http://schemas.microsoft.com/office/drawing/2014/main" id="{486A4BB5-AB33-55A1-72FB-7105E710DDFD}"/>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0" name="Text Placeholder 39">
            <a:extLst>
              <a:ext uri="{FF2B5EF4-FFF2-40B4-BE49-F238E27FC236}">
                <a16:creationId xmlns:a16="http://schemas.microsoft.com/office/drawing/2014/main" id="{3BDA6188-AB2E-2801-C4F6-A4F45CC5F1AD}"/>
              </a:ext>
            </a:extLst>
          </p:cNvPr>
          <p:cNvSpPr>
            <a:spLocks noGrp="1"/>
          </p:cNvSpPr>
          <p:nvPr>
            <p:ph type="body" sz="quarter" idx="23" hasCustomPrompt="1"/>
          </p:nvPr>
        </p:nvSpPr>
        <p:spPr>
          <a:xfrm>
            <a:off x="6400800" y="457200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1" name="Text Placeholder 39">
            <a:extLst>
              <a:ext uri="{FF2B5EF4-FFF2-40B4-BE49-F238E27FC236}">
                <a16:creationId xmlns:a16="http://schemas.microsoft.com/office/drawing/2014/main" id="{84FA20F9-E22B-2F8D-C673-C55E58244BE5}"/>
              </a:ext>
            </a:extLst>
          </p:cNvPr>
          <p:cNvSpPr>
            <a:spLocks noGrp="1"/>
          </p:cNvSpPr>
          <p:nvPr>
            <p:ph type="body" sz="quarter" idx="24" hasCustomPrompt="1"/>
          </p:nvPr>
        </p:nvSpPr>
        <p:spPr>
          <a:xfrm>
            <a:off x="6400800" y="509320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2" name="Text Placeholder 39">
            <a:extLst>
              <a:ext uri="{FF2B5EF4-FFF2-40B4-BE49-F238E27FC236}">
                <a16:creationId xmlns:a16="http://schemas.microsoft.com/office/drawing/2014/main" id="{FD73D747-A2B3-C49F-AFAF-4B87F8170384}"/>
              </a:ext>
            </a:extLst>
          </p:cNvPr>
          <p:cNvSpPr>
            <a:spLocks noGrp="1"/>
          </p:cNvSpPr>
          <p:nvPr>
            <p:ph type="body" sz="quarter" idx="25" hasCustomPrompt="1"/>
          </p:nvPr>
        </p:nvSpPr>
        <p:spPr>
          <a:xfrm>
            <a:off x="6400800" y="5614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26723733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ubtitle and content layout">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and subtitle</a:t>
            </a:r>
            <a:endParaRPr lang="en-GB"/>
          </a:p>
        </p:txBody>
      </p:sp>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815975" y="1881189"/>
            <a:ext cx="10620376" cy="4308474"/>
          </a:xfrm>
          <a:prstGeom prst="rect">
            <a:avLst/>
          </a:prstGeom>
        </p:spPr>
        <p:txBody>
          <a:bodyPr vert="horz" lIns="0" tIns="0" rIns="0" bIns="0" rtlCol="0">
            <a:normAutofit/>
          </a:bodyPr>
          <a:lstStyle>
            <a:lvl1pPr>
              <a:defRPr sz="1400">
                <a:solidFill>
                  <a:schemeClr val="accent4"/>
                </a:solidFill>
              </a:defRPr>
            </a:lvl1pPr>
            <a:lvl2pPr>
              <a:defRPr sz="1400">
                <a:solidFill>
                  <a:schemeClr val="accent4"/>
                </a:solidFill>
              </a:defRPr>
            </a:lvl2pPr>
            <a:lvl3pPr>
              <a:defRPr sz="14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Tree>
    <p:extLst>
      <p:ext uri="{BB962C8B-B14F-4D97-AF65-F5344CB8AC3E}">
        <p14:creationId xmlns:p14="http://schemas.microsoft.com/office/powerpoint/2010/main" val="31072222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pic>
        <p:nvPicPr>
          <p:cNvPr id="37" name="Graphic 36">
            <a:extLst>
              <a:ext uri="{FF2B5EF4-FFF2-40B4-BE49-F238E27FC236}">
                <a16:creationId xmlns:a16="http://schemas.microsoft.com/office/drawing/2014/main" id="{51739BCC-B01A-1378-F0E4-53D9BC6546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p:nvPr>
        </p:nvSpPr>
        <p:spPr>
          <a:xfrm>
            <a:off x="815974" y="2276388"/>
            <a:ext cx="5218377" cy="4069473"/>
          </a:xfrm>
          <a:prstGeom prst="rect">
            <a:avLst/>
          </a:prstGeom>
          <a:noFill/>
        </p:spPr>
        <p:txBody>
          <a:bodyPr lIns="0" tIns="72000" rIns="108000" bIns="0">
            <a:normAutofit/>
          </a:bodyPr>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400">
                <a:solidFill>
                  <a:schemeClr val="accent4"/>
                </a:solidFill>
              </a:defRPr>
            </a:lvl4pPr>
            <a:lvl5pPr>
              <a:spcBef>
                <a:spcPts val="600"/>
              </a:spcBef>
              <a:spcAft>
                <a:spcPts val="0"/>
              </a:spcAft>
              <a:buClrTx/>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15975" y="1893801"/>
            <a:ext cx="5208588" cy="382587"/>
          </a:xfrm>
        </p:spPr>
        <p:txBody>
          <a:bodyPr/>
          <a:lstStyle>
            <a:lvl1pPr>
              <a:defRPr sz="2000" b="1">
                <a:solidFill>
                  <a:schemeClr val="tx2"/>
                </a:solidFill>
                <a:latin typeface="+mn-lt"/>
              </a:defRPr>
            </a:lvl1pPr>
          </a:lstStyle>
          <a:p>
            <a:pPr lvl="0"/>
            <a:r>
              <a:rPr lang="en-US"/>
              <a:t>Click to add text</a:t>
            </a:r>
          </a:p>
        </p:txBody>
      </p:sp>
      <p:sp>
        <p:nvSpPr>
          <p:cNvPr id="9" name="Text Placeholder 7">
            <a:extLst>
              <a:ext uri="{FF2B5EF4-FFF2-40B4-BE49-F238E27FC236}">
                <a16:creationId xmlns:a16="http://schemas.microsoft.com/office/drawing/2014/main" id="{1D53E9C4-30AF-BFDA-EE94-23561F155F8F}"/>
              </a:ext>
            </a:extLst>
          </p:cNvPr>
          <p:cNvSpPr>
            <a:spLocks noGrp="1"/>
          </p:cNvSpPr>
          <p:nvPr>
            <p:ph type="body" sz="quarter" idx="16" hasCustomPrompt="1"/>
          </p:nvPr>
        </p:nvSpPr>
        <p:spPr>
          <a:xfrm>
            <a:off x="6207152" y="1893801"/>
            <a:ext cx="5240129"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Two Columns</a:t>
            </a:r>
            <a:endParaRPr lang="en-GB"/>
          </a:p>
        </p:txBody>
      </p:sp>
      <p:sp>
        <p:nvSpPr>
          <p:cNvPr id="7" name="Text Placeholder 2">
            <a:extLst>
              <a:ext uri="{FF2B5EF4-FFF2-40B4-BE49-F238E27FC236}">
                <a16:creationId xmlns:a16="http://schemas.microsoft.com/office/drawing/2014/main" id="{5C6D5DA2-DA15-F87F-6881-BF5592EDA52E}"/>
              </a:ext>
            </a:extLst>
          </p:cNvPr>
          <p:cNvSpPr>
            <a:spLocks noGrp="1"/>
          </p:cNvSpPr>
          <p:nvPr>
            <p:ph type="body" sz="quarter" idx="17"/>
          </p:nvPr>
        </p:nvSpPr>
        <p:spPr>
          <a:xfrm>
            <a:off x="6217973" y="2276388"/>
            <a:ext cx="5218377" cy="4069473"/>
          </a:xfrm>
          <a:prstGeom prst="rect">
            <a:avLst/>
          </a:prstGeom>
          <a:noFill/>
        </p:spPr>
        <p:txBody>
          <a:bodyPr lIns="0" tIns="72000" rIns="108000" bIns="0">
            <a:normAutofit/>
          </a:bodyPr>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400">
                <a:solidFill>
                  <a:schemeClr val="accent4"/>
                </a:solidFill>
              </a:defRPr>
            </a:lvl4pPr>
            <a:lvl5pPr>
              <a:spcBef>
                <a:spcPts val="600"/>
              </a:spcBef>
              <a:spcAft>
                <a:spcPts val="0"/>
              </a:spcAft>
              <a:buClrTx/>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6F5E924F-D666-848D-1C0A-839E5C7C0AF0}"/>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1" name="Rectangle 10">
            <a:extLst>
              <a:ext uri="{FF2B5EF4-FFF2-40B4-BE49-F238E27FC236}">
                <a16:creationId xmlns:a16="http://schemas.microsoft.com/office/drawing/2014/main" id="{7B3103E6-1AED-761F-6EDC-C1B83F36F47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2" name="Slide Number Placeholder 2">
            <a:extLst>
              <a:ext uri="{FF2B5EF4-FFF2-40B4-BE49-F238E27FC236}">
                <a16:creationId xmlns:a16="http://schemas.microsoft.com/office/drawing/2014/main" id="{B281D2B4-8EFC-C573-2175-FA6BE4B0E52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4" name="Group 3">
            <a:extLst>
              <a:ext uri="{FF2B5EF4-FFF2-40B4-BE49-F238E27FC236}">
                <a16:creationId xmlns:a16="http://schemas.microsoft.com/office/drawing/2014/main" id="{65B9153A-9F04-345A-4CA1-963B01DA3273}"/>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010204AF-B54C-9DDE-2E2F-B236A824F02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8EFA998-022D-EB7B-429D-6A8D03D5B4E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229862D-C2FE-190A-A1C6-125484EF9A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36C7C97-7221-506C-27D6-5761C3062C8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6103DB96-7437-13CE-87CA-2CEDF8F9539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62E748EE-30A4-8085-F8F8-D1B24513EA0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1736B5F-F9D7-3285-E3BF-3674828CDA2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163753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column layou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372C2C46-13EE-1E57-91A8-AAB689E096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hasCustomPrompt="1"/>
          </p:nvPr>
        </p:nvSpPr>
        <p:spPr>
          <a:xfrm>
            <a:off x="814188" y="2276389"/>
            <a:ext cx="3410149"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3934" y="1893801"/>
            <a:ext cx="3403771"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4188" y="709937"/>
            <a:ext cx="10621792" cy="553998"/>
          </a:xfrm>
          <a:prstGeom prst="rect">
            <a:avLst/>
          </a:prstGeom>
        </p:spPr>
        <p:txBody>
          <a:bodyPr vert="horz" wrap="square" lIns="0" tIns="0" rIns="0" bIns="0" rtlCol="0" anchor="t" anchorCtr="0">
            <a:spAutoFit/>
          </a:bodyPr>
          <a:lstStyle>
            <a:lvl1pPr>
              <a:defRPr/>
            </a:lvl1pPr>
          </a:lstStyle>
          <a:p>
            <a:r>
              <a:rPr lang="en-US"/>
              <a:t>Three columns</a:t>
            </a:r>
            <a:endParaRPr lang="en-GB"/>
          </a:p>
        </p:txBody>
      </p:sp>
      <p:sp>
        <p:nvSpPr>
          <p:cNvPr id="4" name="Text Placeholder 2">
            <a:extLst>
              <a:ext uri="{FF2B5EF4-FFF2-40B4-BE49-F238E27FC236}">
                <a16:creationId xmlns:a16="http://schemas.microsoft.com/office/drawing/2014/main" id="{F2280CB3-0425-BA90-15EC-559E7DA19F47}"/>
              </a:ext>
            </a:extLst>
          </p:cNvPr>
          <p:cNvSpPr>
            <a:spLocks noGrp="1"/>
          </p:cNvSpPr>
          <p:nvPr>
            <p:ph type="body" sz="quarter" idx="16" hasCustomPrompt="1"/>
          </p:nvPr>
        </p:nvSpPr>
        <p:spPr>
          <a:xfrm>
            <a:off x="4416425" y="2276389"/>
            <a:ext cx="3403771"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0" name="Text Placeholder 7">
            <a:extLst>
              <a:ext uri="{FF2B5EF4-FFF2-40B4-BE49-F238E27FC236}">
                <a16:creationId xmlns:a16="http://schemas.microsoft.com/office/drawing/2014/main" id="{37120D12-5FC6-94E0-4F2A-51B01B5B6562}"/>
              </a:ext>
            </a:extLst>
          </p:cNvPr>
          <p:cNvSpPr>
            <a:spLocks noGrp="1"/>
          </p:cNvSpPr>
          <p:nvPr>
            <p:ph type="body" sz="quarter" idx="17" hasCustomPrompt="1"/>
          </p:nvPr>
        </p:nvSpPr>
        <p:spPr>
          <a:xfrm>
            <a:off x="4426258" y="1893801"/>
            <a:ext cx="3397405" cy="382587"/>
          </a:xfrm>
        </p:spPr>
        <p:txBody>
          <a:bodyPr/>
          <a:lstStyle>
            <a:lvl1pPr>
              <a:defRPr sz="2000" b="1">
                <a:solidFill>
                  <a:schemeClr val="tx2"/>
                </a:solidFill>
                <a:latin typeface="+mn-lt"/>
              </a:defRPr>
            </a:lvl1pPr>
          </a:lstStyle>
          <a:p>
            <a:pPr lvl="0"/>
            <a:r>
              <a:rPr lang="en-US"/>
              <a:t>Click to add text</a:t>
            </a:r>
          </a:p>
        </p:txBody>
      </p:sp>
      <p:sp>
        <p:nvSpPr>
          <p:cNvPr id="11" name="Text Placeholder 2">
            <a:extLst>
              <a:ext uri="{FF2B5EF4-FFF2-40B4-BE49-F238E27FC236}">
                <a16:creationId xmlns:a16="http://schemas.microsoft.com/office/drawing/2014/main" id="{3B7E163D-016A-E15E-158B-089D6A0C574C}"/>
              </a:ext>
            </a:extLst>
          </p:cNvPr>
          <p:cNvSpPr>
            <a:spLocks noGrp="1"/>
          </p:cNvSpPr>
          <p:nvPr>
            <p:ph type="body" sz="quarter" idx="18" hasCustomPrompt="1"/>
          </p:nvPr>
        </p:nvSpPr>
        <p:spPr>
          <a:xfrm>
            <a:off x="8008917" y="2276389"/>
            <a:ext cx="3427066" cy="3924386"/>
          </a:xfrm>
          <a:prstGeom prst="rect">
            <a:avLst/>
          </a:prstGeom>
          <a:noFill/>
        </p:spPr>
        <p:txBody>
          <a:bodyPr lIns="10800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2" name="Text Placeholder 7">
            <a:extLst>
              <a:ext uri="{FF2B5EF4-FFF2-40B4-BE49-F238E27FC236}">
                <a16:creationId xmlns:a16="http://schemas.microsoft.com/office/drawing/2014/main" id="{F7E8CBC2-C25B-3DCE-6606-BBD64521AFBB}"/>
              </a:ext>
            </a:extLst>
          </p:cNvPr>
          <p:cNvSpPr>
            <a:spLocks noGrp="1"/>
          </p:cNvSpPr>
          <p:nvPr>
            <p:ph type="body" sz="quarter" idx="19" hasCustomPrompt="1"/>
          </p:nvPr>
        </p:nvSpPr>
        <p:spPr>
          <a:xfrm>
            <a:off x="8018961" y="1893801"/>
            <a:ext cx="3420657" cy="382587"/>
          </a:xfrm>
        </p:spPr>
        <p:txBody>
          <a:bodyPr/>
          <a:lstStyle>
            <a:lvl1pPr>
              <a:defRPr sz="2000" b="1">
                <a:solidFill>
                  <a:schemeClr val="tx2"/>
                </a:solidFill>
                <a:latin typeface="+mn-lt"/>
              </a:defRPr>
            </a:lvl1pPr>
          </a:lstStyle>
          <a:p>
            <a:pPr lvl="0"/>
            <a:r>
              <a:rPr lang="en-US"/>
              <a:t>Click to add text</a:t>
            </a:r>
          </a:p>
        </p:txBody>
      </p:sp>
      <p:sp>
        <p:nvSpPr>
          <p:cNvPr id="2" name="Text Placeholder 5">
            <a:extLst>
              <a:ext uri="{FF2B5EF4-FFF2-40B4-BE49-F238E27FC236}">
                <a16:creationId xmlns:a16="http://schemas.microsoft.com/office/drawing/2014/main" id="{4F317C24-7498-DFEA-E5B3-AFB38E2261DE}"/>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3" name="Rectangle 12">
            <a:extLst>
              <a:ext uri="{FF2B5EF4-FFF2-40B4-BE49-F238E27FC236}">
                <a16:creationId xmlns:a16="http://schemas.microsoft.com/office/drawing/2014/main" id="{D5B1B7A5-9E52-CA8A-2A4E-796D7A6C5998}"/>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5" name="Slide Number Placeholder 2">
            <a:extLst>
              <a:ext uri="{FF2B5EF4-FFF2-40B4-BE49-F238E27FC236}">
                <a16:creationId xmlns:a16="http://schemas.microsoft.com/office/drawing/2014/main" id="{ABF0B49C-92A3-48DC-5D9F-0EF0695D68C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5" name="Group 4">
            <a:extLst>
              <a:ext uri="{FF2B5EF4-FFF2-40B4-BE49-F238E27FC236}">
                <a16:creationId xmlns:a16="http://schemas.microsoft.com/office/drawing/2014/main" id="{591F3DED-33E1-2A27-8417-C862386CC9D7}"/>
              </a:ext>
            </a:extLst>
          </p:cNvPr>
          <p:cNvGrpSpPr/>
          <p:nvPr userDrawn="1"/>
        </p:nvGrpSpPr>
        <p:grpSpPr>
          <a:xfrm>
            <a:off x="10863102" y="309052"/>
            <a:ext cx="911847" cy="382707"/>
            <a:chOff x="7459170" y="481236"/>
            <a:chExt cx="2697427" cy="1132124"/>
          </a:xfrm>
        </p:grpSpPr>
        <p:sp>
          <p:nvSpPr>
            <p:cNvPr id="9" name="Freeform 8">
              <a:extLst>
                <a:ext uri="{FF2B5EF4-FFF2-40B4-BE49-F238E27FC236}">
                  <a16:creationId xmlns:a16="http://schemas.microsoft.com/office/drawing/2014/main" id="{AD68F991-7AC1-3980-7A7D-DDCBEF497B1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792418D-8382-6613-3E08-30CF6D4679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68560B3-0255-C232-6058-8B5E44CF8ABC}"/>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DA756CD8-BF86-6088-37B6-0E7FF536EFA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C4576A99-EA91-057D-D6BB-E9B12AACD8F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C941588-A6EC-9B9A-945B-0DE414BCDE7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968286F7-553D-1246-396B-C9E7815C3CA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85368783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our column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2CCCDA05-BDEF-3415-CEF1-21FF7C23FF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hasCustomPrompt="1"/>
          </p:nvPr>
        </p:nvSpPr>
        <p:spPr>
          <a:xfrm>
            <a:off x="815975" y="2276389"/>
            <a:ext cx="2519362"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5519" y="1893802"/>
            <a:ext cx="2514650"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5586" cy="553998"/>
          </a:xfrm>
          <a:prstGeom prst="rect">
            <a:avLst/>
          </a:prstGeom>
        </p:spPr>
        <p:txBody>
          <a:bodyPr vert="horz" wrap="square" lIns="0" tIns="0" rIns="0" bIns="0" rtlCol="0" anchor="t" anchorCtr="0">
            <a:spAutoFit/>
          </a:bodyPr>
          <a:lstStyle>
            <a:lvl1pPr>
              <a:defRPr/>
            </a:lvl1pPr>
          </a:lstStyle>
          <a:p>
            <a:r>
              <a:rPr lang="en-US"/>
              <a:t>Title slide</a:t>
            </a:r>
            <a:endParaRPr lang="en-GB"/>
          </a:p>
        </p:txBody>
      </p:sp>
      <p:sp>
        <p:nvSpPr>
          <p:cNvPr id="15" name="Text Placeholder 2">
            <a:extLst>
              <a:ext uri="{FF2B5EF4-FFF2-40B4-BE49-F238E27FC236}">
                <a16:creationId xmlns:a16="http://schemas.microsoft.com/office/drawing/2014/main" id="{6FBF75A8-4C81-F086-3A74-0A8419F8800A}"/>
              </a:ext>
            </a:extLst>
          </p:cNvPr>
          <p:cNvSpPr>
            <a:spLocks noGrp="1"/>
          </p:cNvSpPr>
          <p:nvPr>
            <p:ph type="body" sz="quarter" idx="16" hasCustomPrompt="1"/>
          </p:nvPr>
        </p:nvSpPr>
        <p:spPr>
          <a:xfrm>
            <a:off x="8916907" y="2276389"/>
            <a:ext cx="2519443"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6" name="Text Placeholder 2">
            <a:extLst>
              <a:ext uri="{FF2B5EF4-FFF2-40B4-BE49-F238E27FC236}">
                <a16:creationId xmlns:a16="http://schemas.microsoft.com/office/drawing/2014/main" id="{C63FB139-E507-822B-ED86-9333FEAE8E3D}"/>
              </a:ext>
            </a:extLst>
          </p:cNvPr>
          <p:cNvSpPr>
            <a:spLocks noGrp="1"/>
          </p:cNvSpPr>
          <p:nvPr>
            <p:ph type="body" sz="quarter" idx="17" hasCustomPrompt="1"/>
          </p:nvPr>
        </p:nvSpPr>
        <p:spPr>
          <a:xfrm>
            <a:off x="3503613" y="2276389"/>
            <a:ext cx="2543722"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7" name="Text Placeholder 2">
            <a:extLst>
              <a:ext uri="{FF2B5EF4-FFF2-40B4-BE49-F238E27FC236}">
                <a16:creationId xmlns:a16="http://schemas.microsoft.com/office/drawing/2014/main" id="{68898358-87A3-BA3F-8956-126F4FAA6E92}"/>
              </a:ext>
            </a:extLst>
          </p:cNvPr>
          <p:cNvSpPr>
            <a:spLocks noGrp="1"/>
          </p:cNvSpPr>
          <p:nvPr>
            <p:ph type="body" sz="quarter" idx="18" hasCustomPrompt="1"/>
          </p:nvPr>
        </p:nvSpPr>
        <p:spPr>
          <a:xfrm>
            <a:off x="6215611" y="2276389"/>
            <a:ext cx="2533020"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8" name="Text Placeholder 7">
            <a:extLst>
              <a:ext uri="{FF2B5EF4-FFF2-40B4-BE49-F238E27FC236}">
                <a16:creationId xmlns:a16="http://schemas.microsoft.com/office/drawing/2014/main" id="{DE7E055F-5919-BCB9-F630-E6504A7CB2E2}"/>
              </a:ext>
            </a:extLst>
          </p:cNvPr>
          <p:cNvSpPr>
            <a:spLocks noGrp="1"/>
          </p:cNvSpPr>
          <p:nvPr>
            <p:ph type="body" sz="quarter" idx="19" hasCustomPrompt="1"/>
          </p:nvPr>
        </p:nvSpPr>
        <p:spPr>
          <a:xfrm>
            <a:off x="8916829" y="1893802"/>
            <a:ext cx="2514731" cy="382587"/>
          </a:xfrm>
        </p:spPr>
        <p:txBody>
          <a:bodyPr/>
          <a:lstStyle>
            <a:lvl1pPr>
              <a:defRPr sz="2000" b="1">
                <a:solidFill>
                  <a:schemeClr val="tx2"/>
                </a:solidFill>
                <a:latin typeface="+mn-lt"/>
              </a:defRPr>
            </a:lvl1pPr>
          </a:lstStyle>
          <a:p>
            <a:pPr lvl="0"/>
            <a:r>
              <a:rPr lang="en-US"/>
              <a:t>Click to add text</a:t>
            </a:r>
          </a:p>
        </p:txBody>
      </p:sp>
      <p:sp>
        <p:nvSpPr>
          <p:cNvPr id="19" name="Text Placeholder 7">
            <a:extLst>
              <a:ext uri="{FF2B5EF4-FFF2-40B4-BE49-F238E27FC236}">
                <a16:creationId xmlns:a16="http://schemas.microsoft.com/office/drawing/2014/main" id="{1ACCF396-8BF0-C982-52C2-5036657396DE}"/>
              </a:ext>
            </a:extLst>
          </p:cNvPr>
          <p:cNvSpPr>
            <a:spLocks noGrp="1"/>
          </p:cNvSpPr>
          <p:nvPr>
            <p:ph type="body" sz="quarter" idx="20" hasCustomPrompt="1"/>
          </p:nvPr>
        </p:nvSpPr>
        <p:spPr>
          <a:xfrm>
            <a:off x="3498526" y="1893802"/>
            <a:ext cx="2538964" cy="382587"/>
          </a:xfrm>
        </p:spPr>
        <p:txBody>
          <a:bodyPr/>
          <a:lstStyle>
            <a:lvl1pPr>
              <a:defRPr sz="2000" b="1">
                <a:solidFill>
                  <a:schemeClr val="tx2"/>
                </a:solidFill>
                <a:latin typeface="+mn-lt"/>
              </a:defRPr>
            </a:lvl1pPr>
          </a:lstStyle>
          <a:p>
            <a:pPr lvl="0"/>
            <a:r>
              <a:rPr lang="en-US"/>
              <a:t>Click to add text</a:t>
            </a:r>
          </a:p>
        </p:txBody>
      </p:sp>
      <p:sp>
        <p:nvSpPr>
          <p:cNvPr id="20" name="Text Placeholder 7">
            <a:extLst>
              <a:ext uri="{FF2B5EF4-FFF2-40B4-BE49-F238E27FC236}">
                <a16:creationId xmlns:a16="http://schemas.microsoft.com/office/drawing/2014/main" id="{EFC9B49A-2E51-745D-2FAA-E98696437ABB}"/>
              </a:ext>
            </a:extLst>
          </p:cNvPr>
          <p:cNvSpPr>
            <a:spLocks noGrp="1"/>
          </p:cNvSpPr>
          <p:nvPr>
            <p:ph type="body" sz="quarter" idx="21" hasCustomPrompt="1"/>
          </p:nvPr>
        </p:nvSpPr>
        <p:spPr>
          <a:xfrm>
            <a:off x="6203325" y="1893802"/>
            <a:ext cx="2528283" cy="382587"/>
          </a:xfrm>
        </p:spPr>
        <p:txBody>
          <a:bodyPr/>
          <a:lstStyle>
            <a:lvl1pPr>
              <a:defRPr sz="2000" b="1">
                <a:solidFill>
                  <a:schemeClr val="tx2"/>
                </a:solidFill>
                <a:latin typeface="+mn-lt"/>
              </a:defRPr>
            </a:lvl1pPr>
          </a:lstStyle>
          <a:p>
            <a:pPr lvl="0"/>
            <a:r>
              <a:rPr lang="en-US"/>
              <a:t>Click to add text</a:t>
            </a:r>
          </a:p>
        </p:txBody>
      </p:sp>
      <p:sp>
        <p:nvSpPr>
          <p:cNvPr id="9" name="Text Placeholder 5">
            <a:extLst>
              <a:ext uri="{FF2B5EF4-FFF2-40B4-BE49-F238E27FC236}">
                <a16:creationId xmlns:a16="http://schemas.microsoft.com/office/drawing/2014/main" id="{A4CD6C2B-A474-5641-7422-7875CED6ED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0" name="Rectangle 9">
            <a:extLst>
              <a:ext uri="{FF2B5EF4-FFF2-40B4-BE49-F238E27FC236}">
                <a16:creationId xmlns:a16="http://schemas.microsoft.com/office/drawing/2014/main" id="{6BC71479-8F96-5552-9746-BAAC806BC2E6}"/>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1" name="Slide Number Placeholder 2">
            <a:extLst>
              <a:ext uri="{FF2B5EF4-FFF2-40B4-BE49-F238E27FC236}">
                <a16:creationId xmlns:a16="http://schemas.microsoft.com/office/drawing/2014/main" id="{C582F6AA-C1A9-DA44-9E2E-42A5C6F9D6F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C66BC4-CE7E-E443-BEF3-B7BBA49FE37B}"/>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50790525-9335-DAAD-AC9C-8A5ED398D08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4A1F7E0-0F9D-CB08-090C-103CC90DB07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B6753D0-DCA0-6F8D-9925-C7D54467DEE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B74D5C01-B85D-62D4-6CBF-B92E2D13C1E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566ABB6-ED60-D890-BB6C-61398345B3C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E75E3A5F-257D-3252-FB43-C2B566796AD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C4F55C8C-A15B-560E-A23A-06211839C3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345552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de title divider layou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Side title</a:t>
            </a:r>
            <a:br>
              <a:rPr lang="en-US"/>
            </a:br>
            <a:r>
              <a:rPr lang="en-US"/>
              <a:t>diver 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sp>
        <p:nvSpPr>
          <p:cNvPr id="7" name="Slide Number Placeholder 2">
            <a:extLst>
              <a:ext uri="{FF2B5EF4-FFF2-40B4-BE49-F238E27FC236}">
                <a16:creationId xmlns:a16="http://schemas.microsoft.com/office/drawing/2014/main" id="{E7FCF6E2-32CE-8CCA-6C4F-F9AC1223897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833885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rose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44037E1-26A7-ED3C-E482-708BAAA49C76}"/>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5966B258-B64F-4C37-95EE-DA12F2437C5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8495EF2-DC0E-4705-9377-828A5C59A7A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66CF9A18-6B79-9281-E358-AA370155A16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9D9BD7C-6ABA-014B-B051-F78B0A09E46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F4DBC16-F0ED-C2E1-4364-FB9028DCED9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6111B3EC-1860-2199-3CF6-3EB4CDCAF2A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AF8E482C-420E-4F3B-DFC0-AB9874161AB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pic>
        <p:nvPicPr>
          <p:cNvPr id="6" name="Graphic 5">
            <a:extLst>
              <a:ext uri="{FF2B5EF4-FFF2-40B4-BE49-F238E27FC236}">
                <a16:creationId xmlns:a16="http://schemas.microsoft.com/office/drawing/2014/main" id="{47A12691-3819-20BF-D46D-3E1BFE3B92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5" y="2222605"/>
            <a:ext cx="3096268" cy="1107996"/>
          </a:xfrm>
        </p:spPr>
        <p:txBody>
          <a:bodyPr/>
          <a:lstStyle>
            <a:lvl1pPr>
              <a:lnSpc>
                <a:spcPct val="100000"/>
              </a:lnSpc>
              <a:spcBef>
                <a:spcPts val="600"/>
              </a:spcBef>
              <a:defRPr/>
            </a:lvl1pPr>
          </a:lstStyle>
          <a:p>
            <a:r>
              <a:rPr lang="en-US"/>
              <a:t>Prose</a:t>
            </a:r>
            <a:br>
              <a:rPr lang="en-US"/>
            </a:br>
            <a:r>
              <a:rPr lang="en-US"/>
              <a:t>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096269" cy="385762"/>
          </a:xfrm>
        </p:spPr>
        <p:txBody>
          <a:bodyPr/>
          <a:lstStyle>
            <a:lvl1pPr>
              <a:defRPr sz="2000"/>
            </a:lvl1pPr>
          </a:lstStyle>
          <a:p>
            <a:pPr lvl="0"/>
            <a:r>
              <a:rPr lang="en-US"/>
              <a:t>Click to add subheading</a:t>
            </a:r>
            <a:endParaRPr lang="en-GB"/>
          </a:p>
        </p:txBody>
      </p:sp>
      <p:sp>
        <p:nvSpPr>
          <p:cNvPr id="12" name="Text Placeholder 7">
            <a:extLst>
              <a:ext uri="{FF2B5EF4-FFF2-40B4-BE49-F238E27FC236}">
                <a16:creationId xmlns:a16="http://schemas.microsoft.com/office/drawing/2014/main" id="{4ACED297-CFD7-168D-9632-EA0F9D6E07C0}"/>
              </a:ext>
            </a:extLst>
          </p:cNvPr>
          <p:cNvSpPr>
            <a:spLocks noGrp="1"/>
          </p:cNvSpPr>
          <p:nvPr>
            <p:ph type="body" sz="quarter" idx="16" hasCustomPrompt="1"/>
          </p:nvPr>
        </p:nvSpPr>
        <p:spPr>
          <a:xfrm>
            <a:off x="4243997" y="1165137"/>
            <a:ext cx="7192353" cy="382587"/>
          </a:xfrm>
        </p:spPr>
        <p:txBody>
          <a:bodyPr/>
          <a:lstStyle>
            <a:lvl1pPr>
              <a:defRPr sz="2000" b="1">
                <a:solidFill>
                  <a:schemeClr val="tx2"/>
                </a:solidFill>
                <a:latin typeface="+mn-lt"/>
              </a:defRPr>
            </a:lvl1pPr>
          </a:lstStyle>
          <a:p>
            <a:pPr lvl="0"/>
            <a:r>
              <a:rPr lang="en-US"/>
              <a:t>Two column text format</a:t>
            </a:r>
          </a:p>
        </p:txBody>
      </p:sp>
      <p:sp>
        <p:nvSpPr>
          <p:cNvPr id="23" name="Text Placeholder 2">
            <a:extLst>
              <a:ext uri="{FF2B5EF4-FFF2-40B4-BE49-F238E27FC236}">
                <a16:creationId xmlns:a16="http://schemas.microsoft.com/office/drawing/2014/main" id="{AA6D049B-EC34-0EAD-599F-FF556A2DA465}"/>
              </a:ext>
            </a:extLst>
          </p:cNvPr>
          <p:cNvSpPr>
            <a:spLocks noGrp="1"/>
          </p:cNvSpPr>
          <p:nvPr>
            <p:ph type="body" sz="quarter" idx="23" hasCustomPrompt="1"/>
          </p:nvPr>
        </p:nvSpPr>
        <p:spPr>
          <a:xfrm>
            <a:off x="4235450" y="1547724"/>
            <a:ext cx="7200819" cy="3705110"/>
          </a:xfrm>
          <a:prstGeom prst="rect">
            <a:avLst/>
          </a:prstGeom>
          <a:noFill/>
        </p:spPr>
        <p:txBody>
          <a:bodyPr lIns="0" tIns="0" rIns="0" bIns="0" numCol="2" spcCol="180000">
            <a:noAutofit/>
          </a:bodyPr>
          <a:lstStyle>
            <a:lvl1pPr>
              <a:lnSpc>
                <a:spcPct val="100000"/>
              </a:lnSpc>
              <a:spcBef>
                <a:spcPts val="600"/>
              </a:spcBef>
              <a:spcAft>
                <a:spcPts val="0"/>
              </a:spcAft>
              <a:defRPr sz="1400">
                <a:solidFill>
                  <a:schemeClr val="accent4"/>
                </a:solidFill>
              </a:defRPr>
            </a:lvl1pPr>
            <a:lvl2pPr>
              <a:lnSpc>
                <a:spcPct val="100000"/>
              </a:lnSpc>
              <a:spcBef>
                <a:spcPts val="600"/>
              </a:spcBef>
              <a:spcAft>
                <a:spcPts val="0"/>
              </a:spcAft>
              <a:defRPr sz="1600">
                <a:solidFill>
                  <a:schemeClr val="bg2"/>
                </a:solidFill>
              </a:defRPr>
            </a:lvl2pPr>
            <a:lvl3pPr>
              <a:lnSpc>
                <a:spcPct val="100000"/>
              </a:lnSpc>
              <a:spcBef>
                <a:spcPts val="600"/>
              </a:spcBef>
              <a:spcAft>
                <a:spcPts val="0"/>
              </a:spcAft>
              <a:defRPr sz="1600">
                <a:solidFill>
                  <a:schemeClr val="bg2"/>
                </a:solidFill>
              </a:defRPr>
            </a:lvl3pPr>
            <a:lvl4pPr>
              <a:lnSpc>
                <a:spcPct val="100000"/>
              </a:lnSpc>
              <a:spcBef>
                <a:spcPts val="600"/>
              </a:spcBef>
              <a:spcAft>
                <a:spcPts val="0"/>
              </a:spcAft>
              <a:buClrTx/>
              <a:defRPr sz="1600">
                <a:solidFill>
                  <a:schemeClr val="tx1"/>
                </a:solidFill>
              </a:defRPr>
            </a:lvl4pPr>
            <a:lvl5pPr>
              <a:lnSpc>
                <a:spcPct val="100000"/>
              </a:lnSpc>
              <a:spcBef>
                <a:spcPts val="600"/>
              </a:spcBef>
              <a:spcAft>
                <a:spcPts val="0"/>
              </a:spcAft>
              <a:buClrTx/>
              <a:defRPr sz="1600">
                <a:solidFill>
                  <a:schemeClr val="tx1"/>
                </a:solidFill>
              </a:defRPr>
            </a:lvl5pPr>
          </a:lstStyle>
          <a:p>
            <a:r>
              <a:rPr lang="en-GB"/>
              <a:t>This box is set up with two text columns</a:t>
            </a:r>
          </a:p>
        </p:txBody>
      </p:sp>
      <p:sp>
        <p:nvSpPr>
          <p:cNvPr id="8" name="Slide Number Placeholder 2">
            <a:extLst>
              <a:ext uri="{FF2B5EF4-FFF2-40B4-BE49-F238E27FC236}">
                <a16:creationId xmlns:a16="http://schemas.microsoft.com/office/drawing/2014/main" id="{F1EAB86C-A4EB-31CF-F3F1-4233A32FB66D}"/>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138729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reate Layout Midn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a:xfrm>
            <a:off x="785813" y="694800"/>
            <a:ext cx="7020000" cy="553998"/>
          </a:xfrm>
        </p:spPr>
        <p:txBody>
          <a:bodyPr/>
          <a:lstStyle/>
          <a:p>
            <a:r>
              <a:rPr lang="en-US"/>
              <a:t>Click to edit Master title style</a:t>
            </a:r>
            <a:endParaRPr lang="en-GB" dirty="0"/>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a:xfrm>
            <a:off x="785813" y="1898650"/>
            <a:ext cx="7020000" cy="36003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3" name="Logo">
            <a:extLst>
              <a:ext uri="{FF2B5EF4-FFF2-40B4-BE49-F238E27FC236}">
                <a16:creationId xmlns:a16="http://schemas.microsoft.com/office/drawing/2014/main" id="{CE96F35C-7C8C-7FDB-E144-5299B485F3BC}"/>
              </a:ext>
            </a:extLst>
          </p:cNvPr>
          <p:cNvPicPr>
            <a:picLocks/>
          </p:cNvPicPr>
          <p:nvPr>
            <p:custDataLst>
              <p:tags r:id="rId21"/>
            </p:custDataLst>
          </p:nvPr>
        </p:nvPicPr>
        <p:blipFill rotWithShape="1">
          <a:blip r:embed="rId23">
            <a:extLst>
              <a:ext uri="{96DAC541-7B7A-43D3-8B79-37D633B846F1}">
                <asvg:svgBlip xmlns:asvg="http://schemas.microsoft.com/office/drawing/2016/SVG/main" r:embed="rId24"/>
              </a:ext>
            </a:extLst>
          </a:blip>
          <a:srcRect t="80" b="80"/>
          <a:stretch/>
        </p:blipFill>
        <p:spPr bwMode="black">
          <a:xfrm>
            <a:off x="10866053" y="278965"/>
            <a:ext cx="900000" cy="378445"/>
          </a:xfrm>
          <a:prstGeom prst="rect">
            <a:avLst/>
          </a:prstGeom>
        </p:spPr>
      </p:pic>
    </p:spTree>
    <p:extLst>
      <p:ext uri="{BB962C8B-B14F-4D97-AF65-F5344CB8AC3E}">
        <p14:creationId xmlns:p14="http://schemas.microsoft.com/office/powerpoint/2010/main" val="4166099190"/>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ntroduction layout">
    <p:bg>
      <p:bgPr>
        <a:solidFill>
          <a:srgbClr val="E7E7E8"/>
        </a:solidFill>
        <a:effectLst/>
      </p:bgPr>
    </p:bg>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09DC9CBF-112C-454E-07C9-4159C699EE97}"/>
              </a:ext>
            </a:extLst>
          </p:cNvPr>
          <p:cNvSpPr>
            <a:spLocks noGrp="1"/>
          </p:cNvSpPr>
          <p:nvPr>
            <p:ph type="pic" sz="quarter" idx="24"/>
          </p:nvPr>
        </p:nvSpPr>
        <p:spPr>
          <a:xfrm>
            <a:off x="439" y="1536"/>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r>
              <a:rPr lang="en-US"/>
              <a:t>Click icon to add picture</a:t>
            </a:r>
          </a:p>
        </p:txBody>
      </p:sp>
      <p:sp>
        <p:nvSpPr>
          <p:cNvPr id="42" name="Title 6">
            <a:extLst>
              <a:ext uri="{FF2B5EF4-FFF2-40B4-BE49-F238E27FC236}">
                <a16:creationId xmlns:a16="http://schemas.microsoft.com/office/drawing/2014/main" id="{7C47041D-0CCE-B496-7EA6-351B86AFB06F}"/>
              </a:ext>
            </a:extLst>
          </p:cNvPr>
          <p:cNvSpPr>
            <a:spLocks noGrp="1"/>
          </p:cNvSpPr>
          <p:nvPr>
            <p:ph type="title" hasCustomPrompt="1"/>
          </p:nvPr>
        </p:nvSpPr>
        <p:spPr>
          <a:xfrm>
            <a:off x="4416345" y="1149038"/>
            <a:ext cx="7020006" cy="553998"/>
          </a:xfrm>
        </p:spPr>
        <p:txBody>
          <a:bodyPr/>
          <a:lstStyle>
            <a:lvl1pPr>
              <a:lnSpc>
                <a:spcPct val="100000"/>
              </a:lnSpc>
              <a:spcBef>
                <a:spcPts val="600"/>
              </a:spcBef>
              <a:defRPr/>
            </a:lvl1pPr>
          </a:lstStyle>
          <a:p>
            <a:r>
              <a:rPr lang="en-US"/>
              <a:t>Introduction Slide</a:t>
            </a:r>
            <a:endParaRPr lang="en-GB"/>
          </a:p>
        </p:txBody>
      </p:sp>
      <p:sp>
        <p:nvSpPr>
          <p:cNvPr id="43" name="Text Placeholder 2">
            <a:extLst>
              <a:ext uri="{FF2B5EF4-FFF2-40B4-BE49-F238E27FC236}">
                <a16:creationId xmlns:a16="http://schemas.microsoft.com/office/drawing/2014/main" id="{395DBB8D-89F4-B09F-717B-D9C401687FEB}"/>
              </a:ext>
            </a:extLst>
          </p:cNvPr>
          <p:cNvSpPr>
            <a:spLocks noGrp="1"/>
          </p:cNvSpPr>
          <p:nvPr>
            <p:ph type="body" sz="quarter" idx="23" hasCustomPrompt="1"/>
          </p:nvPr>
        </p:nvSpPr>
        <p:spPr>
          <a:xfrm>
            <a:off x="4416344" y="1742414"/>
            <a:ext cx="7019925" cy="3556461"/>
          </a:xfrm>
          <a:prstGeom prst="rect">
            <a:avLst/>
          </a:prstGeom>
          <a:noFill/>
        </p:spPr>
        <p:txBody>
          <a:bodyPr lIns="0" tIns="0" rIns="0" bIns="0" numCol="2" spcCol="180000">
            <a:noAutofit/>
          </a:bodyPr>
          <a:lstStyle>
            <a:lvl1pPr>
              <a:lnSpc>
                <a:spcPct val="100000"/>
              </a:lnSpc>
              <a:spcBef>
                <a:spcPts val="600"/>
              </a:spcBef>
              <a:spcAft>
                <a:spcPts val="0"/>
              </a:spcAft>
              <a:defRPr sz="1600">
                <a:solidFill>
                  <a:schemeClr val="bg1"/>
                </a:solidFill>
              </a:defRPr>
            </a:lvl1pPr>
            <a:lvl2pPr>
              <a:lnSpc>
                <a:spcPct val="100000"/>
              </a:lnSpc>
              <a:spcBef>
                <a:spcPts val="600"/>
              </a:spcBef>
              <a:spcAft>
                <a:spcPts val="0"/>
              </a:spcAft>
              <a:defRPr sz="1600">
                <a:solidFill>
                  <a:schemeClr val="bg1"/>
                </a:solidFill>
              </a:defRPr>
            </a:lvl2pPr>
            <a:lvl3pPr>
              <a:lnSpc>
                <a:spcPct val="100000"/>
              </a:lnSpc>
              <a:spcBef>
                <a:spcPts val="600"/>
              </a:spcBef>
              <a:spcAft>
                <a:spcPts val="0"/>
              </a:spcAft>
              <a:defRPr sz="1600">
                <a:solidFill>
                  <a:schemeClr val="bg1"/>
                </a:solidFill>
              </a:defRPr>
            </a:lvl3pPr>
            <a:lvl4pPr>
              <a:lnSpc>
                <a:spcPct val="100000"/>
              </a:lnSpc>
              <a:spcBef>
                <a:spcPts val="600"/>
              </a:spcBef>
              <a:spcAft>
                <a:spcPts val="0"/>
              </a:spcAft>
              <a:buClrTx/>
              <a:defRPr sz="1600">
                <a:solidFill>
                  <a:schemeClr val="bg1"/>
                </a:solidFill>
              </a:defRPr>
            </a:lvl4pPr>
            <a:lvl5pPr>
              <a:lnSpc>
                <a:spcPct val="100000"/>
              </a:lnSpc>
              <a:spcBef>
                <a:spcPts val="600"/>
              </a:spcBef>
              <a:spcAft>
                <a:spcPts val="0"/>
              </a:spcAft>
              <a:buClrTx/>
              <a:defRPr sz="1600">
                <a:solidFill>
                  <a:schemeClr val="bg1"/>
                </a:solidFill>
              </a:defRPr>
            </a:lvl5pPr>
          </a:lstStyle>
          <a:p>
            <a:pPr lvl="0"/>
            <a:r>
              <a:rPr lang="en-GB"/>
              <a:t>Edit Master text styles</a:t>
            </a:r>
          </a:p>
          <a:p>
            <a:pPr lvl="1"/>
            <a:r>
              <a:rPr lang="en-GB"/>
              <a:t>Second level</a:t>
            </a:r>
          </a:p>
          <a:p>
            <a:pPr lvl="2"/>
            <a:r>
              <a:rPr lang="en-GB"/>
              <a:t>Third level</a:t>
            </a:r>
          </a:p>
        </p:txBody>
      </p:sp>
      <p:sp>
        <p:nvSpPr>
          <p:cNvPr id="4" name="Slide Number Placeholder 2">
            <a:extLst>
              <a:ext uri="{FF2B5EF4-FFF2-40B4-BE49-F238E27FC236}">
                <a16:creationId xmlns:a16="http://schemas.microsoft.com/office/drawing/2014/main" id="{A5B03538-EFF8-882F-38A7-6F681D9FB05A}"/>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EFC70ED4-7685-D6BA-D036-766365740E52}"/>
              </a:ext>
            </a:extLst>
          </p:cNvPr>
          <p:cNvGrpSpPr/>
          <p:nvPr userDrawn="1"/>
        </p:nvGrpSpPr>
        <p:grpSpPr>
          <a:xfrm>
            <a:off x="10863102" y="309052"/>
            <a:ext cx="911847" cy="382707"/>
            <a:chOff x="7459170" y="481236"/>
            <a:chExt cx="2697427" cy="1132124"/>
          </a:xfrm>
          <a:solidFill>
            <a:schemeClr val="bg1"/>
          </a:solidFill>
        </p:grpSpPr>
        <p:sp>
          <p:nvSpPr>
            <p:cNvPr id="3" name="Freeform 3">
              <a:extLst>
                <a:ext uri="{FF2B5EF4-FFF2-40B4-BE49-F238E27FC236}">
                  <a16:creationId xmlns:a16="http://schemas.microsoft.com/office/drawing/2014/main" id="{25DCAED7-3C07-CFE7-8F30-201E7B404C0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5" name="Freeform 7">
              <a:extLst>
                <a:ext uri="{FF2B5EF4-FFF2-40B4-BE49-F238E27FC236}">
                  <a16:creationId xmlns:a16="http://schemas.microsoft.com/office/drawing/2014/main" id="{3285372C-56BA-B399-70A1-FD595B67CC5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6" name="Freeform 8">
              <a:extLst>
                <a:ext uri="{FF2B5EF4-FFF2-40B4-BE49-F238E27FC236}">
                  <a16:creationId xmlns:a16="http://schemas.microsoft.com/office/drawing/2014/main" id="{23BCD063-F7BE-56F7-4BF6-2DC0DC9620F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7" name="Freeform 10">
              <a:extLst>
                <a:ext uri="{FF2B5EF4-FFF2-40B4-BE49-F238E27FC236}">
                  <a16:creationId xmlns:a16="http://schemas.microsoft.com/office/drawing/2014/main" id="{29F9DA7E-5123-B5DF-2E8F-D1287FC45FD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0FB005D9-047E-F4FB-578C-37B63E693E5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9" name="Freeform 12">
              <a:extLst>
                <a:ext uri="{FF2B5EF4-FFF2-40B4-BE49-F238E27FC236}">
                  <a16:creationId xmlns:a16="http://schemas.microsoft.com/office/drawing/2014/main" id="{472E671D-2CFF-6091-98CF-24C4A6AFF3B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0" name="Freeform 13">
              <a:extLst>
                <a:ext uri="{FF2B5EF4-FFF2-40B4-BE49-F238E27FC236}">
                  <a16:creationId xmlns:a16="http://schemas.microsoft.com/office/drawing/2014/main" id="{A68065AB-2288-B705-B561-D20CEA17581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0609896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 and text layout 1">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AD2C749E-6DD4-1102-2E96-0961E97858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80340"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 make it punchy!</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80341" cy="419100"/>
          </a:xfrm>
        </p:spPr>
        <p:txBody>
          <a:bodyPr/>
          <a:lstStyle>
            <a:lvl1pPr>
              <a:defRPr sz="2000" b="1">
                <a:solidFill>
                  <a:schemeClr val="tx2"/>
                </a:solidFill>
              </a:defRPr>
            </a:lvl1pPr>
          </a:lstStyle>
          <a:p>
            <a:pPr lvl="0"/>
            <a:r>
              <a:rPr lang="en-GB"/>
              <a:t>Heading</a:t>
            </a:r>
          </a:p>
        </p:txBody>
      </p:sp>
      <p:sp>
        <p:nvSpPr>
          <p:cNvPr id="27" name="Picture Placeholder 26">
            <a:extLst>
              <a:ext uri="{FF2B5EF4-FFF2-40B4-BE49-F238E27FC236}">
                <a16:creationId xmlns:a16="http://schemas.microsoft.com/office/drawing/2014/main" id="{BF48D752-9287-95B9-FAA6-9C6985A15047}"/>
              </a:ext>
            </a:extLst>
          </p:cNvPr>
          <p:cNvSpPr>
            <a:spLocks noGrp="1"/>
          </p:cNvSpPr>
          <p:nvPr>
            <p:ph type="pic" sz="quarter" idx="17"/>
          </p:nvPr>
        </p:nvSpPr>
        <p:spPr>
          <a:xfrm>
            <a:off x="0" y="0"/>
            <a:ext cx="5316538" cy="6858000"/>
          </a:xfrm>
          <a:custGeom>
            <a:avLst/>
            <a:gdLst>
              <a:gd name="connsiteX0" fmla="*/ 755651 w 5316538"/>
              <a:gd name="connsiteY0" fmla="*/ 709937 h 6858000"/>
              <a:gd name="connsiteX1" fmla="*/ 755651 w 5316538"/>
              <a:gd name="connsiteY1" fmla="*/ 1263935 h 6858000"/>
              <a:gd name="connsiteX2" fmla="*/ 1015764 w 5316538"/>
              <a:gd name="connsiteY2" fmla="*/ 1263935 h 6858000"/>
              <a:gd name="connsiteX3" fmla="*/ 1015764 w 5316538"/>
              <a:gd name="connsiteY3" fmla="*/ 709937 h 6858000"/>
              <a:gd name="connsiteX4" fmla="*/ 1096769 w 5316538"/>
              <a:gd name="connsiteY4" fmla="*/ 709937 h 6858000"/>
              <a:gd name="connsiteX5" fmla="*/ 1096769 w 5316538"/>
              <a:gd name="connsiteY5" fmla="*/ 1263935 h 6858000"/>
              <a:gd name="connsiteX6" fmla="*/ 1940364 w 5316538"/>
              <a:gd name="connsiteY6" fmla="*/ 1263935 h 6858000"/>
              <a:gd name="connsiteX7" fmla="*/ 1940364 w 5316538"/>
              <a:gd name="connsiteY7" fmla="*/ 709937 h 6858000"/>
              <a:gd name="connsiteX8" fmla="*/ 0 w 5316538"/>
              <a:gd name="connsiteY8" fmla="*/ 0 h 6858000"/>
              <a:gd name="connsiteX9" fmla="*/ 5316538 w 5316538"/>
              <a:gd name="connsiteY9" fmla="*/ 0 h 6858000"/>
              <a:gd name="connsiteX10" fmla="*/ 5316538 w 5316538"/>
              <a:gd name="connsiteY10" fmla="*/ 709937 h 6858000"/>
              <a:gd name="connsiteX11" fmla="*/ 2021369 w 5316538"/>
              <a:gd name="connsiteY11" fmla="*/ 709937 h 6858000"/>
              <a:gd name="connsiteX12" fmla="*/ 2021369 w 5316538"/>
              <a:gd name="connsiteY12" fmla="*/ 1263935 h 6858000"/>
              <a:gd name="connsiteX13" fmla="*/ 5316538 w 5316538"/>
              <a:gd name="connsiteY13" fmla="*/ 1263935 h 6858000"/>
              <a:gd name="connsiteX14" fmla="*/ 5316538 w 5316538"/>
              <a:gd name="connsiteY14" fmla="*/ 6858000 h 6858000"/>
              <a:gd name="connsiteX15" fmla="*/ 0 w 5316538"/>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6538" h="6858000">
                <a:moveTo>
                  <a:pt x="755651" y="709937"/>
                </a:moveTo>
                <a:lnTo>
                  <a:pt x="755651" y="1263935"/>
                </a:lnTo>
                <a:lnTo>
                  <a:pt x="1015764" y="1263935"/>
                </a:lnTo>
                <a:lnTo>
                  <a:pt x="1015764" y="709937"/>
                </a:lnTo>
                <a:close/>
                <a:moveTo>
                  <a:pt x="1096769" y="709937"/>
                </a:moveTo>
                <a:lnTo>
                  <a:pt x="1096769" y="1263935"/>
                </a:lnTo>
                <a:lnTo>
                  <a:pt x="1940364" y="1263935"/>
                </a:lnTo>
                <a:lnTo>
                  <a:pt x="1940364" y="709937"/>
                </a:lnTo>
                <a:close/>
                <a:moveTo>
                  <a:pt x="0" y="0"/>
                </a:moveTo>
                <a:lnTo>
                  <a:pt x="5316538" y="0"/>
                </a:lnTo>
                <a:lnTo>
                  <a:pt x="5316538" y="709937"/>
                </a:lnTo>
                <a:lnTo>
                  <a:pt x="2021369" y="709937"/>
                </a:lnTo>
                <a:lnTo>
                  <a:pt x="2021369" y="1263935"/>
                </a:lnTo>
                <a:lnTo>
                  <a:pt x="5316538" y="1263935"/>
                </a:lnTo>
                <a:lnTo>
                  <a:pt x="5316538" y="6858000"/>
                </a:lnTo>
                <a:lnTo>
                  <a:pt x="0" y="6858000"/>
                </a:lnTo>
                <a:close/>
              </a:path>
            </a:pathLst>
          </a:custGeom>
          <a:solidFill>
            <a:srgbClr val="CFD0D1"/>
          </a:solidFill>
        </p:spPr>
        <p:txBody>
          <a:bodyPr wrap="square">
            <a:noAutofit/>
          </a:bodyPr>
          <a:lstStyle/>
          <a:p>
            <a:r>
              <a:rPr lang="en-US"/>
              <a:t>Click icon to add picture</a:t>
            </a:r>
          </a:p>
        </p:txBody>
      </p:sp>
      <p:sp>
        <p:nvSpPr>
          <p:cNvPr id="6" name="Rectangle 5">
            <a:extLst>
              <a:ext uri="{FF2B5EF4-FFF2-40B4-BE49-F238E27FC236}">
                <a16:creationId xmlns:a16="http://schemas.microsoft.com/office/drawing/2014/main" id="{624E6470-A545-0955-0377-2236944F3EB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8" name="Slide Number Placeholder 2">
            <a:extLst>
              <a:ext uri="{FF2B5EF4-FFF2-40B4-BE49-F238E27FC236}">
                <a16:creationId xmlns:a16="http://schemas.microsoft.com/office/drawing/2014/main" id="{1C2421EF-A1F7-84D7-B95A-455C5E5FF6DB}"/>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021EBEEB-9649-2F67-270F-05638CA5842A}"/>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4719A416-9CCB-531C-7884-9C1AAF398A3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B0D994CE-6A60-46F5-6BF2-148330264AB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480115B-2089-3A84-28B5-C741692F66A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9F81584-6436-3402-B44A-D71A8A17404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A7E849-B7BF-76F8-DE20-F5FD1944DED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1B1CDEE-D9E5-4608-9586-526E6590051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CF0FFBC-56FB-74A2-CA4F-7B6D767DB1F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2276552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ortrait and content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F5E88FDD-0F31-872B-BDE0-BC9B4519557A}"/>
              </a:ext>
            </a:extLst>
          </p:cNvPr>
          <p:cNvSpPr>
            <a:spLocks noGrp="1"/>
          </p:cNvSpPr>
          <p:nvPr>
            <p:ph type="pic" sz="quarter" idx="17"/>
          </p:nvPr>
        </p:nvSpPr>
        <p:spPr>
          <a:xfrm>
            <a:off x="0" y="0"/>
            <a:ext cx="5316538" cy="6858000"/>
          </a:xfrm>
        </p:spPr>
        <p:txBody>
          <a:bodyPr/>
          <a:lstStyle/>
          <a:p>
            <a:r>
              <a:rPr lang="en-US"/>
              <a:t>Click icon to add picture</a:t>
            </a:r>
          </a:p>
        </p:txBody>
      </p:sp>
      <p:pic>
        <p:nvPicPr>
          <p:cNvPr id="13" name="Graphic 12">
            <a:extLst>
              <a:ext uri="{FF2B5EF4-FFF2-40B4-BE49-F238E27FC236}">
                <a16:creationId xmlns:a16="http://schemas.microsoft.com/office/drawing/2014/main" id="{B2D54EFE-4F9F-632D-8DFF-C14A10F3A0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98658"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Portrait image slide</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98659" cy="419100"/>
          </a:xfrm>
        </p:spPr>
        <p:txBody>
          <a:bodyPr/>
          <a:lstStyle>
            <a:lvl1pPr>
              <a:defRPr sz="2000" b="1">
                <a:solidFill>
                  <a:schemeClr val="tx2"/>
                </a:solidFill>
              </a:defRPr>
            </a:lvl1pPr>
          </a:lstStyle>
          <a:p>
            <a:pPr lvl="0"/>
            <a:r>
              <a:rPr lang="en-GB"/>
              <a:t>Heading</a:t>
            </a:r>
          </a:p>
        </p:txBody>
      </p:sp>
      <p:grpSp>
        <p:nvGrpSpPr>
          <p:cNvPr id="8" name="Group 7">
            <a:extLst>
              <a:ext uri="{FF2B5EF4-FFF2-40B4-BE49-F238E27FC236}">
                <a16:creationId xmlns:a16="http://schemas.microsoft.com/office/drawing/2014/main" id="{22474EBA-DA81-61A1-1FAD-7799C10C869D}"/>
              </a:ext>
            </a:extLst>
          </p:cNvPr>
          <p:cNvGrpSpPr/>
          <p:nvPr userDrawn="1">
            <p:custDataLst>
              <p:tags r:id="rId1"/>
            </p:custDataLst>
          </p:nvPr>
        </p:nvGrpSpPr>
        <p:grpSpPr>
          <a:xfrm flipV="1">
            <a:off x="815974" y="6238225"/>
            <a:ext cx="4500564" cy="45719"/>
            <a:chOff x="35335" y="-555561"/>
            <a:chExt cx="5151592" cy="555609"/>
          </a:xfrm>
          <a:solidFill>
            <a:schemeClr val="bg1"/>
          </a:solidFill>
        </p:grpSpPr>
        <p:sp>
          <p:nvSpPr>
            <p:cNvPr id="9" name="Rectangle 8">
              <a:extLst>
                <a:ext uri="{FF2B5EF4-FFF2-40B4-BE49-F238E27FC236}">
                  <a16:creationId xmlns:a16="http://schemas.microsoft.com/office/drawing/2014/main" id="{DD679DDB-41A9-9365-91C5-5C162E856A63}"/>
                </a:ext>
              </a:extLst>
            </p:cNvPr>
            <p:cNvSpPr/>
            <p:nvPr userDrawn="1"/>
          </p:nvSpPr>
          <p:spPr>
            <a:xfrm>
              <a:off x="35335" y="-555561"/>
              <a:ext cx="824981" cy="55559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7FCCBAB8-DA67-C504-C142-B037883B6B1A}"/>
                </a:ext>
              </a:extLst>
            </p:cNvPr>
            <p:cNvSpPr/>
            <p:nvPr userDrawn="1"/>
          </p:nvSpPr>
          <p:spPr>
            <a:xfrm>
              <a:off x="1065656" y="-555561"/>
              <a:ext cx="1853482" cy="55558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E0F25D04-7F80-B0AF-7653-D1AFB15FF058}"/>
                </a:ext>
              </a:extLst>
            </p:cNvPr>
            <p:cNvSpPr/>
            <p:nvPr userDrawn="1"/>
          </p:nvSpPr>
          <p:spPr>
            <a:xfrm>
              <a:off x="3111754" y="-555561"/>
              <a:ext cx="2075173" cy="55560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sp>
        <p:nvSpPr>
          <p:cNvPr id="16" name="Rectangle 15">
            <a:extLst>
              <a:ext uri="{FF2B5EF4-FFF2-40B4-BE49-F238E27FC236}">
                <a16:creationId xmlns:a16="http://schemas.microsoft.com/office/drawing/2014/main" id="{1741C5AC-2A83-09A9-155E-F55C71587227}"/>
              </a:ext>
            </a:extLst>
          </p:cNvPr>
          <p:cNvSpPr/>
          <p:nvPr userDrawn="1"/>
        </p:nvSpPr>
        <p:spPr>
          <a:xfrm>
            <a:off x="8075966" y="-1070925"/>
            <a:ext cx="4116033" cy="899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CB98C4E7-5648-69C0-BF91-59338C2260F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6E7C94C2-3B85-3680-77AF-9B130184B3FE}"/>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B8305C9F-D43E-00E3-DF02-276990E67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B8E3BE67-A89D-C28E-570F-B22B7D7A148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D1A924-7CB5-1A5E-5BEE-34EE022CEE6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47D91C7-F652-198C-14F8-F97A8F0D8C3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B29A924-63D9-0C53-B374-2C50FCC2029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2B58657-22A7-4B89-DF1D-5FFC043A7C2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6A3D595-E3E6-4D8B-EEFA-6E66BC56134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59814951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and content layout">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932EE61A-11F8-AEE3-93E6-5EF2A5853A09}"/>
              </a:ext>
            </a:extLst>
          </p:cNvPr>
          <p:cNvSpPr/>
          <p:nvPr userDrawn="1"/>
        </p:nvSpPr>
        <p:spPr>
          <a:xfrm>
            <a:off x="6695990" y="3788994"/>
            <a:ext cx="5496010" cy="3069006"/>
          </a:xfrm>
          <a:prstGeom prst="rect">
            <a:avLst/>
          </a:prstGeom>
          <a:solidFill>
            <a:srgbClr val="E7E7E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Picture Placeholder 40">
            <a:extLst>
              <a:ext uri="{FF2B5EF4-FFF2-40B4-BE49-F238E27FC236}">
                <a16:creationId xmlns:a16="http://schemas.microsoft.com/office/drawing/2014/main" id="{1C302E52-07D0-1F59-60AC-6A2EA40253BC}"/>
              </a:ext>
            </a:extLst>
          </p:cNvPr>
          <p:cNvSpPr>
            <a:spLocks noGrp="1"/>
          </p:cNvSpPr>
          <p:nvPr>
            <p:ph type="pic" sz="quarter" idx="24"/>
          </p:nvPr>
        </p:nvSpPr>
        <p:spPr>
          <a:xfrm>
            <a:off x="0" y="0"/>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r>
              <a:rPr lang="en-US"/>
              <a:t>Click icon to add picture</a:t>
            </a:r>
          </a:p>
        </p:txBody>
      </p:sp>
      <p:sp>
        <p:nvSpPr>
          <p:cNvPr id="15" name="Title Placeholder 13">
            <a:extLst>
              <a:ext uri="{FF2B5EF4-FFF2-40B4-BE49-F238E27FC236}">
                <a16:creationId xmlns:a16="http://schemas.microsoft.com/office/drawing/2014/main" id="{DC3B6FE6-7FB7-7E8B-8DEF-901D173E82FB}"/>
              </a:ext>
            </a:extLst>
          </p:cNvPr>
          <p:cNvSpPr>
            <a:spLocks noGrp="1"/>
          </p:cNvSpPr>
          <p:nvPr>
            <p:ph type="title" hasCustomPrompt="1"/>
          </p:nvPr>
        </p:nvSpPr>
        <p:spPr>
          <a:xfrm>
            <a:off x="846636" y="803982"/>
            <a:ext cx="5189040" cy="5015069"/>
          </a:xfrm>
          <a:prstGeom prst="rect">
            <a:avLst/>
          </a:prstGeom>
          <a:solidFill>
            <a:schemeClr val="tx1"/>
          </a:solidFill>
        </p:spPr>
        <p:txBody>
          <a:bodyPr vert="horz" wrap="square" lIns="180000" tIns="144000" rIns="180000" bIns="144000" rtlCol="0" anchor="ctr" anchorCtr="0">
            <a:noAutofit/>
          </a:bodyPr>
          <a:lstStyle>
            <a:lvl1pPr>
              <a:defRPr>
                <a:solidFill>
                  <a:schemeClr val="bg1"/>
                </a:solidFill>
              </a:defRPr>
            </a:lvl1pPr>
          </a:lstStyle>
          <a:p>
            <a:r>
              <a:rPr lang="en-US"/>
              <a:t>Pull-out slide</a:t>
            </a:r>
            <a:endParaRPr lang="en-GB"/>
          </a:p>
        </p:txBody>
      </p:sp>
      <p:sp>
        <p:nvSpPr>
          <p:cNvPr id="7" name="Slide Number Placeholder 2">
            <a:extLst>
              <a:ext uri="{FF2B5EF4-FFF2-40B4-BE49-F238E27FC236}">
                <a16:creationId xmlns:a16="http://schemas.microsoft.com/office/drawing/2014/main" id="{2B8BB10B-25DF-C5D5-F8A9-47049E0C9E3E}"/>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2A89F07F-CBC2-4431-A718-AAC7A9063D05}"/>
              </a:ext>
            </a:extLst>
          </p:cNvPr>
          <p:cNvGrpSpPr/>
          <p:nvPr userDrawn="1"/>
        </p:nvGrpSpPr>
        <p:grpSpPr>
          <a:xfrm>
            <a:off x="10863102" y="309052"/>
            <a:ext cx="911847" cy="382707"/>
            <a:chOff x="7459170" y="481236"/>
            <a:chExt cx="2697427" cy="1132124"/>
          </a:xfrm>
          <a:solidFill>
            <a:schemeClr val="bg1"/>
          </a:solidFill>
        </p:grpSpPr>
        <p:sp>
          <p:nvSpPr>
            <p:cNvPr id="3" name="Freeform 3">
              <a:extLst>
                <a:ext uri="{FF2B5EF4-FFF2-40B4-BE49-F238E27FC236}">
                  <a16:creationId xmlns:a16="http://schemas.microsoft.com/office/drawing/2014/main" id="{0A4C373C-6753-E0FB-7534-FE986BB0443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5" name="Freeform 7">
              <a:extLst>
                <a:ext uri="{FF2B5EF4-FFF2-40B4-BE49-F238E27FC236}">
                  <a16:creationId xmlns:a16="http://schemas.microsoft.com/office/drawing/2014/main" id="{BAF0E4CF-F865-E9AB-4ACB-8A2B721B196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6" name="Freeform 8">
              <a:extLst>
                <a:ext uri="{FF2B5EF4-FFF2-40B4-BE49-F238E27FC236}">
                  <a16:creationId xmlns:a16="http://schemas.microsoft.com/office/drawing/2014/main" id="{D7F7D5A3-8440-3D17-791A-5F8C6C6A8B9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10">
              <a:extLst>
                <a:ext uri="{FF2B5EF4-FFF2-40B4-BE49-F238E27FC236}">
                  <a16:creationId xmlns:a16="http://schemas.microsoft.com/office/drawing/2014/main" id="{EFF30131-0FCA-64F1-0D49-BD6EC1A992A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11">
              <a:extLst>
                <a:ext uri="{FF2B5EF4-FFF2-40B4-BE49-F238E27FC236}">
                  <a16:creationId xmlns:a16="http://schemas.microsoft.com/office/drawing/2014/main" id="{F41EA806-E586-6717-42E7-82DAA343A94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12">
              <a:extLst>
                <a:ext uri="{FF2B5EF4-FFF2-40B4-BE49-F238E27FC236}">
                  <a16:creationId xmlns:a16="http://schemas.microsoft.com/office/drawing/2014/main" id="{FE042EE9-A22B-B8BF-D7D4-7C36252BC9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3">
              <a:extLst>
                <a:ext uri="{FF2B5EF4-FFF2-40B4-BE49-F238E27FC236}">
                  <a16:creationId xmlns:a16="http://schemas.microsoft.com/office/drawing/2014/main" id="{4CA1ABDC-B6AE-C8C4-10EB-2F7C9EBBBE6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0252264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person bio 1">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5" name="Rectangle 24">
            <a:extLst>
              <a:ext uri="{FF2B5EF4-FFF2-40B4-BE49-F238E27FC236}">
                <a16:creationId xmlns:a16="http://schemas.microsoft.com/office/drawing/2014/main" id="{73B53081-2F82-C255-DE2D-C94568285F6B}"/>
              </a:ext>
            </a:extLst>
          </p:cNvPr>
          <p:cNvSpPr/>
          <p:nvPr userDrawn="1"/>
        </p:nvSpPr>
        <p:spPr>
          <a:xfrm>
            <a:off x="812006" y="3535491"/>
            <a:ext cx="5230994" cy="2713461"/>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6" name="Rectangle 25">
            <a:extLst>
              <a:ext uri="{FF2B5EF4-FFF2-40B4-BE49-F238E27FC236}">
                <a16:creationId xmlns:a16="http://schemas.microsoft.com/office/drawing/2014/main" id="{8C543281-E189-AA22-7F55-BCDC64F3F998}"/>
              </a:ext>
            </a:extLst>
          </p:cNvPr>
          <p:cNvSpPr/>
          <p:nvPr userDrawn="1"/>
        </p:nvSpPr>
        <p:spPr>
          <a:xfrm>
            <a:off x="6210783" y="3530368"/>
            <a:ext cx="5230994" cy="27134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6" y="1881190"/>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3" name="Text Placeholder 2">
            <a:extLst>
              <a:ext uri="{FF2B5EF4-FFF2-40B4-BE49-F238E27FC236}">
                <a16:creationId xmlns:a16="http://schemas.microsoft.com/office/drawing/2014/main" id="{5623CA4F-526E-ABE4-FB78-11EA916026D8}"/>
              </a:ext>
            </a:extLst>
          </p:cNvPr>
          <p:cNvSpPr>
            <a:spLocks noGrp="1"/>
          </p:cNvSpPr>
          <p:nvPr>
            <p:ph type="body" sz="quarter" idx="10" hasCustomPrompt="1"/>
          </p:nvPr>
        </p:nvSpPr>
        <p:spPr>
          <a:xfrm>
            <a:off x="927994" y="4314517"/>
            <a:ext cx="4979264"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7" name="Text Placeholder 7">
            <a:extLst>
              <a:ext uri="{FF2B5EF4-FFF2-40B4-BE49-F238E27FC236}">
                <a16:creationId xmlns:a16="http://schemas.microsoft.com/office/drawing/2014/main" id="{420D8522-F614-29DC-EEF5-B7E3296212DF}"/>
              </a:ext>
            </a:extLst>
          </p:cNvPr>
          <p:cNvSpPr>
            <a:spLocks noGrp="1"/>
          </p:cNvSpPr>
          <p:nvPr>
            <p:ph type="body" sz="quarter" idx="19" hasCustomPrompt="1"/>
          </p:nvPr>
        </p:nvSpPr>
        <p:spPr>
          <a:xfrm>
            <a:off x="937871" y="3669290"/>
            <a:ext cx="4979264" cy="306502"/>
          </a:xfrm>
        </p:spPr>
        <p:txBody>
          <a:bodyPr/>
          <a:lstStyle>
            <a:lvl1pPr>
              <a:spcBef>
                <a:spcPts val="0"/>
              </a:spcBef>
              <a:defRPr sz="1800" b="1">
                <a:solidFill>
                  <a:schemeClr val="bg1"/>
                </a:solidFill>
                <a:latin typeface="+mn-lt"/>
              </a:defRPr>
            </a:lvl1pPr>
          </a:lstStyle>
          <a:p>
            <a:pPr lvl="0"/>
            <a:r>
              <a:rPr lang="en-US"/>
              <a:t>Name</a:t>
            </a:r>
          </a:p>
        </p:txBody>
      </p:sp>
      <p:sp>
        <p:nvSpPr>
          <p:cNvPr id="8" name="Picture Placeholder 3">
            <a:extLst>
              <a:ext uri="{FF2B5EF4-FFF2-40B4-BE49-F238E27FC236}">
                <a16:creationId xmlns:a16="http://schemas.microsoft.com/office/drawing/2014/main" id="{CBDE7D5B-1889-1B13-420A-69689E25E81E}"/>
              </a:ext>
            </a:extLst>
          </p:cNvPr>
          <p:cNvSpPr>
            <a:spLocks noGrp="1"/>
          </p:cNvSpPr>
          <p:nvPr>
            <p:ph type="pic" sz="quarter" idx="20"/>
          </p:nvPr>
        </p:nvSpPr>
        <p:spPr>
          <a:xfrm>
            <a:off x="6216651" y="1883882"/>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42E2E00B-8604-C43A-05F7-F0787AB3162D}"/>
              </a:ext>
            </a:extLst>
          </p:cNvPr>
          <p:cNvSpPr>
            <a:spLocks noGrp="1"/>
          </p:cNvSpPr>
          <p:nvPr>
            <p:ph type="body" sz="quarter" idx="22" hasCustomPrompt="1"/>
          </p:nvPr>
        </p:nvSpPr>
        <p:spPr>
          <a:xfrm>
            <a:off x="937871" y="3991903"/>
            <a:ext cx="4979264" cy="306502"/>
          </a:xfrm>
        </p:spPr>
        <p:txBody>
          <a:bodyPr/>
          <a:lstStyle>
            <a:lvl1pPr>
              <a:spcBef>
                <a:spcPts val="0"/>
              </a:spcBef>
              <a:defRPr sz="1400" b="0">
                <a:solidFill>
                  <a:schemeClr val="bg1"/>
                </a:solidFill>
                <a:latin typeface="+mn-lt"/>
              </a:defRPr>
            </a:lvl1pPr>
          </a:lstStyle>
          <a:p>
            <a:pPr lvl="0"/>
            <a:r>
              <a:rPr lang="en-US"/>
              <a:t>Title</a:t>
            </a:r>
          </a:p>
        </p:txBody>
      </p:sp>
      <p:sp>
        <p:nvSpPr>
          <p:cNvPr id="14" name="Text Placeholder 2">
            <a:extLst>
              <a:ext uri="{FF2B5EF4-FFF2-40B4-BE49-F238E27FC236}">
                <a16:creationId xmlns:a16="http://schemas.microsoft.com/office/drawing/2014/main" id="{C0691BEB-EF61-2375-E286-74E8736A6EF0}"/>
              </a:ext>
            </a:extLst>
          </p:cNvPr>
          <p:cNvSpPr>
            <a:spLocks noGrp="1"/>
          </p:cNvSpPr>
          <p:nvPr>
            <p:ph type="body" sz="quarter" idx="23" hasCustomPrompt="1"/>
          </p:nvPr>
        </p:nvSpPr>
        <p:spPr>
          <a:xfrm>
            <a:off x="6326771" y="4314223"/>
            <a:ext cx="4979265"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8846313C-41CC-13A3-EA12-559355AD03D5}"/>
              </a:ext>
            </a:extLst>
          </p:cNvPr>
          <p:cNvSpPr>
            <a:spLocks noGrp="1"/>
          </p:cNvSpPr>
          <p:nvPr>
            <p:ph type="body" sz="quarter" idx="24" hasCustomPrompt="1"/>
          </p:nvPr>
        </p:nvSpPr>
        <p:spPr>
          <a:xfrm>
            <a:off x="6336648" y="3668996"/>
            <a:ext cx="4979265" cy="306502"/>
          </a:xfrm>
        </p:spPr>
        <p:txBody>
          <a:bodyPr/>
          <a:lstStyle>
            <a:lvl1pPr>
              <a:spcBef>
                <a:spcPts val="0"/>
              </a:spcBef>
              <a:defRPr sz="1800" b="1">
                <a:solidFill>
                  <a:schemeClr val="bg1"/>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E319DBA5-E17C-7BCD-7D57-C01BCEC75E4E}"/>
              </a:ext>
            </a:extLst>
          </p:cNvPr>
          <p:cNvSpPr>
            <a:spLocks noGrp="1"/>
          </p:cNvSpPr>
          <p:nvPr>
            <p:ph type="body" sz="quarter" idx="25" hasCustomPrompt="1"/>
          </p:nvPr>
        </p:nvSpPr>
        <p:spPr>
          <a:xfrm>
            <a:off x="6336648" y="3991609"/>
            <a:ext cx="4979265" cy="306502"/>
          </a:xfrm>
        </p:spPr>
        <p:txBody>
          <a:bodyPr/>
          <a:lstStyle>
            <a:lvl1pPr>
              <a:spcBef>
                <a:spcPts val="0"/>
              </a:spcBef>
              <a:defRPr sz="1400" b="0">
                <a:solidFill>
                  <a:schemeClr val="bg1"/>
                </a:solidFill>
                <a:latin typeface="+mn-lt"/>
              </a:defRPr>
            </a:lvl1pPr>
          </a:lstStyle>
          <a:p>
            <a:pPr lvl="0"/>
            <a:r>
              <a:rPr lang="en-US"/>
              <a:t>Title</a:t>
            </a:r>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206F0213-3D9E-4CB5-47E5-E35E803BB707}"/>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58253171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8" y="3303927"/>
            <a:ext cx="5160793"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255571" y="2229020"/>
            <a:ext cx="3651688" cy="306502"/>
          </a:xfrm>
        </p:spPr>
        <p:txBody>
          <a:bodyPr/>
          <a:lstStyle>
            <a:lvl1pPr>
              <a:spcBef>
                <a:spcPts val="0"/>
              </a:spcBef>
              <a:defRPr sz="18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255571" y="2551633"/>
            <a:ext cx="3651688" cy="306502"/>
          </a:xfrm>
        </p:spPr>
        <p:txBody>
          <a:bodyPr/>
          <a:lstStyle>
            <a:lvl1pPr>
              <a:spcBef>
                <a:spcPts val="0"/>
              </a:spcBef>
              <a:defRPr sz="1400" b="0">
                <a:solidFill>
                  <a:schemeClr val="tx1"/>
                </a:solidFill>
                <a:latin typeface="+mn-lt"/>
              </a:defRPr>
            </a:lvl1pPr>
          </a:lstStyle>
          <a:p>
            <a:pPr lvl="0"/>
            <a:r>
              <a:rPr lang="en-US"/>
              <a:t>Title</a:t>
            </a:r>
          </a:p>
        </p:txBody>
      </p:sp>
      <p:sp>
        <p:nvSpPr>
          <p:cNvPr id="31" name="Text Placeholder 2">
            <a:extLst>
              <a:ext uri="{FF2B5EF4-FFF2-40B4-BE49-F238E27FC236}">
                <a16:creationId xmlns:a16="http://schemas.microsoft.com/office/drawing/2014/main" id="{59C7ED37-BEB9-EC44-BE68-A18EBFE75A5A}"/>
              </a:ext>
            </a:extLst>
          </p:cNvPr>
          <p:cNvSpPr>
            <a:spLocks noGrp="1"/>
          </p:cNvSpPr>
          <p:nvPr>
            <p:ph type="body" sz="quarter" idx="23" hasCustomPrompt="1"/>
          </p:nvPr>
        </p:nvSpPr>
        <p:spPr>
          <a:xfrm>
            <a:off x="6216650" y="3309002"/>
            <a:ext cx="5199745"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CD59918D-C650-359F-6946-7605BDD951A9}"/>
              </a:ext>
            </a:extLst>
          </p:cNvPr>
          <p:cNvSpPr>
            <a:spLocks noGrp="1"/>
          </p:cNvSpPr>
          <p:nvPr>
            <p:ph type="body" sz="quarter" idx="24" hasCustomPrompt="1"/>
          </p:nvPr>
        </p:nvSpPr>
        <p:spPr>
          <a:xfrm>
            <a:off x="7655974" y="2245131"/>
            <a:ext cx="3659939" cy="306502"/>
          </a:xfrm>
        </p:spPr>
        <p:txBody>
          <a:bodyPr/>
          <a:lstStyle>
            <a:lvl1pPr>
              <a:spcBef>
                <a:spcPts val="0"/>
              </a:spcBef>
              <a:defRPr sz="1800" b="1">
                <a:solidFill>
                  <a:schemeClr val="tx2"/>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E8C9737F-4ECE-562C-6DE9-36A15B449A83}"/>
              </a:ext>
            </a:extLst>
          </p:cNvPr>
          <p:cNvSpPr>
            <a:spLocks noGrp="1"/>
          </p:cNvSpPr>
          <p:nvPr>
            <p:ph type="body" sz="quarter" idx="25" hasCustomPrompt="1"/>
          </p:nvPr>
        </p:nvSpPr>
        <p:spPr>
          <a:xfrm>
            <a:off x="7655974" y="2567744"/>
            <a:ext cx="3659939" cy="306502"/>
          </a:xfrm>
        </p:spPr>
        <p:txBody>
          <a:bodyPr/>
          <a:lstStyle>
            <a:lvl1pPr>
              <a:spcBef>
                <a:spcPts val="0"/>
              </a:spcBef>
              <a:defRPr sz="1400" b="0">
                <a:solidFill>
                  <a:schemeClr val="tx1"/>
                </a:solidFill>
                <a:latin typeface="+mn-lt"/>
              </a:defRPr>
            </a:lvl1pPr>
          </a:lstStyle>
          <a:p>
            <a:pPr lvl="0"/>
            <a:r>
              <a:rPr lang="en-US"/>
              <a:t>Title</a:t>
            </a:r>
          </a:p>
        </p:txBody>
      </p:sp>
      <p:sp>
        <p:nvSpPr>
          <p:cNvPr id="34" name="Picture Placeholder 3">
            <a:extLst>
              <a:ext uri="{FF2B5EF4-FFF2-40B4-BE49-F238E27FC236}">
                <a16:creationId xmlns:a16="http://schemas.microsoft.com/office/drawing/2014/main" id="{F853748F-65F2-599B-9F34-B594FC1EB208}"/>
              </a:ext>
            </a:extLst>
          </p:cNvPr>
          <p:cNvSpPr>
            <a:spLocks noGrp="1"/>
          </p:cNvSpPr>
          <p:nvPr>
            <p:ph type="pic" sz="quarter" idx="15"/>
          </p:nvPr>
        </p:nvSpPr>
        <p:spPr>
          <a:xfrm>
            <a:off x="815975" y="1956668"/>
            <a:ext cx="1245600" cy="1254062"/>
          </a:xfrm>
          <a:prstGeom prst="rect">
            <a:avLst/>
          </a:prstGeom>
          <a:solidFill>
            <a:srgbClr val="E7E7E8"/>
          </a:solidFill>
        </p:spPr>
        <p:txBody>
          <a:bodyPr lIns="72000" tIns="72000" rIns="72000"/>
          <a:lstStyle/>
          <a:p>
            <a:r>
              <a:rPr lang="en-US"/>
              <a:t>Click icon to add picture</a:t>
            </a:r>
            <a:endParaRPr lang="en-GB"/>
          </a:p>
        </p:txBody>
      </p:sp>
      <p:sp>
        <p:nvSpPr>
          <p:cNvPr id="35" name="Picture Placeholder 3">
            <a:extLst>
              <a:ext uri="{FF2B5EF4-FFF2-40B4-BE49-F238E27FC236}">
                <a16:creationId xmlns:a16="http://schemas.microsoft.com/office/drawing/2014/main" id="{AB7BAB43-A04D-BCB8-4A3D-5C8A71C4F3E5}"/>
              </a:ext>
            </a:extLst>
          </p:cNvPr>
          <p:cNvSpPr>
            <a:spLocks noGrp="1"/>
          </p:cNvSpPr>
          <p:nvPr>
            <p:ph type="pic" sz="quarter" idx="20"/>
          </p:nvPr>
        </p:nvSpPr>
        <p:spPr>
          <a:xfrm>
            <a:off x="6216650" y="1959360"/>
            <a:ext cx="1245600" cy="1254062"/>
          </a:xfrm>
          <a:prstGeom prst="rect">
            <a:avLst/>
          </a:prstGeom>
          <a:solidFill>
            <a:srgbClr val="E7E7E8"/>
          </a:solidFill>
        </p:spPr>
        <p:txBody>
          <a:bodyPr lIns="72000" tIns="72000" rIns="72000"/>
          <a:lstStyle/>
          <a:p>
            <a:r>
              <a:rPr lang="en-US"/>
              <a:t>Click icon to add picture</a:t>
            </a:r>
            <a:endParaRPr lang="en-GB"/>
          </a:p>
        </p:txBody>
      </p:sp>
    </p:spTree>
    <p:extLst>
      <p:ext uri="{BB962C8B-B14F-4D97-AF65-F5344CB8AC3E}">
        <p14:creationId xmlns:p14="http://schemas.microsoft.com/office/powerpoint/2010/main" val="19705091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person bio 1">
    <p:spTree>
      <p:nvGrpSpPr>
        <p:cNvPr id="1" name=""/>
        <p:cNvGrpSpPr/>
        <p:nvPr/>
      </p:nvGrpSpPr>
      <p:grpSpPr>
        <a:xfrm>
          <a:off x="0" y="0"/>
          <a:ext cx="0" cy="0"/>
          <a:chOff x="0" y="0"/>
          <a:chExt cx="0" cy="0"/>
        </a:xfrm>
      </p:grpSpPr>
      <p:pic>
        <p:nvPicPr>
          <p:cNvPr id="40" name="Graphic 39">
            <a:extLst>
              <a:ext uri="{FF2B5EF4-FFF2-40B4-BE49-F238E27FC236}">
                <a16:creationId xmlns:a16="http://schemas.microsoft.com/office/drawing/2014/main" id="{E393C836-72F1-4B4C-CDB2-A65939871B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01456"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2" name="Picture Placeholder 3">
            <a:extLst>
              <a:ext uri="{FF2B5EF4-FFF2-40B4-BE49-F238E27FC236}">
                <a16:creationId xmlns:a16="http://schemas.microsoft.com/office/drawing/2014/main" id="{9D2D943A-2A3F-A714-65E3-EFFAF5FD67E2}"/>
              </a:ext>
            </a:extLst>
          </p:cNvPr>
          <p:cNvSpPr>
            <a:spLocks noGrp="1"/>
          </p:cNvSpPr>
          <p:nvPr>
            <p:ph type="pic" sz="quarter" idx="16"/>
          </p:nvPr>
        </p:nvSpPr>
        <p:spPr>
          <a:xfrm>
            <a:off x="4389446" y="1868653"/>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5" name="Picture Placeholder 3">
            <a:extLst>
              <a:ext uri="{FF2B5EF4-FFF2-40B4-BE49-F238E27FC236}">
                <a16:creationId xmlns:a16="http://schemas.microsoft.com/office/drawing/2014/main" id="{32D8EFD6-31C0-8134-4FD0-C4ECA2C16AAF}"/>
              </a:ext>
            </a:extLst>
          </p:cNvPr>
          <p:cNvSpPr>
            <a:spLocks noGrp="1"/>
          </p:cNvSpPr>
          <p:nvPr>
            <p:ph type="pic" sz="quarter" idx="18"/>
          </p:nvPr>
        </p:nvSpPr>
        <p:spPr>
          <a:xfrm>
            <a:off x="8013407"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Slide Number Placeholder 2">
            <a:extLst>
              <a:ext uri="{FF2B5EF4-FFF2-40B4-BE49-F238E27FC236}">
                <a16:creationId xmlns:a16="http://schemas.microsoft.com/office/drawing/2014/main" id="{3D140AD1-6ED2-A19C-537B-F61589E45D8C}"/>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CF4A2BC4-16C0-3ED3-6A09-2DE174BF5247}"/>
              </a:ext>
            </a:extLst>
          </p:cNvPr>
          <p:cNvGrpSpPr/>
          <p:nvPr userDrawn="1"/>
        </p:nvGrpSpPr>
        <p:grpSpPr>
          <a:xfrm>
            <a:off x="10863102" y="309052"/>
            <a:ext cx="911847" cy="382707"/>
            <a:chOff x="7459170" y="481236"/>
            <a:chExt cx="2697427" cy="1132124"/>
          </a:xfrm>
        </p:grpSpPr>
        <p:sp>
          <p:nvSpPr>
            <p:cNvPr id="16" name="Freeform 15">
              <a:extLst>
                <a:ext uri="{FF2B5EF4-FFF2-40B4-BE49-F238E27FC236}">
                  <a16:creationId xmlns:a16="http://schemas.microsoft.com/office/drawing/2014/main" id="{D5DACEC9-C531-49E7-9460-CC18C897156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CA7BA22B-31B6-D674-C9FB-1041940A5E7B}"/>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9883007-4631-BCA2-CA35-19222071B4F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B282C641-7363-1830-1851-62F61446BAB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AB2600C0-D3BC-9D0F-6CE9-C96C57F4632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B39D83C-7EE4-B2FA-912E-D10B91E972E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E253A1C-9C6F-013F-EBB8-F7CD22C1529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2D5BC35A-ADFA-DFB3-E710-7A5983A86518}"/>
              </a:ext>
            </a:extLst>
          </p:cNvPr>
          <p:cNvSpPr/>
          <p:nvPr userDrawn="1"/>
        </p:nvSpPr>
        <p:spPr>
          <a:xfrm>
            <a:off x="7999179" y="3546640"/>
            <a:ext cx="3443872"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9" name="Rectangle 28">
            <a:extLst>
              <a:ext uri="{FF2B5EF4-FFF2-40B4-BE49-F238E27FC236}">
                <a16:creationId xmlns:a16="http://schemas.microsoft.com/office/drawing/2014/main" id="{3737B865-E7BB-63D3-D02E-DAF1FFCB42F5}"/>
              </a:ext>
            </a:extLst>
          </p:cNvPr>
          <p:cNvSpPr/>
          <p:nvPr userDrawn="1"/>
        </p:nvSpPr>
        <p:spPr>
          <a:xfrm>
            <a:off x="4399249" y="3547013"/>
            <a:ext cx="3443872" cy="270138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0" name="Rectangle 29">
            <a:extLst>
              <a:ext uri="{FF2B5EF4-FFF2-40B4-BE49-F238E27FC236}">
                <a16:creationId xmlns:a16="http://schemas.microsoft.com/office/drawing/2014/main" id="{76B6B0CB-8728-6581-63F9-9DF7245499EA}"/>
              </a:ext>
            </a:extLst>
          </p:cNvPr>
          <p:cNvSpPr/>
          <p:nvPr userDrawn="1"/>
        </p:nvSpPr>
        <p:spPr>
          <a:xfrm>
            <a:off x="801456" y="3547013"/>
            <a:ext cx="3443872"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1" name="Text Placeholder 2">
            <a:extLst>
              <a:ext uri="{FF2B5EF4-FFF2-40B4-BE49-F238E27FC236}">
                <a16:creationId xmlns:a16="http://schemas.microsoft.com/office/drawing/2014/main" id="{B68FC699-BF46-B2A7-0EAD-3A1AD4FCE09C}"/>
              </a:ext>
            </a:extLst>
          </p:cNvPr>
          <p:cNvSpPr>
            <a:spLocks noGrp="1"/>
          </p:cNvSpPr>
          <p:nvPr>
            <p:ph type="body" sz="quarter" idx="10" hasCustomPrompt="1"/>
          </p:nvPr>
        </p:nvSpPr>
        <p:spPr>
          <a:xfrm>
            <a:off x="890677" y="4367031"/>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E1E445C3-5B78-50F7-2998-8F62F56074A9}"/>
              </a:ext>
            </a:extLst>
          </p:cNvPr>
          <p:cNvSpPr>
            <a:spLocks noGrp="1"/>
          </p:cNvSpPr>
          <p:nvPr>
            <p:ph type="body" sz="quarter" idx="19" hasCustomPrompt="1"/>
          </p:nvPr>
        </p:nvSpPr>
        <p:spPr>
          <a:xfrm>
            <a:off x="900554" y="3669290"/>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26524453-55D7-4461-011C-DF4BE87B585C}"/>
              </a:ext>
            </a:extLst>
          </p:cNvPr>
          <p:cNvSpPr>
            <a:spLocks noGrp="1"/>
          </p:cNvSpPr>
          <p:nvPr>
            <p:ph type="body" sz="quarter" idx="22" hasCustomPrompt="1"/>
          </p:nvPr>
        </p:nvSpPr>
        <p:spPr>
          <a:xfrm>
            <a:off x="900554" y="3963067"/>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4" name="Text Placeholder 2">
            <a:extLst>
              <a:ext uri="{FF2B5EF4-FFF2-40B4-BE49-F238E27FC236}">
                <a16:creationId xmlns:a16="http://schemas.microsoft.com/office/drawing/2014/main" id="{5B1431F5-B85E-8A3C-FD1B-379EB205D354}"/>
              </a:ext>
            </a:extLst>
          </p:cNvPr>
          <p:cNvSpPr>
            <a:spLocks noGrp="1"/>
          </p:cNvSpPr>
          <p:nvPr>
            <p:ph type="body" sz="quarter" idx="23" hasCustomPrompt="1"/>
          </p:nvPr>
        </p:nvSpPr>
        <p:spPr>
          <a:xfrm>
            <a:off x="4519483" y="4366364"/>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5" name="Text Placeholder 7">
            <a:extLst>
              <a:ext uri="{FF2B5EF4-FFF2-40B4-BE49-F238E27FC236}">
                <a16:creationId xmlns:a16="http://schemas.microsoft.com/office/drawing/2014/main" id="{F83D0843-52F1-FD79-C888-B2311B954603}"/>
              </a:ext>
            </a:extLst>
          </p:cNvPr>
          <p:cNvSpPr>
            <a:spLocks noGrp="1"/>
          </p:cNvSpPr>
          <p:nvPr>
            <p:ph type="body" sz="quarter" idx="24" hasCustomPrompt="1"/>
          </p:nvPr>
        </p:nvSpPr>
        <p:spPr>
          <a:xfrm>
            <a:off x="4529360" y="3668623"/>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6" name="Text Placeholder 7">
            <a:extLst>
              <a:ext uri="{FF2B5EF4-FFF2-40B4-BE49-F238E27FC236}">
                <a16:creationId xmlns:a16="http://schemas.microsoft.com/office/drawing/2014/main" id="{68BAC2CE-CD1D-A130-D9EE-B67F47F29F6D}"/>
              </a:ext>
            </a:extLst>
          </p:cNvPr>
          <p:cNvSpPr>
            <a:spLocks noGrp="1"/>
          </p:cNvSpPr>
          <p:nvPr>
            <p:ph type="body" sz="quarter" idx="25" hasCustomPrompt="1"/>
          </p:nvPr>
        </p:nvSpPr>
        <p:spPr>
          <a:xfrm>
            <a:off x="4529360" y="3962400"/>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7" name="Text Placeholder 2">
            <a:extLst>
              <a:ext uri="{FF2B5EF4-FFF2-40B4-BE49-F238E27FC236}">
                <a16:creationId xmlns:a16="http://schemas.microsoft.com/office/drawing/2014/main" id="{0D9D3286-5A10-F18A-6179-09C50BD70BE4}"/>
              </a:ext>
            </a:extLst>
          </p:cNvPr>
          <p:cNvSpPr>
            <a:spLocks noGrp="1"/>
          </p:cNvSpPr>
          <p:nvPr>
            <p:ph type="body" sz="quarter" idx="26" hasCustomPrompt="1"/>
          </p:nvPr>
        </p:nvSpPr>
        <p:spPr>
          <a:xfrm>
            <a:off x="8095755" y="4375893"/>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8" name="Text Placeholder 7">
            <a:extLst>
              <a:ext uri="{FF2B5EF4-FFF2-40B4-BE49-F238E27FC236}">
                <a16:creationId xmlns:a16="http://schemas.microsoft.com/office/drawing/2014/main" id="{8246E0BB-E262-5DA9-3170-C7BBA767681B}"/>
              </a:ext>
            </a:extLst>
          </p:cNvPr>
          <p:cNvSpPr>
            <a:spLocks noGrp="1"/>
          </p:cNvSpPr>
          <p:nvPr>
            <p:ph type="body" sz="quarter" idx="27" hasCustomPrompt="1"/>
          </p:nvPr>
        </p:nvSpPr>
        <p:spPr>
          <a:xfrm>
            <a:off x="8105632" y="3678152"/>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9" name="Text Placeholder 7">
            <a:extLst>
              <a:ext uri="{FF2B5EF4-FFF2-40B4-BE49-F238E27FC236}">
                <a16:creationId xmlns:a16="http://schemas.microsoft.com/office/drawing/2014/main" id="{7397CC10-157B-7400-99EB-174A72B28A02}"/>
              </a:ext>
            </a:extLst>
          </p:cNvPr>
          <p:cNvSpPr>
            <a:spLocks noGrp="1"/>
          </p:cNvSpPr>
          <p:nvPr>
            <p:ph type="body" sz="quarter" idx="28" hasCustomPrompt="1"/>
          </p:nvPr>
        </p:nvSpPr>
        <p:spPr>
          <a:xfrm>
            <a:off x="8105632" y="3971929"/>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8" name="Rectangle 7">
            <a:extLst>
              <a:ext uri="{FF2B5EF4-FFF2-40B4-BE49-F238E27FC236}">
                <a16:creationId xmlns:a16="http://schemas.microsoft.com/office/drawing/2014/main" id="{F326EF76-5721-51B5-BFF7-8D90510E9FBC}"/>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2001189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5975" y="1956668"/>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282445"/>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076067" y="2110799"/>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076067" y="2696622"/>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3" name="Picture Placeholder 3">
            <a:extLst>
              <a:ext uri="{FF2B5EF4-FFF2-40B4-BE49-F238E27FC236}">
                <a16:creationId xmlns:a16="http://schemas.microsoft.com/office/drawing/2014/main" id="{392D5268-2F0A-D215-A7BB-EFB100CF96D2}"/>
              </a:ext>
            </a:extLst>
          </p:cNvPr>
          <p:cNvSpPr>
            <a:spLocks noGrp="1"/>
          </p:cNvSpPr>
          <p:nvPr>
            <p:ph type="pic" sz="quarter" idx="23"/>
          </p:nvPr>
        </p:nvSpPr>
        <p:spPr>
          <a:xfrm>
            <a:off x="4423561" y="1954891"/>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7" name="Text Placeholder 2">
            <a:extLst>
              <a:ext uri="{FF2B5EF4-FFF2-40B4-BE49-F238E27FC236}">
                <a16:creationId xmlns:a16="http://schemas.microsoft.com/office/drawing/2014/main" id="{4981AF6E-5575-586C-7E95-F8487F134162}"/>
              </a:ext>
            </a:extLst>
          </p:cNvPr>
          <p:cNvSpPr>
            <a:spLocks noGrp="1"/>
          </p:cNvSpPr>
          <p:nvPr>
            <p:ph type="body" sz="quarter" idx="24" hasCustomPrompt="1"/>
          </p:nvPr>
        </p:nvSpPr>
        <p:spPr>
          <a:xfrm>
            <a:off x="4422145" y="3280668"/>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CBC4B6E6-8772-3B70-144A-EACD64C7AED5}"/>
              </a:ext>
            </a:extLst>
          </p:cNvPr>
          <p:cNvSpPr>
            <a:spLocks noGrp="1"/>
          </p:cNvSpPr>
          <p:nvPr>
            <p:ph type="body" sz="quarter" idx="25" hasCustomPrompt="1"/>
          </p:nvPr>
        </p:nvSpPr>
        <p:spPr>
          <a:xfrm>
            <a:off x="5683653" y="2109022"/>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11" name="Text Placeholder 7">
            <a:extLst>
              <a:ext uri="{FF2B5EF4-FFF2-40B4-BE49-F238E27FC236}">
                <a16:creationId xmlns:a16="http://schemas.microsoft.com/office/drawing/2014/main" id="{66407540-F988-3611-ED4D-366C82FFE6C2}"/>
              </a:ext>
            </a:extLst>
          </p:cNvPr>
          <p:cNvSpPr>
            <a:spLocks noGrp="1"/>
          </p:cNvSpPr>
          <p:nvPr>
            <p:ph type="body" sz="quarter" idx="26" hasCustomPrompt="1"/>
          </p:nvPr>
        </p:nvSpPr>
        <p:spPr>
          <a:xfrm>
            <a:off x="5683653" y="2694845"/>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13" name="Picture Placeholder 3">
            <a:extLst>
              <a:ext uri="{FF2B5EF4-FFF2-40B4-BE49-F238E27FC236}">
                <a16:creationId xmlns:a16="http://schemas.microsoft.com/office/drawing/2014/main" id="{FAA941C1-6898-D7AB-B44C-9E08BC0C5C15}"/>
              </a:ext>
            </a:extLst>
          </p:cNvPr>
          <p:cNvSpPr>
            <a:spLocks noGrp="1"/>
          </p:cNvSpPr>
          <p:nvPr>
            <p:ph type="pic" sz="quarter" idx="27"/>
          </p:nvPr>
        </p:nvSpPr>
        <p:spPr>
          <a:xfrm>
            <a:off x="8015288" y="1959360"/>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14" name="Text Placeholder 2">
            <a:extLst>
              <a:ext uri="{FF2B5EF4-FFF2-40B4-BE49-F238E27FC236}">
                <a16:creationId xmlns:a16="http://schemas.microsoft.com/office/drawing/2014/main" id="{73E4BC0C-7F57-E414-4597-F740BB073E26}"/>
              </a:ext>
            </a:extLst>
          </p:cNvPr>
          <p:cNvSpPr>
            <a:spLocks noGrp="1"/>
          </p:cNvSpPr>
          <p:nvPr>
            <p:ph type="body" sz="quarter" idx="28" hasCustomPrompt="1"/>
          </p:nvPr>
        </p:nvSpPr>
        <p:spPr>
          <a:xfrm>
            <a:off x="8013872" y="3285137"/>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E0F91699-5314-781C-1820-506BD09E9523}"/>
              </a:ext>
            </a:extLst>
          </p:cNvPr>
          <p:cNvSpPr>
            <a:spLocks noGrp="1"/>
          </p:cNvSpPr>
          <p:nvPr>
            <p:ph type="body" sz="quarter" idx="29" hasCustomPrompt="1"/>
          </p:nvPr>
        </p:nvSpPr>
        <p:spPr>
          <a:xfrm>
            <a:off x="9275380" y="2113491"/>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5BB83E18-A80F-18CF-AD01-1CB0415B3763}"/>
              </a:ext>
            </a:extLst>
          </p:cNvPr>
          <p:cNvSpPr>
            <a:spLocks noGrp="1"/>
          </p:cNvSpPr>
          <p:nvPr>
            <p:ph type="body" sz="quarter" idx="30" hasCustomPrompt="1"/>
          </p:nvPr>
        </p:nvSpPr>
        <p:spPr>
          <a:xfrm>
            <a:off x="9275380" y="2699314"/>
            <a:ext cx="2159383"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17121715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person bio 1">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EDC964B3-D9B3-BDF6-8C72-B2FC0624C7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Biography slide x 4</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35152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6227660"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6" name="Picture Placeholder 3">
            <a:extLst>
              <a:ext uri="{FF2B5EF4-FFF2-40B4-BE49-F238E27FC236}">
                <a16:creationId xmlns:a16="http://schemas.microsoft.com/office/drawing/2014/main" id="{0D01A2CA-AF63-E65B-997D-F01838956F4E}"/>
              </a:ext>
            </a:extLst>
          </p:cNvPr>
          <p:cNvSpPr>
            <a:spLocks noGrp="1"/>
          </p:cNvSpPr>
          <p:nvPr>
            <p:ph type="pic" sz="quarter" idx="31"/>
          </p:nvPr>
        </p:nvSpPr>
        <p:spPr>
          <a:xfrm>
            <a:off x="891660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5" name="Slide Number Placeholder 2">
            <a:extLst>
              <a:ext uri="{FF2B5EF4-FFF2-40B4-BE49-F238E27FC236}">
                <a16:creationId xmlns:a16="http://schemas.microsoft.com/office/drawing/2014/main" id="{0AC5DC3F-8A0C-3385-41DD-BA3F8E46DC1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828977C-FF52-8352-03C4-2C4E91DB5112}"/>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A30FD47-331E-E241-8B2E-B37D09C8D06B}"/>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A3D5DEB-680F-CAD7-7360-52A37EFB5EEE}"/>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48E06E0-F516-06A9-EFD3-6DEF12A0D57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A36CCF28-5CF6-ABF1-DDCD-030EF9A9145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583301F-29DD-E053-1024-F884A0C0BCB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C2FA7571-9E09-EF28-9B22-99A8D2A0F9F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C047B20-2EBF-00DE-8359-489D76DF9E1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50" name="Rectangle 49">
            <a:extLst>
              <a:ext uri="{FF2B5EF4-FFF2-40B4-BE49-F238E27FC236}">
                <a16:creationId xmlns:a16="http://schemas.microsoft.com/office/drawing/2014/main" id="{FDC7185C-D49C-9FAF-4143-486318EC394B}"/>
              </a:ext>
            </a:extLst>
          </p:cNvPr>
          <p:cNvSpPr/>
          <p:nvPr userDrawn="1"/>
        </p:nvSpPr>
        <p:spPr>
          <a:xfrm>
            <a:off x="814558" y="3547013"/>
            <a:ext cx="2530657"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1" name="Rectangle 50">
            <a:extLst>
              <a:ext uri="{FF2B5EF4-FFF2-40B4-BE49-F238E27FC236}">
                <a16:creationId xmlns:a16="http://schemas.microsoft.com/office/drawing/2014/main" id="{8AB4B76D-2F51-3EE1-CF98-3CC9BBBA7745}"/>
              </a:ext>
            </a:extLst>
          </p:cNvPr>
          <p:cNvSpPr/>
          <p:nvPr userDrawn="1"/>
        </p:nvSpPr>
        <p:spPr>
          <a:xfrm>
            <a:off x="3508678" y="3547013"/>
            <a:ext cx="2530657" cy="270138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2" name="Rectangle 51">
            <a:extLst>
              <a:ext uri="{FF2B5EF4-FFF2-40B4-BE49-F238E27FC236}">
                <a16:creationId xmlns:a16="http://schemas.microsoft.com/office/drawing/2014/main" id="{243E2EDB-A6F7-5810-7A31-FEC131AA5B00}"/>
              </a:ext>
            </a:extLst>
          </p:cNvPr>
          <p:cNvSpPr/>
          <p:nvPr userDrawn="1"/>
        </p:nvSpPr>
        <p:spPr>
          <a:xfrm>
            <a:off x="6226340" y="3547013"/>
            <a:ext cx="2530657"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3" name="Rectangle 52">
            <a:extLst>
              <a:ext uri="{FF2B5EF4-FFF2-40B4-BE49-F238E27FC236}">
                <a16:creationId xmlns:a16="http://schemas.microsoft.com/office/drawing/2014/main" id="{B3FE3356-8C64-5923-078A-9E74A197B89A}"/>
              </a:ext>
            </a:extLst>
          </p:cNvPr>
          <p:cNvSpPr/>
          <p:nvPr userDrawn="1"/>
        </p:nvSpPr>
        <p:spPr>
          <a:xfrm>
            <a:off x="8917626" y="3547013"/>
            <a:ext cx="2530657" cy="270138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4" name="Text Placeholder 2">
            <a:extLst>
              <a:ext uri="{FF2B5EF4-FFF2-40B4-BE49-F238E27FC236}">
                <a16:creationId xmlns:a16="http://schemas.microsoft.com/office/drawing/2014/main" id="{61894215-E5DD-AE02-6696-11E3FFAEDA78}"/>
              </a:ext>
            </a:extLst>
          </p:cNvPr>
          <p:cNvSpPr>
            <a:spLocks noGrp="1"/>
          </p:cNvSpPr>
          <p:nvPr>
            <p:ph type="body" sz="quarter" idx="10" hasCustomPrompt="1"/>
          </p:nvPr>
        </p:nvSpPr>
        <p:spPr>
          <a:xfrm>
            <a:off x="910080"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5" name="Text Placeholder 7">
            <a:extLst>
              <a:ext uri="{FF2B5EF4-FFF2-40B4-BE49-F238E27FC236}">
                <a16:creationId xmlns:a16="http://schemas.microsoft.com/office/drawing/2014/main" id="{AC362FC8-C232-87A4-AD27-62A5A899A8D5}"/>
              </a:ext>
            </a:extLst>
          </p:cNvPr>
          <p:cNvSpPr>
            <a:spLocks noGrp="1"/>
          </p:cNvSpPr>
          <p:nvPr>
            <p:ph type="body" sz="quarter" idx="19" hasCustomPrompt="1"/>
          </p:nvPr>
        </p:nvSpPr>
        <p:spPr>
          <a:xfrm>
            <a:off x="919957"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2B2F03B7-8F82-F49F-74DB-103B9928CDFC}"/>
              </a:ext>
            </a:extLst>
          </p:cNvPr>
          <p:cNvSpPr>
            <a:spLocks noGrp="1"/>
          </p:cNvSpPr>
          <p:nvPr>
            <p:ph type="body" sz="quarter" idx="22" hasCustomPrompt="1"/>
          </p:nvPr>
        </p:nvSpPr>
        <p:spPr>
          <a:xfrm>
            <a:off x="919957"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57" name="Text Placeholder 2">
            <a:extLst>
              <a:ext uri="{FF2B5EF4-FFF2-40B4-BE49-F238E27FC236}">
                <a16:creationId xmlns:a16="http://schemas.microsoft.com/office/drawing/2014/main" id="{16FF92B3-078A-DFC5-22E3-852DC5755334}"/>
              </a:ext>
            </a:extLst>
          </p:cNvPr>
          <p:cNvSpPr>
            <a:spLocks noGrp="1"/>
          </p:cNvSpPr>
          <p:nvPr>
            <p:ph type="body" sz="quarter" idx="24" hasCustomPrompt="1"/>
          </p:nvPr>
        </p:nvSpPr>
        <p:spPr>
          <a:xfrm>
            <a:off x="3633837" y="4423987"/>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8" name="Text Placeholder 7">
            <a:extLst>
              <a:ext uri="{FF2B5EF4-FFF2-40B4-BE49-F238E27FC236}">
                <a16:creationId xmlns:a16="http://schemas.microsoft.com/office/drawing/2014/main" id="{6E45A676-5420-25DC-E8F7-4FF9613FEBC6}"/>
              </a:ext>
            </a:extLst>
          </p:cNvPr>
          <p:cNvSpPr>
            <a:spLocks noGrp="1"/>
          </p:cNvSpPr>
          <p:nvPr>
            <p:ph type="body" sz="quarter" idx="25" hasCustomPrompt="1"/>
          </p:nvPr>
        </p:nvSpPr>
        <p:spPr>
          <a:xfrm>
            <a:off x="3643714" y="3668996"/>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9" name="Text Placeholder 7">
            <a:extLst>
              <a:ext uri="{FF2B5EF4-FFF2-40B4-BE49-F238E27FC236}">
                <a16:creationId xmlns:a16="http://schemas.microsoft.com/office/drawing/2014/main" id="{DF8E11E5-A96E-E52E-04DF-CE1454826FBE}"/>
              </a:ext>
            </a:extLst>
          </p:cNvPr>
          <p:cNvSpPr>
            <a:spLocks noGrp="1"/>
          </p:cNvSpPr>
          <p:nvPr>
            <p:ph type="body" sz="quarter" idx="26" hasCustomPrompt="1"/>
          </p:nvPr>
        </p:nvSpPr>
        <p:spPr>
          <a:xfrm>
            <a:off x="3643714" y="3946561"/>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0" name="Text Placeholder 2">
            <a:extLst>
              <a:ext uri="{FF2B5EF4-FFF2-40B4-BE49-F238E27FC236}">
                <a16:creationId xmlns:a16="http://schemas.microsoft.com/office/drawing/2014/main" id="{B9DBF00E-FEB2-A4AD-AC59-AAEBA88AFA27}"/>
              </a:ext>
            </a:extLst>
          </p:cNvPr>
          <p:cNvSpPr>
            <a:spLocks noGrp="1"/>
          </p:cNvSpPr>
          <p:nvPr>
            <p:ph type="body" sz="quarter" idx="28" hasCustomPrompt="1"/>
          </p:nvPr>
        </p:nvSpPr>
        <p:spPr>
          <a:xfrm>
            <a:off x="6346222"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1" name="Text Placeholder 7">
            <a:extLst>
              <a:ext uri="{FF2B5EF4-FFF2-40B4-BE49-F238E27FC236}">
                <a16:creationId xmlns:a16="http://schemas.microsoft.com/office/drawing/2014/main" id="{5A540C15-FEA9-40FF-7BDF-EEDFC6FEFF95}"/>
              </a:ext>
            </a:extLst>
          </p:cNvPr>
          <p:cNvSpPr>
            <a:spLocks noGrp="1"/>
          </p:cNvSpPr>
          <p:nvPr>
            <p:ph type="body" sz="quarter" idx="29" hasCustomPrompt="1"/>
          </p:nvPr>
        </p:nvSpPr>
        <p:spPr>
          <a:xfrm>
            <a:off x="6356099"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2" name="Text Placeholder 7">
            <a:extLst>
              <a:ext uri="{FF2B5EF4-FFF2-40B4-BE49-F238E27FC236}">
                <a16:creationId xmlns:a16="http://schemas.microsoft.com/office/drawing/2014/main" id="{13DDF17F-F5BA-287E-DA76-5E4B3D047A3C}"/>
              </a:ext>
            </a:extLst>
          </p:cNvPr>
          <p:cNvSpPr>
            <a:spLocks noGrp="1"/>
          </p:cNvSpPr>
          <p:nvPr>
            <p:ph type="body" sz="quarter" idx="30" hasCustomPrompt="1"/>
          </p:nvPr>
        </p:nvSpPr>
        <p:spPr>
          <a:xfrm>
            <a:off x="6356099"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3" name="Text Placeholder 2">
            <a:extLst>
              <a:ext uri="{FF2B5EF4-FFF2-40B4-BE49-F238E27FC236}">
                <a16:creationId xmlns:a16="http://schemas.microsoft.com/office/drawing/2014/main" id="{BAD069F9-640F-50AE-2AC2-A7F75D61686C}"/>
              </a:ext>
            </a:extLst>
          </p:cNvPr>
          <p:cNvSpPr>
            <a:spLocks noGrp="1"/>
          </p:cNvSpPr>
          <p:nvPr>
            <p:ph type="body" sz="quarter" idx="32" hasCustomPrompt="1"/>
          </p:nvPr>
        </p:nvSpPr>
        <p:spPr>
          <a:xfrm>
            <a:off x="9056053" y="4434145"/>
            <a:ext cx="2319857"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65A9B70E-402F-F557-90F8-C76CBCF35EA1}"/>
              </a:ext>
            </a:extLst>
          </p:cNvPr>
          <p:cNvSpPr>
            <a:spLocks noGrp="1"/>
          </p:cNvSpPr>
          <p:nvPr>
            <p:ph type="body" sz="quarter" idx="33" hasCustomPrompt="1"/>
          </p:nvPr>
        </p:nvSpPr>
        <p:spPr>
          <a:xfrm>
            <a:off x="9056054"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5" name="Text Placeholder 7">
            <a:extLst>
              <a:ext uri="{FF2B5EF4-FFF2-40B4-BE49-F238E27FC236}">
                <a16:creationId xmlns:a16="http://schemas.microsoft.com/office/drawing/2014/main" id="{5B090167-75DA-9EF9-A3B6-21D2AE4C23C6}"/>
              </a:ext>
            </a:extLst>
          </p:cNvPr>
          <p:cNvSpPr>
            <a:spLocks noGrp="1"/>
          </p:cNvSpPr>
          <p:nvPr>
            <p:ph type="body" sz="quarter" idx="34" hasCustomPrompt="1"/>
          </p:nvPr>
        </p:nvSpPr>
        <p:spPr>
          <a:xfrm>
            <a:off x="9056054"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3" name="Rectangle 2">
            <a:extLst>
              <a:ext uri="{FF2B5EF4-FFF2-40B4-BE49-F238E27FC236}">
                <a16:creationId xmlns:a16="http://schemas.microsoft.com/office/drawing/2014/main" id="{AE019240-46E7-AB6A-2E63-95DCA386B7E0}"/>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8521167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our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4</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4559" y="1855452"/>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490780"/>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81455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81455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25" name="Picture Placeholder 3">
            <a:extLst>
              <a:ext uri="{FF2B5EF4-FFF2-40B4-BE49-F238E27FC236}">
                <a16:creationId xmlns:a16="http://schemas.microsoft.com/office/drawing/2014/main" id="{F2C6DF06-3670-710F-232B-A2F6BC3057F3}"/>
              </a:ext>
            </a:extLst>
          </p:cNvPr>
          <p:cNvSpPr>
            <a:spLocks noGrp="1"/>
          </p:cNvSpPr>
          <p:nvPr>
            <p:ph type="pic" sz="quarter" idx="23"/>
          </p:nvPr>
        </p:nvSpPr>
        <p:spPr>
          <a:xfrm>
            <a:off x="3526009" y="1859869"/>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6" name="Text Placeholder 2">
            <a:extLst>
              <a:ext uri="{FF2B5EF4-FFF2-40B4-BE49-F238E27FC236}">
                <a16:creationId xmlns:a16="http://schemas.microsoft.com/office/drawing/2014/main" id="{C12E0DEF-B1EE-488F-4918-3F9D52EA0CBC}"/>
              </a:ext>
            </a:extLst>
          </p:cNvPr>
          <p:cNvSpPr>
            <a:spLocks noGrp="1"/>
          </p:cNvSpPr>
          <p:nvPr>
            <p:ph type="body" sz="quarter" idx="24" hasCustomPrompt="1"/>
          </p:nvPr>
        </p:nvSpPr>
        <p:spPr>
          <a:xfrm>
            <a:off x="3526009" y="3495197"/>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Picture Placeholder 3">
            <a:extLst>
              <a:ext uri="{FF2B5EF4-FFF2-40B4-BE49-F238E27FC236}">
                <a16:creationId xmlns:a16="http://schemas.microsoft.com/office/drawing/2014/main" id="{AE0DACA8-7747-11D7-C695-1CF89E571370}"/>
              </a:ext>
            </a:extLst>
          </p:cNvPr>
          <p:cNvSpPr>
            <a:spLocks noGrp="1"/>
          </p:cNvSpPr>
          <p:nvPr>
            <p:ph type="pic" sz="quarter" idx="27"/>
          </p:nvPr>
        </p:nvSpPr>
        <p:spPr>
          <a:xfrm>
            <a:off x="6215998" y="1853727"/>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3" name="Text Placeholder 2">
            <a:extLst>
              <a:ext uri="{FF2B5EF4-FFF2-40B4-BE49-F238E27FC236}">
                <a16:creationId xmlns:a16="http://schemas.microsoft.com/office/drawing/2014/main" id="{0D44B368-DB8F-C365-A0DE-4D59C0AD1B16}"/>
              </a:ext>
            </a:extLst>
          </p:cNvPr>
          <p:cNvSpPr>
            <a:spLocks noGrp="1"/>
          </p:cNvSpPr>
          <p:nvPr>
            <p:ph type="body" sz="quarter" idx="28" hasCustomPrompt="1"/>
          </p:nvPr>
        </p:nvSpPr>
        <p:spPr>
          <a:xfrm>
            <a:off x="6215998" y="3489055"/>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6" name="Picture Placeholder 3">
            <a:extLst>
              <a:ext uri="{FF2B5EF4-FFF2-40B4-BE49-F238E27FC236}">
                <a16:creationId xmlns:a16="http://schemas.microsoft.com/office/drawing/2014/main" id="{32F9F671-F799-7F08-8D2F-F4494EDBEF29}"/>
              </a:ext>
            </a:extLst>
          </p:cNvPr>
          <p:cNvSpPr>
            <a:spLocks noGrp="1"/>
          </p:cNvSpPr>
          <p:nvPr>
            <p:ph type="pic" sz="quarter" idx="31"/>
          </p:nvPr>
        </p:nvSpPr>
        <p:spPr>
          <a:xfrm>
            <a:off x="8927448" y="1858144"/>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7" name="Text Placeholder 2">
            <a:extLst>
              <a:ext uri="{FF2B5EF4-FFF2-40B4-BE49-F238E27FC236}">
                <a16:creationId xmlns:a16="http://schemas.microsoft.com/office/drawing/2014/main" id="{FDB7CAFB-2D86-4193-4E1F-DF5A02DE5329}"/>
              </a:ext>
            </a:extLst>
          </p:cNvPr>
          <p:cNvSpPr>
            <a:spLocks noGrp="1"/>
          </p:cNvSpPr>
          <p:nvPr>
            <p:ph type="body" sz="quarter" idx="32" hasCustomPrompt="1"/>
          </p:nvPr>
        </p:nvSpPr>
        <p:spPr>
          <a:xfrm>
            <a:off x="8927448" y="3493472"/>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40" name="Text Placeholder 7">
            <a:extLst>
              <a:ext uri="{FF2B5EF4-FFF2-40B4-BE49-F238E27FC236}">
                <a16:creationId xmlns:a16="http://schemas.microsoft.com/office/drawing/2014/main" id="{6329F46C-FBCA-DB14-7528-E9A3EE7D87AE}"/>
              </a:ext>
            </a:extLst>
          </p:cNvPr>
          <p:cNvSpPr>
            <a:spLocks noGrp="1"/>
          </p:cNvSpPr>
          <p:nvPr>
            <p:ph type="body" sz="quarter" idx="35" hasCustomPrompt="1"/>
          </p:nvPr>
        </p:nvSpPr>
        <p:spPr>
          <a:xfrm>
            <a:off x="351527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6F250587-E67E-F574-4BA4-D27945398975}"/>
              </a:ext>
            </a:extLst>
          </p:cNvPr>
          <p:cNvSpPr>
            <a:spLocks noGrp="1"/>
          </p:cNvSpPr>
          <p:nvPr>
            <p:ph type="body" sz="quarter" idx="36" hasCustomPrompt="1"/>
          </p:nvPr>
        </p:nvSpPr>
        <p:spPr>
          <a:xfrm>
            <a:off x="351527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A49D5C32-44E8-4058-2C23-78C3248828D4}"/>
              </a:ext>
            </a:extLst>
          </p:cNvPr>
          <p:cNvSpPr>
            <a:spLocks noGrp="1"/>
          </p:cNvSpPr>
          <p:nvPr>
            <p:ph type="body" sz="quarter" idx="37" hasCustomPrompt="1"/>
          </p:nvPr>
        </p:nvSpPr>
        <p:spPr>
          <a:xfrm>
            <a:off x="621551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3FDDD2D5-A5A1-2E10-5CD4-2C02087E40A6}"/>
              </a:ext>
            </a:extLst>
          </p:cNvPr>
          <p:cNvSpPr>
            <a:spLocks noGrp="1"/>
          </p:cNvSpPr>
          <p:nvPr>
            <p:ph type="body" sz="quarter" idx="38" hasCustomPrompt="1"/>
          </p:nvPr>
        </p:nvSpPr>
        <p:spPr>
          <a:xfrm>
            <a:off x="6215517" y="3184603"/>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5188FEE3-D2FB-DEE9-71F9-951C5ECD73FF}"/>
              </a:ext>
            </a:extLst>
          </p:cNvPr>
          <p:cNvSpPr>
            <a:spLocks noGrp="1"/>
          </p:cNvSpPr>
          <p:nvPr>
            <p:ph type="body" sz="quarter" idx="39" hasCustomPrompt="1"/>
          </p:nvPr>
        </p:nvSpPr>
        <p:spPr>
          <a:xfrm>
            <a:off x="891623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5" name="Text Placeholder 7">
            <a:extLst>
              <a:ext uri="{FF2B5EF4-FFF2-40B4-BE49-F238E27FC236}">
                <a16:creationId xmlns:a16="http://schemas.microsoft.com/office/drawing/2014/main" id="{13A428F6-9A06-F8F4-18B0-417F7DBFBC65}"/>
              </a:ext>
            </a:extLst>
          </p:cNvPr>
          <p:cNvSpPr>
            <a:spLocks noGrp="1"/>
          </p:cNvSpPr>
          <p:nvPr>
            <p:ph type="body" sz="quarter" idx="40" hasCustomPrompt="1"/>
          </p:nvPr>
        </p:nvSpPr>
        <p:spPr>
          <a:xfrm>
            <a:off x="8916237" y="3184603"/>
            <a:ext cx="2542241"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36817985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reate Layout Light Grey">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a:xfrm>
            <a:off x="785813" y="694800"/>
            <a:ext cx="7020000" cy="553998"/>
          </a:xfrm>
        </p:spPr>
        <p:txBody>
          <a:bodyPr/>
          <a:lstStyle/>
          <a:p>
            <a:r>
              <a:rPr lang="en-US"/>
              <a:t>Click to edit Master title style</a:t>
            </a:r>
            <a:endParaRPr lang="en-GB" dirty="0"/>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a:xfrm>
            <a:off x="785813" y="1898650"/>
            <a:ext cx="7020000" cy="36003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3" name="Logo">
            <a:extLst>
              <a:ext uri="{FF2B5EF4-FFF2-40B4-BE49-F238E27FC236}">
                <a16:creationId xmlns:a16="http://schemas.microsoft.com/office/drawing/2014/main" id="{E2C80EE3-71D5-AD3C-9F14-55FBAD812E7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866053" y="278965"/>
            <a:ext cx="900000" cy="378445"/>
          </a:xfrm>
          <a:prstGeom prst="rect">
            <a:avLst/>
          </a:prstGeom>
        </p:spPr>
      </p:pic>
    </p:spTree>
    <p:extLst>
      <p:ext uri="{BB962C8B-B14F-4D97-AF65-F5344CB8AC3E}">
        <p14:creationId xmlns:p14="http://schemas.microsoft.com/office/powerpoint/2010/main" val="3867209983"/>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 person team layou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A2C90E6-E7AF-BA63-C460-15830FD0E705}"/>
              </a:ext>
            </a:extLst>
          </p:cNvPr>
          <p:cNvSpPr/>
          <p:nvPr userDrawn="1"/>
        </p:nvSpPr>
        <p:spPr>
          <a:xfrm>
            <a:off x="0" y="3102678"/>
            <a:ext cx="12192000" cy="832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10" name="Rectangle 9">
            <a:extLst>
              <a:ext uri="{FF2B5EF4-FFF2-40B4-BE49-F238E27FC236}">
                <a16:creationId xmlns:a16="http://schemas.microsoft.com/office/drawing/2014/main" id="{A1B59224-B5E3-5DBB-DFE9-EBE8C6A95EB2}"/>
              </a:ext>
            </a:extLst>
          </p:cNvPr>
          <p:cNvSpPr/>
          <p:nvPr userDrawn="1"/>
        </p:nvSpPr>
        <p:spPr>
          <a:xfrm>
            <a:off x="0" y="5315744"/>
            <a:ext cx="12192000" cy="15422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847471" y="322889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847471" y="348510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5" name="Text Placeholder 7">
            <a:extLst>
              <a:ext uri="{FF2B5EF4-FFF2-40B4-BE49-F238E27FC236}">
                <a16:creationId xmlns:a16="http://schemas.microsoft.com/office/drawing/2014/main" id="{25231B2D-42A1-8C54-29F5-0D3A1AB8ABCB}"/>
              </a:ext>
            </a:extLst>
          </p:cNvPr>
          <p:cNvSpPr>
            <a:spLocks noGrp="1"/>
          </p:cNvSpPr>
          <p:nvPr>
            <p:ph type="body" sz="quarter" idx="36" hasCustomPrompt="1"/>
          </p:nvPr>
        </p:nvSpPr>
        <p:spPr>
          <a:xfrm>
            <a:off x="827750" y="544624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6" name="Text Placeholder 7">
            <a:extLst>
              <a:ext uri="{FF2B5EF4-FFF2-40B4-BE49-F238E27FC236}">
                <a16:creationId xmlns:a16="http://schemas.microsoft.com/office/drawing/2014/main" id="{093C62DE-F353-4E20-0689-7DAA11BA3687}"/>
              </a:ext>
            </a:extLst>
          </p:cNvPr>
          <p:cNvSpPr>
            <a:spLocks noGrp="1"/>
          </p:cNvSpPr>
          <p:nvPr>
            <p:ph type="body" sz="quarter" idx="37" hasCustomPrompt="1"/>
          </p:nvPr>
        </p:nvSpPr>
        <p:spPr>
          <a:xfrm>
            <a:off x="827750" y="5702455"/>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07734" y="3224607"/>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07734" y="3480816"/>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6" name="Text Placeholder 7">
            <a:extLst>
              <a:ext uri="{FF2B5EF4-FFF2-40B4-BE49-F238E27FC236}">
                <a16:creationId xmlns:a16="http://schemas.microsoft.com/office/drawing/2014/main" id="{C408D9ED-D17D-B672-334F-AD57158732BC}"/>
              </a:ext>
            </a:extLst>
          </p:cNvPr>
          <p:cNvSpPr>
            <a:spLocks noGrp="1"/>
          </p:cNvSpPr>
          <p:nvPr>
            <p:ph type="body" sz="quarter" idx="48" hasCustomPrompt="1"/>
          </p:nvPr>
        </p:nvSpPr>
        <p:spPr>
          <a:xfrm>
            <a:off x="4788013" y="5441960"/>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0E0D9902-92D2-D4C2-957A-D4E758CCC8D8}"/>
              </a:ext>
            </a:extLst>
          </p:cNvPr>
          <p:cNvSpPr>
            <a:spLocks noGrp="1"/>
          </p:cNvSpPr>
          <p:nvPr>
            <p:ph type="body" sz="quarter" idx="49" hasCustomPrompt="1"/>
          </p:nvPr>
        </p:nvSpPr>
        <p:spPr>
          <a:xfrm>
            <a:off x="4788013" y="5698169"/>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748276" y="322877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748276" y="348498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E834C28D-8C7D-974B-10D5-B205D0EBDFA5}"/>
              </a:ext>
            </a:extLst>
          </p:cNvPr>
          <p:cNvSpPr>
            <a:spLocks noGrp="1"/>
          </p:cNvSpPr>
          <p:nvPr>
            <p:ph type="body" sz="quarter" idx="53" hasCustomPrompt="1"/>
          </p:nvPr>
        </p:nvSpPr>
        <p:spPr>
          <a:xfrm>
            <a:off x="8728555" y="544612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EBA14631-C234-B996-559F-BCC65FBE18C5}"/>
              </a:ext>
            </a:extLst>
          </p:cNvPr>
          <p:cNvSpPr>
            <a:spLocks noGrp="1"/>
          </p:cNvSpPr>
          <p:nvPr>
            <p:ph type="body" sz="quarter" idx="54" hasCustomPrompt="1"/>
          </p:nvPr>
        </p:nvSpPr>
        <p:spPr>
          <a:xfrm>
            <a:off x="8728555" y="5702335"/>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5" name="Slide Number Placeholder 2">
            <a:extLst>
              <a:ext uri="{FF2B5EF4-FFF2-40B4-BE49-F238E27FC236}">
                <a16:creationId xmlns:a16="http://schemas.microsoft.com/office/drawing/2014/main" id="{6B14E578-B031-F5AE-9E67-6668CA172D5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6" name="Rectangle 35">
            <a:extLst>
              <a:ext uri="{FF2B5EF4-FFF2-40B4-BE49-F238E27FC236}">
                <a16:creationId xmlns:a16="http://schemas.microsoft.com/office/drawing/2014/main" id="{9BD59348-0370-9417-B0E9-F430FFCD48FF}"/>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4835515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 person team layout 2">
    <p:spTree>
      <p:nvGrpSpPr>
        <p:cNvPr id="1" name=""/>
        <p:cNvGrpSpPr/>
        <p:nvPr/>
      </p:nvGrpSpPr>
      <p:grpSpPr>
        <a:xfrm>
          <a:off x="0" y="0"/>
          <a:ext cx="0" cy="0"/>
          <a:chOff x="0" y="0"/>
          <a:chExt cx="0" cy="0"/>
        </a:xfrm>
      </p:grpSpPr>
      <p:pic>
        <p:nvPicPr>
          <p:cNvPr id="47" name="Graphic 46">
            <a:extLst>
              <a:ext uri="{FF2B5EF4-FFF2-40B4-BE49-F238E27FC236}">
                <a16:creationId xmlns:a16="http://schemas.microsoft.com/office/drawing/2014/main" id="{5A410318-CCBE-D950-D3F4-2F6962E7A7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3" name="Rectangle 32">
            <a:extLst>
              <a:ext uri="{FF2B5EF4-FFF2-40B4-BE49-F238E27FC236}">
                <a16:creationId xmlns:a16="http://schemas.microsoft.com/office/drawing/2014/main" id="{1193C68E-2DFF-8552-3B1F-5A07D5095058}"/>
              </a:ext>
            </a:extLst>
          </p:cNvPr>
          <p:cNvSpPr/>
          <p:nvPr userDrawn="1"/>
        </p:nvSpPr>
        <p:spPr>
          <a:xfrm>
            <a:off x="4776351" y="3100534"/>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6" name="Rectangle 35">
            <a:extLst>
              <a:ext uri="{FF2B5EF4-FFF2-40B4-BE49-F238E27FC236}">
                <a16:creationId xmlns:a16="http://schemas.microsoft.com/office/drawing/2014/main" id="{DF3A92B8-7E14-9893-AFE8-769FB16A863A}"/>
              </a:ext>
            </a:extLst>
          </p:cNvPr>
          <p:cNvSpPr/>
          <p:nvPr userDrawn="1"/>
        </p:nvSpPr>
        <p:spPr>
          <a:xfrm>
            <a:off x="8716893" y="3102677"/>
            <a:ext cx="2739178" cy="83231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9" name="Rectangle 8">
            <a:extLst>
              <a:ext uri="{FF2B5EF4-FFF2-40B4-BE49-F238E27FC236}">
                <a16:creationId xmlns:a16="http://schemas.microsoft.com/office/drawing/2014/main" id="{AA2C90E6-E7AF-BA63-C460-15830FD0E705}"/>
              </a:ext>
            </a:extLst>
          </p:cNvPr>
          <p:cNvSpPr/>
          <p:nvPr userDrawn="1"/>
        </p:nvSpPr>
        <p:spPr>
          <a:xfrm>
            <a:off x="815975" y="3102678"/>
            <a:ext cx="2790395"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907470" y="319329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907470" y="344949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67733" y="3189004"/>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67733" y="3445212"/>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808275" y="319317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808275" y="344937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5" name="Slide Number Placeholder 2">
            <a:extLst>
              <a:ext uri="{FF2B5EF4-FFF2-40B4-BE49-F238E27FC236}">
                <a16:creationId xmlns:a16="http://schemas.microsoft.com/office/drawing/2014/main" id="{6B14E578-B031-F5AE-9E67-6668CA172D5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7" name="Rectangle 36">
            <a:extLst>
              <a:ext uri="{FF2B5EF4-FFF2-40B4-BE49-F238E27FC236}">
                <a16:creationId xmlns:a16="http://schemas.microsoft.com/office/drawing/2014/main" id="{5C223A11-CCB1-D743-5008-DC91E984F25B}"/>
              </a:ext>
            </a:extLst>
          </p:cNvPr>
          <p:cNvSpPr/>
          <p:nvPr userDrawn="1"/>
        </p:nvSpPr>
        <p:spPr>
          <a:xfrm>
            <a:off x="4747941" y="5315744"/>
            <a:ext cx="2739178"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8" name="Rectangle 37">
            <a:extLst>
              <a:ext uri="{FF2B5EF4-FFF2-40B4-BE49-F238E27FC236}">
                <a16:creationId xmlns:a16="http://schemas.microsoft.com/office/drawing/2014/main" id="{6C2558CC-97D3-473C-1372-0B5C1B8DEDCB}"/>
              </a:ext>
            </a:extLst>
          </p:cNvPr>
          <p:cNvSpPr/>
          <p:nvPr userDrawn="1"/>
        </p:nvSpPr>
        <p:spPr>
          <a:xfrm>
            <a:off x="8701516" y="5318197"/>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9" name="Rectangle 38">
            <a:extLst>
              <a:ext uri="{FF2B5EF4-FFF2-40B4-BE49-F238E27FC236}">
                <a16:creationId xmlns:a16="http://schemas.microsoft.com/office/drawing/2014/main" id="{AC33D218-3F82-13C1-CC36-18FD6BFC730D}"/>
              </a:ext>
            </a:extLst>
          </p:cNvPr>
          <p:cNvSpPr/>
          <p:nvPr userDrawn="1"/>
        </p:nvSpPr>
        <p:spPr>
          <a:xfrm>
            <a:off x="769215" y="5315744"/>
            <a:ext cx="2790395" cy="83231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0" name="Text Placeholder 7">
            <a:extLst>
              <a:ext uri="{FF2B5EF4-FFF2-40B4-BE49-F238E27FC236}">
                <a16:creationId xmlns:a16="http://schemas.microsoft.com/office/drawing/2014/main" id="{98309EF9-9EA0-5CF5-FF3A-0BF9AC016A9A}"/>
              </a:ext>
            </a:extLst>
          </p:cNvPr>
          <p:cNvSpPr>
            <a:spLocks noGrp="1"/>
          </p:cNvSpPr>
          <p:nvPr>
            <p:ph type="body" sz="quarter" idx="53" hasCustomPrompt="1"/>
          </p:nvPr>
        </p:nvSpPr>
        <p:spPr>
          <a:xfrm>
            <a:off x="892093" y="541325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9583F772-1B16-166F-502C-D3F835B4B153}"/>
              </a:ext>
            </a:extLst>
          </p:cNvPr>
          <p:cNvSpPr>
            <a:spLocks noGrp="1"/>
          </p:cNvSpPr>
          <p:nvPr>
            <p:ph type="body" sz="quarter" idx="54" hasCustomPrompt="1"/>
          </p:nvPr>
        </p:nvSpPr>
        <p:spPr>
          <a:xfrm>
            <a:off x="892093" y="566946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EC639277-EF2E-9328-DB39-A3BD5195A57E}"/>
              </a:ext>
            </a:extLst>
          </p:cNvPr>
          <p:cNvSpPr>
            <a:spLocks noGrp="1"/>
          </p:cNvSpPr>
          <p:nvPr>
            <p:ph type="body" sz="quarter" idx="55" hasCustomPrompt="1"/>
          </p:nvPr>
        </p:nvSpPr>
        <p:spPr>
          <a:xfrm>
            <a:off x="4852356" y="5408967"/>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F3803936-3599-EDFE-3EBF-8940A265877B}"/>
              </a:ext>
            </a:extLst>
          </p:cNvPr>
          <p:cNvSpPr>
            <a:spLocks noGrp="1"/>
          </p:cNvSpPr>
          <p:nvPr>
            <p:ph type="body" sz="quarter" idx="56" hasCustomPrompt="1"/>
          </p:nvPr>
        </p:nvSpPr>
        <p:spPr>
          <a:xfrm>
            <a:off x="4852356" y="5665175"/>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B8917220-EB35-A3AD-8E0D-03AD56B4EED6}"/>
              </a:ext>
            </a:extLst>
          </p:cNvPr>
          <p:cNvSpPr>
            <a:spLocks noGrp="1"/>
          </p:cNvSpPr>
          <p:nvPr>
            <p:ph type="body" sz="quarter" idx="57" hasCustomPrompt="1"/>
          </p:nvPr>
        </p:nvSpPr>
        <p:spPr>
          <a:xfrm>
            <a:off x="8792898" y="541313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6" name="Text Placeholder 7">
            <a:extLst>
              <a:ext uri="{FF2B5EF4-FFF2-40B4-BE49-F238E27FC236}">
                <a16:creationId xmlns:a16="http://schemas.microsoft.com/office/drawing/2014/main" id="{3FB13329-EDBC-A02C-D28C-A380A23AF4F3}"/>
              </a:ext>
            </a:extLst>
          </p:cNvPr>
          <p:cNvSpPr>
            <a:spLocks noGrp="1"/>
          </p:cNvSpPr>
          <p:nvPr>
            <p:ph type="body" sz="quarter" idx="58" hasCustomPrompt="1"/>
          </p:nvPr>
        </p:nvSpPr>
        <p:spPr>
          <a:xfrm>
            <a:off x="8792898" y="566934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5" name="Rectangle 14">
            <a:extLst>
              <a:ext uri="{FF2B5EF4-FFF2-40B4-BE49-F238E27FC236}">
                <a16:creationId xmlns:a16="http://schemas.microsoft.com/office/drawing/2014/main" id="{87B2B294-272D-4A84-E70D-A59DD9E54A82}"/>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3875515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8 person team layout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0756A5-00B3-0BCE-70E9-F5F144376580}"/>
              </a:ext>
            </a:extLst>
          </p:cNvPr>
          <p:cNvSpPr/>
          <p:nvPr userDrawn="1"/>
        </p:nvSpPr>
        <p:spPr>
          <a:xfrm>
            <a:off x="0" y="3102678"/>
            <a:ext cx="12192000"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7" name="Rectangle 6">
            <a:extLst>
              <a:ext uri="{FF2B5EF4-FFF2-40B4-BE49-F238E27FC236}">
                <a16:creationId xmlns:a16="http://schemas.microsoft.com/office/drawing/2014/main" id="{17B141C1-8AA4-1513-C46B-93F9A1A20B65}"/>
              </a:ext>
            </a:extLst>
          </p:cNvPr>
          <p:cNvSpPr/>
          <p:nvPr userDrawn="1"/>
        </p:nvSpPr>
        <p:spPr>
          <a:xfrm>
            <a:off x="0" y="5320030"/>
            <a:ext cx="12192000" cy="153797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847471"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847471"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561016"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561016"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253285"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253285"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3" name="Text Placeholder 7">
            <a:extLst>
              <a:ext uri="{FF2B5EF4-FFF2-40B4-BE49-F238E27FC236}">
                <a16:creationId xmlns:a16="http://schemas.microsoft.com/office/drawing/2014/main" id="{B7C2C761-8335-999F-D3BC-57B5189D05B6}"/>
              </a:ext>
            </a:extLst>
          </p:cNvPr>
          <p:cNvSpPr>
            <a:spLocks noGrp="1"/>
          </p:cNvSpPr>
          <p:nvPr>
            <p:ph type="body" sz="quarter" idx="36" hasCustomPrompt="1"/>
          </p:nvPr>
        </p:nvSpPr>
        <p:spPr>
          <a:xfrm>
            <a:off x="827750"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6B7C64BE-4672-57FE-5F23-7F1D0F5A9273}"/>
              </a:ext>
            </a:extLst>
          </p:cNvPr>
          <p:cNvSpPr>
            <a:spLocks noGrp="1"/>
          </p:cNvSpPr>
          <p:nvPr>
            <p:ph type="body" sz="quarter" idx="37" hasCustomPrompt="1"/>
          </p:nvPr>
        </p:nvSpPr>
        <p:spPr>
          <a:xfrm>
            <a:off x="827750"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296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23E5AB6E-1E19-B9E6-B111-07C558EB1EA2}"/>
              </a:ext>
            </a:extLst>
          </p:cNvPr>
          <p:cNvSpPr>
            <a:spLocks noGrp="1"/>
          </p:cNvSpPr>
          <p:nvPr>
            <p:ph type="body" sz="quarter" idx="39" hasCustomPrompt="1"/>
          </p:nvPr>
        </p:nvSpPr>
        <p:spPr>
          <a:xfrm>
            <a:off x="35412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BCF3D848-B4CE-93C9-AE5D-CC30721D107E}"/>
              </a:ext>
            </a:extLst>
          </p:cNvPr>
          <p:cNvSpPr>
            <a:spLocks noGrp="1"/>
          </p:cNvSpPr>
          <p:nvPr>
            <p:ph type="body" sz="quarter" idx="40" hasCustomPrompt="1"/>
          </p:nvPr>
        </p:nvSpPr>
        <p:spPr>
          <a:xfrm>
            <a:off x="3541295"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67220"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4" name="Text Placeholder 7">
            <a:extLst>
              <a:ext uri="{FF2B5EF4-FFF2-40B4-BE49-F238E27FC236}">
                <a16:creationId xmlns:a16="http://schemas.microsoft.com/office/drawing/2014/main" id="{3934DB85-9185-10C6-B386-7CF7C5EC2F05}"/>
              </a:ext>
            </a:extLst>
          </p:cNvPr>
          <p:cNvSpPr>
            <a:spLocks noGrp="1"/>
          </p:cNvSpPr>
          <p:nvPr>
            <p:ph type="body" sz="quarter" idx="42" hasCustomPrompt="1"/>
          </p:nvPr>
        </p:nvSpPr>
        <p:spPr>
          <a:xfrm>
            <a:off x="6278882"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5" name="Text Placeholder 7">
            <a:extLst>
              <a:ext uri="{FF2B5EF4-FFF2-40B4-BE49-F238E27FC236}">
                <a16:creationId xmlns:a16="http://schemas.microsoft.com/office/drawing/2014/main" id="{7178E5E2-419A-AF51-0484-D3E1209EE50D}"/>
              </a:ext>
            </a:extLst>
          </p:cNvPr>
          <p:cNvSpPr>
            <a:spLocks noGrp="1"/>
          </p:cNvSpPr>
          <p:nvPr>
            <p:ph type="body" sz="quarter" idx="43" hasCustomPrompt="1"/>
          </p:nvPr>
        </p:nvSpPr>
        <p:spPr>
          <a:xfrm>
            <a:off x="6278882"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8911898"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8911898"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258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0" name="Text Placeholder 7">
            <a:extLst>
              <a:ext uri="{FF2B5EF4-FFF2-40B4-BE49-F238E27FC236}">
                <a16:creationId xmlns:a16="http://schemas.microsoft.com/office/drawing/2014/main" id="{6D0230FD-0497-8C70-31F4-4DB15B5186E7}"/>
              </a:ext>
            </a:extLst>
          </p:cNvPr>
          <p:cNvSpPr>
            <a:spLocks noGrp="1"/>
          </p:cNvSpPr>
          <p:nvPr>
            <p:ph type="body" sz="quarter" idx="48" hasCustomPrompt="1"/>
          </p:nvPr>
        </p:nvSpPr>
        <p:spPr>
          <a:xfrm>
            <a:off x="89374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170A8714-5BD2-DC9E-E07A-C7AEEEC11E73}"/>
              </a:ext>
            </a:extLst>
          </p:cNvPr>
          <p:cNvSpPr>
            <a:spLocks noGrp="1"/>
          </p:cNvSpPr>
          <p:nvPr>
            <p:ph type="body" sz="quarter" idx="49" hasCustomPrompt="1"/>
          </p:nvPr>
        </p:nvSpPr>
        <p:spPr>
          <a:xfrm>
            <a:off x="8937495"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25" name="Slide Number Placeholder 2">
            <a:extLst>
              <a:ext uri="{FF2B5EF4-FFF2-40B4-BE49-F238E27FC236}">
                <a16:creationId xmlns:a16="http://schemas.microsoft.com/office/drawing/2014/main" id="{365665AB-08D8-68B0-B112-AE1C2AB0972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A7BC0388-1EE5-D902-6798-032BEE914B28}"/>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3475574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8 person team layout 2">
    <p:spTree>
      <p:nvGrpSpPr>
        <p:cNvPr id="1" name=""/>
        <p:cNvGrpSpPr/>
        <p:nvPr/>
      </p:nvGrpSpPr>
      <p:grpSpPr>
        <a:xfrm>
          <a:off x="0" y="0"/>
          <a:ext cx="0" cy="0"/>
          <a:chOff x="0" y="0"/>
          <a:chExt cx="0" cy="0"/>
        </a:xfrm>
      </p:grpSpPr>
      <p:pic>
        <p:nvPicPr>
          <p:cNvPr id="44" name="Graphic 43">
            <a:extLst>
              <a:ext uri="{FF2B5EF4-FFF2-40B4-BE49-F238E27FC236}">
                <a16:creationId xmlns:a16="http://schemas.microsoft.com/office/drawing/2014/main" id="{55C048D6-68E0-CDF2-8B2B-D05F55B856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6" name="Rectangle 25">
            <a:extLst>
              <a:ext uri="{FF2B5EF4-FFF2-40B4-BE49-F238E27FC236}">
                <a16:creationId xmlns:a16="http://schemas.microsoft.com/office/drawing/2014/main" id="{E82245C6-F16E-8213-38E5-62108F819245}"/>
              </a:ext>
            </a:extLst>
          </p:cNvPr>
          <p:cNvSpPr/>
          <p:nvPr userDrawn="1"/>
        </p:nvSpPr>
        <p:spPr>
          <a:xfrm>
            <a:off x="3529633" y="3098828"/>
            <a:ext cx="2517465"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2" name="Rectangle 41">
            <a:extLst>
              <a:ext uri="{FF2B5EF4-FFF2-40B4-BE49-F238E27FC236}">
                <a16:creationId xmlns:a16="http://schemas.microsoft.com/office/drawing/2014/main" id="{7ABF6761-038E-532E-6741-0C80FA054AAE}"/>
              </a:ext>
            </a:extLst>
          </p:cNvPr>
          <p:cNvSpPr/>
          <p:nvPr userDrawn="1"/>
        </p:nvSpPr>
        <p:spPr>
          <a:xfrm>
            <a:off x="6272966" y="3102677"/>
            <a:ext cx="2491664"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3" name="Rectangle 42">
            <a:extLst>
              <a:ext uri="{FF2B5EF4-FFF2-40B4-BE49-F238E27FC236}">
                <a16:creationId xmlns:a16="http://schemas.microsoft.com/office/drawing/2014/main" id="{DCBF3824-7421-DFC7-BFDA-9A641635C396}"/>
              </a:ext>
            </a:extLst>
          </p:cNvPr>
          <p:cNvSpPr/>
          <p:nvPr userDrawn="1"/>
        </p:nvSpPr>
        <p:spPr>
          <a:xfrm>
            <a:off x="8944686" y="3095598"/>
            <a:ext cx="2491664"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5" name="Rectangle 4">
            <a:extLst>
              <a:ext uri="{FF2B5EF4-FFF2-40B4-BE49-F238E27FC236}">
                <a16:creationId xmlns:a16="http://schemas.microsoft.com/office/drawing/2014/main" id="{680756A5-00B3-0BCE-70E9-F5F144376580}"/>
              </a:ext>
            </a:extLst>
          </p:cNvPr>
          <p:cNvSpPr/>
          <p:nvPr userDrawn="1"/>
        </p:nvSpPr>
        <p:spPr>
          <a:xfrm>
            <a:off x="813671" y="3098828"/>
            <a:ext cx="2521667"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914541" y="3150353"/>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914541" y="3434393"/>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620599"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620599"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33887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33887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34383" y="4139179"/>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71113" y="4144576"/>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906622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906622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5417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5" name="Slide Number Placeholder 2">
            <a:extLst>
              <a:ext uri="{FF2B5EF4-FFF2-40B4-BE49-F238E27FC236}">
                <a16:creationId xmlns:a16="http://schemas.microsoft.com/office/drawing/2014/main" id="{365665AB-08D8-68B0-B112-AE1C2AB0972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45" name="Rectangle 44">
            <a:extLst>
              <a:ext uri="{FF2B5EF4-FFF2-40B4-BE49-F238E27FC236}">
                <a16:creationId xmlns:a16="http://schemas.microsoft.com/office/drawing/2014/main" id="{FDF54747-D981-EEC8-B08A-A52DEAC1CD94}"/>
              </a:ext>
            </a:extLst>
          </p:cNvPr>
          <p:cNvSpPr/>
          <p:nvPr userDrawn="1"/>
        </p:nvSpPr>
        <p:spPr>
          <a:xfrm>
            <a:off x="3527697" y="5326168"/>
            <a:ext cx="2517465"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6" name="Rectangle 45">
            <a:extLst>
              <a:ext uri="{FF2B5EF4-FFF2-40B4-BE49-F238E27FC236}">
                <a16:creationId xmlns:a16="http://schemas.microsoft.com/office/drawing/2014/main" id="{EC46CF0B-CCD5-AA47-3C03-702D6CFBBBA4}"/>
              </a:ext>
            </a:extLst>
          </p:cNvPr>
          <p:cNvSpPr/>
          <p:nvPr userDrawn="1"/>
        </p:nvSpPr>
        <p:spPr>
          <a:xfrm>
            <a:off x="6242413" y="5330621"/>
            <a:ext cx="2491664"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7" name="Rectangle 46">
            <a:extLst>
              <a:ext uri="{FF2B5EF4-FFF2-40B4-BE49-F238E27FC236}">
                <a16:creationId xmlns:a16="http://schemas.microsoft.com/office/drawing/2014/main" id="{78134FDD-F308-A60A-D1E4-1D9926C04DB4}"/>
              </a:ext>
            </a:extLst>
          </p:cNvPr>
          <p:cNvSpPr/>
          <p:nvPr userDrawn="1"/>
        </p:nvSpPr>
        <p:spPr>
          <a:xfrm>
            <a:off x="8947325" y="5320030"/>
            <a:ext cx="2491664"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8" name="Rectangle 47">
            <a:extLst>
              <a:ext uri="{FF2B5EF4-FFF2-40B4-BE49-F238E27FC236}">
                <a16:creationId xmlns:a16="http://schemas.microsoft.com/office/drawing/2014/main" id="{28328140-706D-17DE-7EA0-B7022AEB917B}"/>
              </a:ext>
            </a:extLst>
          </p:cNvPr>
          <p:cNvSpPr/>
          <p:nvPr userDrawn="1"/>
        </p:nvSpPr>
        <p:spPr>
          <a:xfrm>
            <a:off x="811946" y="5320030"/>
            <a:ext cx="2521667"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9" name="Text Placeholder 7">
            <a:extLst>
              <a:ext uri="{FF2B5EF4-FFF2-40B4-BE49-F238E27FC236}">
                <a16:creationId xmlns:a16="http://schemas.microsoft.com/office/drawing/2014/main" id="{82176B93-B246-A67D-AB6A-1DF1CEEFC247}"/>
              </a:ext>
            </a:extLst>
          </p:cNvPr>
          <p:cNvSpPr>
            <a:spLocks noGrp="1"/>
          </p:cNvSpPr>
          <p:nvPr>
            <p:ph type="body" sz="quarter" idx="48" hasCustomPrompt="1"/>
          </p:nvPr>
        </p:nvSpPr>
        <p:spPr>
          <a:xfrm>
            <a:off x="926732" y="537300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0" name="Text Placeholder 7">
            <a:extLst>
              <a:ext uri="{FF2B5EF4-FFF2-40B4-BE49-F238E27FC236}">
                <a16:creationId xmlns:a16="http://schemas.microsoft.com/office/drawing/2014/main" id="{34294786-B7A0-1804-2750-EE81229CD571}"/>
              </a:ext>
            </a:extLst>
          </p:cNvPr>
          <p:cNvSpPr>
            <a:spLocks noGrp="1"/>
          </p:cNvSpPr>
          <p:nvPr>
            <p:ph type="body" sz="quarter" idx="49" hasCustomPrompt="1"/>
          </p:nvPr>
        </p:nvSpPr>
        <p:spPr>
          <a:xfrm>
            <a:off x="926732" y="565704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1" name="Text Placeholder 7">
            <a:extLst>
              <a:ext uri="{FF2B5EF4-FFF2-40B4-BE49-F238E27FC236}">
                <a16:creationId xmlns:a16="http://schemas.microsoft.com/office/drawing/2014/main" id="{0D258FB3-6080-7B11-9834-13F96511B894}"/>
              </a:ext>
            </a:extLst>
          </p:cNvPr>
          <p:cNvSpPr>
            <a:spLocks noGrp="1"/>
          </p:cNvSpPr>
          <p:nvPr>
            <p:ph type="body" sz="quarter" idx="50" hasCustomPrompt="1"/>
          </p:nvPr>
        </p:nvSpPr>
        <p:spPr>
          <a:xfrm>
            <a:off x="3632790"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2" name="Text Placeholder 7">
            <a:extLst>
              <a:ext uri="{FF2B5EF4-FFF2-40B4-BE49-F238E27FC236}">
                <a16:creationId xmlns:a16="http://schemas.microsoft.com/office/drawing/2014/main" id="{DD656BE4-5BAE-B987-38C8-4A6C92DC56C0}"/>
              </a:ext>
            </a:extLst>
          </p:cNvPr>
          <p:cNvSpPr>
            <a:spLocks noGrp="1"/>
          </p:cNvSpPr>
          <p:nvPr>
            <p:ph type="body" sz="quarter" idx="51" hasCustomPrompt="1"/>
          </p:nvPr>
        </p:nvSpPr>
        <p:spPr>
          <a:xfrm>
            <a:off x="3632790"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3" name="Text Placeholder 7">
            <a:extLst>
              <a:ext uri="{FF2B5EF4-FFF2-40B4-BE49-F238E27FC236}">
                <a16:creationId xmlns:a16="http://schemas.microsoft.com/office/drawing/2014/main" id="{5C8CDC5D-F32B-8A04-9318-1653A8326620}"/>
              </a:ext>
            </a:extLst>
          </p:cNvPr>
          <p:cNvSpPr>
            <a:spLocks noGrp="1"/>
          </p:cNvSpPr>
          <p:nvPr>
            <p:ph type="body" sz="quarter" idx="52" hasCustomPrompt="1"/>
          </p:nvPr>
        </p:nvSpPr>
        <p:spPr>
          <a:xfrm>
            <a:off x="635106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4" name="Text Placeholder 7">
            <a:extLst>
              <a:ext uri="{FF2B5EF4-FFF2-40B4-BE49-F238E27FC236}">
                <a16:creationId xmlns:a16="http://schemas.microsoft.com/office/drawing/2014/main" id="{2F68F5F9-4DE7-7F57-D929-1E78C24BF366}"/>
              </a:ext>
            </a:extLst>
          </p:cNvPr>
          <p:cNvSpPr>
            <a:spLocks noGrp="1"/>
          </p:cNvSpPr>
          <p:nvPr>
            <p:ph type="body" sz="quarter" idx="53" hasCustomPrompt="1"/>
          </p:nvPr>
        </p:nvSpPr>
        <p:spPr>
          <a:xfrm>
            <a:off x="635106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5" name="Text Placeholder 7">
            <a:extLst>
              <a:ext uri="{FF2B5EF4-FFF2-40B4-BE49-F238E27FC236}">
                <a16:creationId xmlns:a16="http://schemas.microsoft.com/office/drawing/2014/main" id="{FF35FA80-C1E8-424C-E9A2-A3F726654BB2}"/>
              </a:ext>
            </a:extLst>
          </p:cNvPr>
          <p:cNvSpPr>
            <a:spLocks noGrp="1"/>
          </p:cNvSpPr>
          <p:nvPr>
            <p:ph type="body" sz="quarter" idx="54" hasCustomPrompt="1"/>
          </p:nvPr>
        </p:nvSpPr>
        <p:spPr>
          <a:xfrm>
            <a:off x="907841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75E516F2-1D87-0ACF-B2E6-A2E932684C78}"/>
              </a:ext>
            </a:extLst>
          </p:cNvPr>
          <p:cNvSpPr>
            <a:spLocks noGrp="1"/>
          </p:cNvSpPr>
          <p:nvPr>
            <p:ph type="body" sz="quarter" idx="55" hasCustomPrompt="1"/>
          </p:nvPr>
        </p:nvSpPr>
        <p:spPr>
          <a:xfrm>
            <a:off x="907841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7" name="Rectangle 6">
            <a:extLst>
              <a:ext uri="{FF2B5EF4-FFF2-40B4-BE49-F238E27FC236}">
                <a16:creationId xmlns:a16="http://schemas.microsoft.com/office/drawing/2014/main" id="{C10BC76B-7258-31EC-7D9A-0D6E4B265C8E}"/>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42891953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C185154-DE9E-1C49-DA46-97DA247504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0858CD73-E67D-D3DA-75ED-F3EA01BC2EDF}"/>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18223179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chemeClr val="accent4"/>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2A6142CF-2833-6BE3-2566-D692B3B767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45F0600F-C235-742D-9881-C219F6DD452A}"/>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118446401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chemeClr val="tx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32209796-E1C8-1724-F948-E33F138407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F2C4770E-9211-7FB3-7372-6F2B0C655AF9}"/>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3678262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1"/>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7DDC04EE-054E-6A2B-86EE-53993EAD7E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30636B2E-53D6-0CD2-D523-390721D4E47F}"/>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9826226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bg2"/>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E40E75CB-AD93-73C7-81AE-2E27C8C5DC31}"/>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37334791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layout 6">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9EB1D515-98A9-9F0B-506B-5637BC14D04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5834421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Midnight blue">
    <p:bg>
      <p:bgRef idx="1001">
        <a:schemeClr val="bg2"/>
      </p:bgRef>
    </p:bg>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EBCE3016-E5AD-E4ED-8714-1410EDC945A5}"/>
              </a:ext>
            </a:extLst>
          </p:cNvPr>
          <p:cNvPicPr>
            <a:picLocks/>
          </p:cNvPicPr>
          <p:nvPr>
            <p:custDataLst>
              <p:tags r:id="rId1"/>
            </p:custDataLst>
          </p:nvPr>
        </p:nvPicPr>
        <p:blipFill rotWithShape="1">
          <a:blip r:embed="rId4">
            <a:extLst>
              <a:ext uri="{96DAC541-7B7A-43D3-8B79-37D633B846F1}">
                <asvg:svgBlip xmlns:asvg="http://schemas.microsoft.com/office/drawing/2016/SVG/main" r:embed="rId5"/>
              </a:ext>
            </a:extLst>
          </a:blip>
          <a:srcRect t="80" b="80"/>
          <a:stretch/>
        </p:blipFill>
        <p:spPr bwMode="black">
          <a:xfrm>
            <a:off x="10866053" y="278965"/>
            <a:ext cx="900000" cy="378445"/>
          </a:xfrm>
          <a:prstGeom prst="rect">
            <a:avLst/>
          </a:prstGeom>
        </p:spPr>
      </p:pic>
      <p:sp>
        <p:nvSpPr>
          <p:cNvPr id="3" name="PoP">
            <a:extLst>
              <a:ext uri="{FF2B5EF4-FFF2-40B4-BE49-F238E27FC236}">
                <a16:creationId xmlns:a16="http://schemas.microsoft.com/office/drawing/2014/main" id="{47B1854B-DD9E-FFD8-F643-CDF4586B23A6}"/>
              </a:ext>
            </a:extLst>
          </p:cNvPr>
          <p:cNvSpPr>
            <a:spLocks noChangeAspect="1"/>
          </p:cNvSpPr>
          <p:nvPr>
            <p:custDataLst>
              <p:tags r:id="rId2"/>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769862902"/>
      </p:ext>
    </p:extLst>
  </p:cSld>
  <p:clrMapOvr>
    <a:overrideClrMapping bg1="dk1" tx1="lt1" bg2="dk2" tx2="lt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layout 7">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A00568B7-9F79-9FD5-965D-77EC43A786F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8221808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layout 8">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A00568B7-9F79-9FD5-965D-77EC43A786F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
        <p:nvSpPr>
          <p:cNvPr id="2" name="Title 22">
            <a:extLst>
              <a:ext uri="{FF2B5EF4-FFF2-40B4-BE49-F238E27FC236}">
                <a16:creationId xmlns:a16="http://schemas.microsoft.com/office/drawing/2014/main" id="{EE562D05-F032-D527-C8C7-12BB617A09ED}"/>
              </a:ext>
            </a:extLst>
          </p:cNvPr>
          <p:cNvSpPr>
            <a:spLocks noGrp="1"/>
          </p:cNvSpPr>
          <p:nvPr>
            <p:ph type="title"/>
          </p:nvPr>
        </p:nvSpPr>
        <p:spPr>
          <a:xfrm>
            <a:off x="815974" y="2222605"/>
            <a:ext cx="3419475" cy="1107996"/>
          </a:xfrm>
        </p:spPr>
        <p:txBody>
          <a:bodyPr/>
          <a:lstStyle/>
          <a:p>
            <a:r>
              <a:rPr lang="en-US"/>
              <a:t>Click to edit Master title style</a:t>
            </a:r>
            <a:endParaRPr lang="en-GB"/>
          </a:p>
        </p:txBody>
      </p:sp>
      <p:sp>
        <p:nvSpPr>
          <p:cNvPr id="5" name="Text Placeholder 23">
            <a:extLst>
              <a:ext uri="{FF2B5EF4-FFF2-40B4-BE49-F238E27FC236}">
                <a16:creationId xmlns:a16="http://schemas.microsoft.com/office/drawing/2014/main" id="{C4692922-0A97-8686-6B51-2AD0D25417C6}"/>
              </a:ext>
            </a:extLst>
          </p:cNvPr>
          <p:cNvSpPr>
            <a:spLocks noGrp="1"/>
          </p:cNvSpPr>
          <p:nvPr>
            <p:ph type="body" sz="quarter" idx="15"/>
          </p:nvPr>
        </p:nvSpPr>
        <p:spPr>
          <a:xfrm>
            <a:off x="815974" y="3376321"/>
            <a:ext cx="3419476" cy="385762"/>
          </a:xfrm>
        </p:spPr>
        <p:txBody>
          <a:bodyPr/>
          <a:lstStyle/>
          <a:p>
            <a:pPr lvl="0"/>
            <a:r>
              <a:rPr lang="en-US"/>
              <a:t>Click to edit Master text styles</a:t>
            </a:r>
          </a:p>
        </p:txBody>
      </p:sp>
      <p:sp>
        <p:nvSpPr>
          <p:cNvPr id="25" name="Slide Number Placeholder 4">
            <a:extLst>
              <a:ext uri="{FF2B5EF4-FFF2-40B4-BE49-F238E27FC236}">
                <a16:creationId xmlns:a16="http://schemas.microsoft.com/office/drawing/2014/main" id="{8F424B37-942D-037C-384C-BBAA35135509}"/>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
        <p:nvSpPr>
          <p:cNvPr id="26" name="Graphic 16">
            <a:extLst>
              <a:ext uri="{FF2B5EF4-FFF2-40B4-BE49-F238E27FC236}">
                <a16:creationId xmlns:a16="http://schemas.microsoft.com/office/drawing/2014/main" id="{77D7FB94-768B-ABD4-3142-2FC7F36AC0F1}"/>
              </a:ext>
            </a:extLst>
          </p:cNvPr>
          <p:cNvSpPr/>
          <p:nvPr userDrawn="1"/>
        </p:nvSpPr>
        <p:spPr>
          <a:xfrm>
            <a:off x="477602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accent1"/>
          </a:solidFill>
          <a:ln w="9512" cap="flat">
            <a:noFill/>
            <a:prstDash val="solid"/>
            <a:miter/>
          </a:ln>
        </p:spPr>
        <p:txBody>
          <a:bodyPr rtlCol="0" anchor="ctr"/>
          <a:lstStyle/>
          <a:p>
            <a:endParaRPr lang="en-GB"/>
          </a:p>
        </p:txBody>
      </p:sp>
      <p:grpSp>
        <p:nvGrpSpPr>
          <p:cNvPr id="27" name="Group 26">
            <a:extLst>
              <a:ext uri="{FF2B5EF4-FFF2-40B4-BE49-F238E27FC236}">
                <a16:creationId xmlns:a16="http://schemas.microsoft.com/office/drawing/2014/main" id="{945C2D11-BC4B-1A88-4625-E4DEE5355C6D}"/>
              </a:ext>
            </a:extLst>
          </p:cNvPr>
          <p:cNvGrpSpPr/>
          <p:nvPr userDrawn="1"/>
        </p:nvGrpSpPr>
        <p:grpSpPr>
          <a:xfrm>
            <a:off x="4776022" y="3578169"/>
            <a:ext cx="2999950" cy="2785252"/>
            <a:chOff x="4776022" y="3578169"/>
            <a:chExt cx="2999950" cy="2785252"/>
          </a:xfrm>
        </p:grpSpPr>
        <p:sp>
          <p:nvSpPr>
            <p:cNvPr id="28" name="Graphic 16">
              <a:extLst>
                <a:ext uri="{FF2B5EF4-FFF2-40B4-BE49-F238E27FC236}">
                  <a16:creationId xmlns:a16="http://schemas.microsoft.com/office/drawing/2014/main" id="{339355C3-4380-03F6-74F4-B76413B24EB1}"/>
                </a:ext>
              </a:extLst>
            </p:cNvPr>
            <p:cNvSpPr/>
            <p:nvPr/>
          </p:nvSpPr>
          <p:spPr>
            <a:xfrm>
              <a:off x="477602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1"/>
            </a:solidFill>
            <a:ln w="9512" cap="flat">
              <a:noFill/>
              <a:prstDash val="solid"/>
              <a:miter/>
            </a:ln>
          </p:spPr>
          <p:txBody>
            <a:bodyPr rtlCol="0" anchor="ctr"/>
            <a:lstStyle/>
            <a:p>
              <a:endParaRPr lang="en-GB"/>
            </a:p>
          </p:txBody>
        </p:sp>
        <p:grpSp>
          <p:nvGrpSpPr>
            <p:cNvPr id="29" name="Group 28">
              <a:extLst>
                <a:ext uri="{FF2B5EF4-FFF2-40B4-BE49-F238E27FC236}">
                  <a16:creationId xmlns:a16="http://schemas.microsoft.com/office/drawing/2014/main" id="{BED6CC0F-DF49-B191-7E6B-2EEE2EACAC43}"/>
                </a:ext>
              </a:extLst>
            </p:cNvPr>
            <p:cNvGrpSpPr/>
            <p:nvPr/>
          </p:nvGrpSpPr>
          <p:grpSpPr>
            <a:xfrm>
              <a:off x="4956019" y="3668996"/>
              <a:ext cx="2694127" cy="2174525"/>
              <a:chOff x="4956019" y="751764"/>
              <a:chExt cx="2694127" cy="2174525"/>
            </a:xfrm>
          </p:grpSpPr>
          <p:sp>
            <p:nvSpPr>
              <p:cNvPr id="31" name="Graphic 8">
                <a:extLst>
                  <a:ext uri="{FF2B5EF4-FFF2-40B4-BE49-F238E27FC236}">
                    <a16:creationId xmlns:a16="http://schemas.microsoft.com/office/drawing/2014/main" id="{019D615F-1DF7-71DC-3187-38C7A12FE58C}"/>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2" name="Graphic 8">
                <a:extLst>
                  <a:ext uri="{FF2B5EF4-FFF2-40B4-BE49-F238E27FC236}">
                    <a16:creationId xmlns:a16="http://schemas.microsoft.com/office/drawing/2014/main" id="{EC802AA8-7B76-AE21-2892-8F868B687E3A}"/>
                  </a:ext>
                </a:extLst>
              </p:cNvPr>
              <p:cNvSpPr/>
              <p:nvPr/>
            </p:nvSpPr>
            <p:spPr>
              <a:xfrm rot="10800000">
                <a:off x="7170154" y="25290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3" name="TextBox 32">
                <a:extLst>
                  <a:ext uri="{FF2B5EF4-FFF2-40B4-BE49-F238E27FC236}">
                    <a16:creationId xmlns:a16="http://schemas.microsoft.com/office/drawing/2014/main" id="{222C0FD5-679E-8C28-78E0-EA79FC848AC1}"/>
                  </a:ext>
                </a:extLst>
              </p:cNvPr>
              <p:cNvSpPr txBox="1"/>
              <p:nvPr/>
            </p:nvSpPr>
            <p:spPr>
              <a:xfrm>
                <a:off x="4956019" y="1255830"/>
                <a:ext cx="2694127" cy="1221466"/>
              </a:xfrm>
              <a:prstGeom prst="rect">
                <a:avLst/>
              </a:prstGeom>
              <a:noFill/>
            </p:spPr>
            <p:txBody>
              <a:bodyPr wrap="square" lIns="0" tIns="0" rIns="0" bIns="0" rtlCol="0">
                <a:noAutofit/>
              </a:bodyPr>
              <a:lstStyle/>
              <a:p>
                <a:pPr algn="l"/>
                <a:r>
                  <a:rPr lang="en-GB" sz="1600">
                    <a:solidFill>
                      <a:schemeClr val="bg1"/>
                    </a:solidFill>
                  </a:rPr>
                  <a:t>Short quote box</a:t>
                </a:r>
              </a:p>
              <a:p>
                <a:pPr algn="l"/>
                <a:r>
                  <a:rPr lang="en-GB" sz="1600">
                    <a:solidFill>
                      <a:schemeClr val="bg1"/>
                    </a:solidFill>
                  </a:rPr>
                  <a:t>– use font size 14 or 16</a:t>
                </a:r>
              </a:p>
            </p:txBody>
          </p:sp>
        </p:grpSp>
        <p:sp>
          <p:nvSpPr>
            <p:cNvPr id="30" name="TextBox 29">
              <a:extLst>
                <a:ext uri="{FF2B5EF4-FFF2-40B4-BE49-F238E27FC236}">
                  <a16:creationId xmlns:a16="http://schemas.microsoft.com/office/drawing/2014/main" id="{A1725506-529A-9833-864A-1C4C4D91BFE5}"/>
                </a:ext>
              </a:extLst>
            </p:cNvPr>
            <p:cNvSpPr txBox="1"/>
            <p:nvPr/>
          </p:nvSpPr>
          <p:spPr>
            <a:xfrm>
              <a:off x="4956019" y="5535731"/>
              <a:ext cx="2088308" cy="230062"/>
            </a:xfrm>
            <a:prstGeom prst="rect">
              <a:avLst/>
            </a:prstGeom>
            <a:noFill/>
          </p:spPr>
          <p:txBody>
            <a:bodyPr wrap="square" lIns="0" tIns="0" rIns="0" bIns="0" rtlCol="0">
              <a:noAutofit/>
            </a:bodyPr>
            <a:lstStyle/>
            <a:p>
              <a:pPr algn="l"/>
              <a:r>
                <a:rPr lang="en-GB" sz="1400" b="1">
                  <a:solidFill>
                    <a:schemeClr val="bg1"/>
                  </a:solidFill>
                </a:rPr>
                <a:t>Source</a:t>
              </a:r>
            </a:p>
          </p:txBody>
        </p:sp>
      </p:grpSp>
      <p:grpSp>
        <p:nvGrpSpPr>
          <p:cNvPr id="34" name="Group 33">
            <a:extLst>
              <a:ext uri="{FF2B5EF4-FFF2-40B4-BE49-F238E27FC236}">
                <a16:creationId xmlns:a16="http://schemas.microsoft.com/office/drawing/2014/main" id="{8F376016-9CB0-723B-6E29-55E8131A45A7}"/>
              </a:ext>
            </a:extLst>
          </p:cNvPr>
          <p:cNvGrpSpPr/>
          <p:nvPr userDrawn="1"/>
        </p:nvGrpSpPr>
        <p:grpSpPr>
          <a:xfrm>
            <a:off x="8004312" y="3578169"/>
            <a:ext cx="2999950" cy="2785252"/>
            <a:chOff x="8004312" y="3578169"/>
            <a:chExt cx="2999950" cy="2785252"/>
          </a:xfrm>
        </p:grpSpPr>
        <p:sp>
          <p:nvSpPr>
            <p:cNvPr id="35" name="Graphic 16">
              <a:extLst>
                <a:ext uri="{FF2B5EF4-FFF2-40B4-BE49-F238E27FC236}">
                  <a16:creationId xmlns:a16="http://schemas.microsoft.com/office/drawing/2014/main" id="{06DC79B9-DD0B-4697-D9F8-F2FFB911F0F9}"/>
                </a:ext>
              </a:extLst>
            </p:cNvPr>
            <p:cNvSpPr/>
            <p:nvPr/>
          </p:nvSpPr>
          <p:spPr>
            <a:xfrm>
              <a:off x="800431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2"/>
            </a:solidFill>
            <a:ln w="9512" cap="flat">
              <a:noFill/>
              <a:prstDash val="solid"/>
              <a:miter/>
            </a:ln>
          </p:spPr>
          <p:txBody>
            <a:bodyPr rtlCol="0" anchor="ctr"/>
            <a:lstStyle/>
            <a:p>
              <a:endParaRPr lang="en-GB"/>
            </a:p>
          </p:txBody>
        </p:sp>
        <p:grpSp>
          <p:nvGrpSpPr>
            <p:cNvPr id="36" name="Group 35">
              <a:extLst>
                <a:ext uri="{FF2B5EF4-FFF2-40B4-BE49-F238E27FC236}">
                  <a16:creationId xmlns:a16="http://schemas.microsoft.com/office/drawing/2014/main" id="{A417F754-5C0D-1EA7-D3AC-BF5E04FB4139}"/>
                </a:ext>
              </a:extLst>
            </p:cNvPr>
            <p:cNvGrpSpPr/>
            <p:nvPr/>
          </p:nvGrpSpPr>
          <p:grpSpPr>
            <a:xfrm>
              <a:off x="8157223" y="3696532"/>
              <a:ext cx="2694127" cy="2174525"/>
              <a:chOff x="5108419" y="904164"/>
              <a:chExt cx="2694127" cy="2174525"/>
            </a:xfrm>
          </p:grpSpPr>
          <p:sp>
            <p:nvSpPr>
              <p:cNvPr id="38" name="Graphic 8">
                <a:extLst>
                  <a:ext uri="{FF2B5EF4-FFF2-40B4-BE49-F238E27FC236}">
                    <a16:creationId xmlns:a16="http://schemas.microsoft.com/office/drawing/2014/main" id="{6F426AB5-FC34-0124-245D-D2E16625D70E}"/>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9" name="Graphic 8">
                <a:extLst>
                  <a:ext uri="{FF2B5EF4-FFF2-40B4-BE49-F238E27FC236}">
                    <a16:creationId xmlns:a16="http://schemas.microsoft.com/office/drawing/2014/main" id="{94B7C0C2-4CF9-4790-9BB5-6DFB3BC43FC8}"/>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0" name="TextBox 39">
                <a:extLst>
                  <a:ext uri="{FF2B5EF4-FFF2-40B4-BE49-F238E27FC236}">
                    <a16:creationId xmlns:a16="http://schemas.microsoft.com/office/drawing/2014/main" id="{DF5D386A-260A-5290-C9B7-E28CC1F41DC6}"/>
                  </a:ext>
                </a:extLst>
              </p:cNvPr>
              <p:cNvSpPr txBox="1"/>
              <p:nvPr/>
            </p:nvSpPr>
            <p:spPr>
              <a:xfrm>
                <a:off x="5108419" y="1408230"/>
                <a:ext cx="2694127" cy="1221466"/>
              </a:xfrm>
              <a:prstGeom prst="rect">
                <a:avLst/>
              </a:prstGeom>
              <a:noFill/>
            </p:spPr>
            <p:txBody>
              <a:bodyPr wrap="square" lIns="0" tIns="0" rIns="0" bIns="0" rtlCol="0">
                <a:noAutofit/>
              </a:bodyPr>
              <a:lstStyle/>
              <a:p>
                <a:pPr algn="l"/>
                <a:r>
                  <a:rPr lang="en-GB" sz="1600">
                    <a:solidFill>
                      <a:schemeClr val="bg1"/>
                    </a:solidFill>
                  </a:rPr>
                  <a:t>Short quote box</a:t>
                </a:r>
              </a:p>
              <a:p>
                <a:pPr algn="l"/>
                <a:r>
                  <a:rPr lang="en-GB" sz="1600">
                    <a:solidFill>
                      <a:schemeClr val="bg1"/>
                    </a:solidFill>
                  </a:rPr>
                  <a:t>– use font size 14 or 16</a:t>
                </a:r>
              </a:p>
            </p:txBody>
          </p:sp>
        </p:grpSp>
        <p:sp>
          <p:nvSpPr>
            <p:cNvPr id="37" name="TextBox 36">
              <a:extLst>
                <a:ext uri="{FF2B5EF4-FFF2-40B4-BE49-F238E27FC236}">
                  <a16:creationId xmlns:a16="http://schemas.microsoft.com/office/drawing/2014/main" id="{F1016110-BF5E-07AA-35FD-78C789924E3D}"/>
                </a:ext>
              </a:extLst>
            </p:cNvPr>
            <p:cNvSpPr txBox="1"/>
            <p:nvPr/>
          </p:nvSpPr>
          <p:spPr>
            <a:xfrm>
              <a:off x="8157223" y="5535731"/>
              <a:ext cx="2088308" cy="230062"/>
            </a:xfrm>
            <a:prstGeom prst="rect">
              <a:avLst/>
            </a:prstGeom>
            <a:noFill/>
          </p:spPr>
          <p:txBody>
            <a:bodyPr wrap="square" lIns="0" tIns="0" rIns="0" bIns="0" rtlCol="0">
              <a:noAutofit/>
            </a:bodyPr>
            <a:lstStyle/>
            <a:p>
              <a:pPr algn="l"/>
              <a:r>
                <a:rPr lang="en-GB" sz="1400" b="1">
                  <a:solidFill>
                    <a:schemeClr val="bg1"/>
                  </a:solidFill>
                </a:rPr>
                <a:t>Source</a:t>
              </a:r>
            </a:p>
          </p:txBody>
        </p:sp>
      </p:grpSp>
      <p:grpSp>
        <p:nvGrpSpPr>
          <p:cNvPr id="41" name="Group 40">
            <a:extLst>
              <a:ext uri="{FF2B5EF4-FFF2-40B4-BE49-F238E27FC236}">
                <a16:creationId xmlns:a16="http://schemas.microsoft.com/office/drawing/2014/main" id="{FE9520A2-44BD-C88B-7272-F321D2F2614B}"/>
              </a:ext>
            </a:extLst>
          </p:cNvPr>
          <p:cNvGrpSpPr/>
          <p:nvPr userDrawn="1"/>
        </p:nvGrpSpPr>
        <p:grpSpPr>
          <a:xfrm>
            <a:off x="4956019" y="751764"/>
            <a:ext cx="2694127" cy="2174525"/>
            <a:chOff x="4956019" y="751764"/>
            <a:chExt cx="2694127" cy="2174525"/>
          </a:xfrm>
        </p:grpSpPr>
        <p:grpSp>
          <p:nvGrpSpPr>
            <p:cNvPr id="42" name="Group 41">
              <a:extLst>
                <a:ext uri="{FF2B5EF4-FFF2-40B4-BE49-F238E27FC236}">
                  <a16:creationId xmlns:a16="http://schemas.microsoft.com/office/drawing/2014/main" id="{50F99A2B-DA01-FB2C-F4A9-E5FB98ABE1D9}"/>
                </a:ext>
              </a:extLst>
            </p:cNvPr>
            <p:cNvGrpSpPr/>
            <p:nvPr/>
          </p:nvGrpSpPr>
          <p:grpSpPr>
            <a:xfrm>
              <a:off x="4956019" y="751764"/>
              <a:ext cx="2694127" cy="2174525"/>
              <a:chOff x="4956019" y="751764"/>
              <a:chExt cx="2694127" cy="2174525"/>
            </a:xfrm>
          </p:grpSpPr>
          <p:sp>
            <p:nvSpPr>
              <p:cNvPr id="44" name="Graphic 8">
                <a:extLst>
                  <a:ext uri="{FF2B5EF4-FFF2-40B4-BE49-F238E27FC236}">
                    <a16:creationId xmlns:a16="http://schemas.microsoft.com/office/drawing/2014/main" id="{F702CA42-381C-1745-927C-5CC8039DECA0}"/>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5" name="Graphic 8">
                <a:extLst>
                  <a:ext uri="{FF2B5EF4-FFF2-40B4-BE49-F238E27FC236}">
                    <a16:creationId xmlns:a16="http://schemas.microsoft.com/office/drawing/2014/main" id="{58BBE9CC-A8A9-CAEE-16E6-384D4EBAC8F8}"/>
                  </a:ext>
                </a:extLst>
              </p:cNvPr>
              <p:cNvSpPr/>
              <p:nvPr/>
            </p:nvSpPr>
            <p:spPr>
              <a:xfrm rot="10800000">
                <a:off x="7170154" y="25290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6" name="TextBox 45">
                <a:extLst>
                  <a:ext uri="{FF2B5EF4-FFF2-40B4-BE49-F238E27FC236}">
                    <a16:creationId xmlns:a16="http://schemas.microsoft.com/office/drawing/2014/main" id="{5E82E0A1-715B-E084-807B-712F0B40F574}"/>
                  </a:ext>
                </a:extLst>
              </p:cNvPr>
              <p:cNvSpPr txBox="1"/>
              <p:nvPr/>
            </p:nvSpPr>
            <p:spPr>
              <a:xfrm>
                <a:off x="4956019" y="1255830"/>
                <a:ext cx="2694127" cy="1221466"/>
              </a:xfrm>
              <a:prstGeom prst="rect">
                <a:avLst/>
              </a:prstGeom>
              <a:noFill/>
            </p:spPr>
            <p:txBody>
              <a:bodyPr wrap="square" lIns="0" tIns="0" rIns="0" bIns="0" rtlCol="0">
                <a:noAutofit/>
              </a:bodyPr>
              <a:lstStyle/>
              <a:p>
                <a:pPr algn="l"/>
                <a:r>
                  <a:rPr lang="en-GB" sz="1600">
                    <a:solidFill>
                      <a:schemeClr val="bg1"/>
                    </a:solidFill>
                  </a:rPr>
                  <a:t>Short quote box</a:t>
                </a:r>
              </a:p>
              <a:p>
                <a:pPr algn="l"/>
                <a:r>
                  <a:rPr lang="en-GB" sz="1600">
                    <a:solidFill>
                      <a:schemeClr val="bg1"/>
                    </a:solidFill>
                  </a:rPr>
                  <a:t>– use font size 14 or 16</a:t>
                </a:r>
              </a:p>
            </p:txBody>
          </p:sp>
        </p:grpSp>
        <p:sp>
          <p:nvSpPr>
            <p:cNvPr id="43" name="TextBox 42">
              <a:extLst>
                <a:ext uri="{FF2B5EF4-FFF2-40B4-BE49-F238E27FC236}">
                  <a16:creationId xmlns:a16="http://schemas.microsoft.com/office/drawing/2014/main" id="{7CF9B6AA-F2C4-3A16-94D6-4FA0616BC4C2}"/>
                </a:ext>
              </a:extLst>
            </p:cNvPr>
            <p:cNvSpPr txBox="1"/>
            <p:nvPr/>
          </p:nvSpPr>
          <p:spPr>
            <a:xfrm>
              <a:off x="4956019" y="2609276"/>
              <a:ext cx="2088308" cy="230062"/>
            </a:xfrm>
            <a:prstGeom prst="rect">
              <a:avLst/>
            </a:prstGeom>
            <a:noFill/>
          </p:spPr>
          <p:txBody>
            <a:bodyPr wrap="square" lIns="0" tIns="0" rIns="0" bIns="0" rtlCol="0">
              <a:noAutofit/>
            </a:bodyPr>
            <a:lstStyle/>
            <a:p>
              <a:pPr algn="l"/>
              <a:r>
                <a:rPr lang="en-GB" sz="1400" b="1">
                  <a:solidFill>
                    <a:schemeClr val="bg1"/>
                  </a:solidFill>
                </a:rPr>
                <a:t>Source</a:t>
              </a:r>
            </a:p>
          </p:txBody>
        </p:sp>
      </p:grpSp>
      <p:grpSp>
        <p:nvGrpSpPr>
          <p:cNvPr id="47" name="Group 46">
            <a:extLst>
              <a:ext uri="{FF2B5EF4-FFF2-40B4-BE49-F238E27FC236}">
                <a16:creationId xmlns:a16="http://schemas.microsoft.com/office/drawing/2014/main" id="{7CAED7B2-273B-E7AC-BB6F-B3CC2747438F}"/>
              </a:ext>
            </a:extLst>
          </p:cNvPr>
          <p:cNvGrpSpPr/>
          <p:nvPr userDrawn="1"/>
        </p:nvGrpSpPr>
        <p:grpSpPr>
          <a:xfrm>
            <a:off x="8004312" y="651714"/>
            <a:ext cx="2999950" cy="2785252"/>
            <a:chOff x="8004312" y="651714"/>
            <a:chExt cx="2999950" cy="2785252"/>
          </a:xfrm>
        </p:grpSpPr>
        <p:sp>
          <p:nvSpPr>
            <p:cNvPr id="48" name="Graphic 16">
              <a:extLst>
                <a:ext uri="{FF2B5EF4-FFF2-40B4-BE49-F238E27FC236}">
                  <a16:creationId xmlns:a16="http://schemas.microsoft.com/office/drawing/2014/main" id="{B9FB914A-D507-9CFB-3B63-A36282B4F3B9}"/>
                </a:ext>
              </a:extLst>
            </p:cNvPr>
            <p:cNvSpPr/>
            <p:nvPr/>
          </p:nvSpPr>
          <p:spPr>
            <a:xfrm>
              <a:off x="800431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bg2"/>
            </a:solidFill>
            <a:ln w="9512" cap="flat">
              <a:noFill/>
              <a:prstDash val="solid"/>
              <a:miter/>
            </a:ln>
          </p:spPr>
          <p:txBody>
            <a:bodyPr rtlCol="0" anchor="ctr"/>
            <a:lstStyle/>
            <a:p>
              <a:endParaRPr lang="en-GB"/>
            </a:p>
          </p:txBody>
        </p:sp>
        <p:grpSp>
          <p:nvGrpSpPr>
            <p:cNvPr id="49" name="Group 48">
              <a:extLst>
                <a:ext uri="{FF2B5EF4-FFF2-40B4-BE49-F238E27FC236}">
                  <a16:creationId xmlns:a16="http://schemas.microsoft.com/office/drawing/2014/main" id="{4FE00AB8-BB61-6683-109F-7A4ADE9ADBF5}"/>
                </a:ext>
              </a:extLst>
            </p:cNvPr>
            <p:cNvGrpSpPr/>
            <p:nvPr/>
          </p:nvGrpSpPr>
          <p:grpSpPr>
            <a:xfrm>
              <a:off x="8157223" y="779300"/>
              <a:ext cx="2694127" cy="2174525"/>
              <a:chOff x="5108419" y="904164"/>
              <a:chExt cx="2694127" cy="2174525"/>
            </a:xfrm>
          </p:grpSpPr>
          <p:sp>
            <p:nvSpPr>
              <p:cNvPr id="51" name="Graphic 8">
                <a:extLst>
                  <a:ext uri="{FF2B5EF4-FFF2-40B4-BE49-F238E27FC236}">
                    <a16:creationId xmlns:a16="http://schemas.microsoft.com/office/drawing/2014/main" id="{3914375B-3B76-A03E-7282-34E6A12F3CC1}"/>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52" name="Graphic 8">
                <a:extLst>
                  <a:ext uri="{FF2B5EF4-FFF2-40B4-BE49-F238E27FC236}">
                    <a16:creationId xmlns:a16="http://schemas.microsoft.com/office/drawing/2014/main" id="{BCFBC4CE-8004-5848-9A32-E1AE2F4D3534}"/>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53" name="TextBox 52">
                <a:extLst>
                  <a:ext uri="{FF2B5EF4-FFF2-40B4-BE49-F238E27FC236}">
                    <a16:creationId xmlns:a16="http://schemas.microsoft.com/office/drawing/2014/main" id="{C640FE75-5796-86A7-F5E0-2BF7630E20F8}"/>
                  </a:ext>
                </a:extLst>
              </p:cNvPr>
              <p:cNvSpPr txBox="1"/>
              <p:nvPr/>
            </p:nvSpPr>
            <p:spPr>
              <a:xfrm>
                <a:off x="5108419" y="1408230"/>
                <a:ext cx="2694127" cy="1221466"/>
              </a:xfrm>
              <a:prstGeom prst="rect">
                <a:avLst/>
              </a:prstGeom>
              <a:noFill/>
            </p:spPr>
            <p:txBody>
              <a:bodyPr wrap="square" lIns="0" tIns="0" rIns="0" bIns="0" rtlCol="0">
                <a:noAutofit/>
              </a:bodyPr>
              <a:lstStyle/>
              <a:p>
                <a:pPr algn="l"/>
                <a:r>
                  <a:rPr lang="en-GB" sz="1600">
                    <a:solidFill>
                      <a:schemeClr val="bg1"/>
                    </a:solidFill>
                  </a:rPr>
                  <a:t>Short quote box</a:t>
                </a:r>
              </a:p>
              <a:p>
                <a:pPr algn="l"/>
                <a:r>
                  <a:rPr lang="en-GB" sz="1600">
                    <a:solidFill>
                      <a:schemeClr val="bg1"/>
                    </a:solidFill>
                  </a:rPr>
                  <a:t>– use font size 14 or 16</a:t>
                </a:r>
              </a:p>
            </p:txBody>
          </p:sp>
        </p:grpSp>
        <p:sp>
          <p:nvSpPr>
            <p:cNvPr id="50" name="TextBox 49">
              <a:extLst>
                <a:ext uri="{FF2B5EF4-FFF2-40B4-BE49-F238E27FC236}">
                  <a16:creationId xmlns:a16="http://schemas.microsoft.com/office/drawing/2014/main" id="{8D04A6B5-11C7-9995-FE63-8C0105297A7F}"/>
                </a:ext>
              </a:extLst>
            </p:cNvPr>
            <p:cNvSpPr txBox="1"/>
            <p:nvPr/>
          </p:nvSpPr>
          <p:spPr>
            <a:xfrm>
              <a:off x="8157223" y="2609276"/>
              <a:ext cx="2088308" cy="230062"/>
            </a:xfrm>
            <a:prstGeom prst="rect">
              <a:avLst/>
            </a:prstGeom>
            <a:noFill/>
          </p:spPr>
          <p:txBody>
            <a:bodyPr wrap="square" lIns="0" tIns="0" rIns="0" bIns="0" rtlCol="0">
              <a:noAutofit/>
            </a:bodyPr>
            <a:lstStyle/>
            <a:p>
              <a:pPr algn="l"/>
              <a:r>
                <a:rPr lang="en-GB" sz="1400" b="1">
                  <a:solidFill>
                    <a:schemeClr val="bg1"/>
                  </a:solidFill>
                </a:rPr>
                <a:t>Source</a:t>
              </a:r>
            </a:p>
          </p:txBody>
        </p:sp>
      </p:grpSp>
    </p:spTree>
    <p:extLst>
      <p:ext uri="{BB962C8B-B14F-4D97-AF65-F5344CB8AC3E}">
        <p14:creationId xmlns:p14="http://schemas.microsoft.com/office/powerpoint/2010/main" val="201319499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step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grpSp>
        <p:nvGrpSpPr>
          <p:cNvPr id="4" name="Group 3">
            <a:extLst>
              <a:ext uri="{FF2B5EF4-FFF2-40B4-BE49-F238E27FC236}">
                <a16:creationId xmlns:a16="http://schemas.microsoft.com/office/drawing/2014/main" id="{F61AB72B-0AD7-93D3-780F-B38507C64FF6}"/>
              </a:ext>
            </a:extLst>
          </p:cNvPr>
          <p:cNvGrpSpPr/>
          <p:nvPr userDrawn="1"/>
        </p:nvGrpSpPr>
        <p:grpSpPr>
          <a:xfrm>
            <a:off x="815974" y="2637253"/>
            <a:ext cx="10678912" cy="1091742"/>
            <a:chOff x="815974" y="2637253"/>
            <a:chExt cx="7100852" cy="1091742"/>
          </a:xfrm>
        </p:grpSpPr>
        <p:sp>
          <p:nvSpPr>
            <p:cNvPr id="5" name="Rectangle 4">
              <a:extLst>
                <a:ext uri="{FF2B5EF4-FFF2-40B4-BE49-F238E27FC236}">
                  <a16:creationId xmlns:a16="http://schemas.microsoft.com/office/drawing/2014/main" id="{99F7150E-8900-E070-D15A-53EABE149C92}"/>
                </a:ext>
              </a:extLst>
            </p:cNvPr>
            <p:cNvSpPr/>
            <p:nvPr/>
          </p:nvSpPr>
          <p:spPr>
            <a:xfrm flipV="1">
              <a:off x="815974" y="3518998"/>
              <a:ext cx="3540125"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5C4D128B-9E63-3348-6D5C-854A9696198E}"/>
                </a:ext>
              </a:extLst>
            </p:cNvPr>
            <p:cNvSpPr/>
            <p:nvPr/>
          </p:nvSpPr>
          <p:spPr>
            <a:xfrm flipV="1">
              <a:off x="4356099" y="3277990"/>
              <a:ext cx="3540125"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7" name="TextBox 6">
              <a:extLst>
                <a:ext uri="{FF2B5EF4-FFF2-40B4-BE49-F238E27FC236}">
                  <a16:creationId xmlns:a16="http://schemas.microsoft.com/office/drawing/2014/main" id="{D2B30640-78CA-F1CF-02BD-DBA03FE12978}"/>
                </a:ext>
              </a:extLst>
            </p:cNvPr>
            <p:cNvSpPr txBox="1"/>
            <p:nvPr>
              <p:custDataLst>
                <p:tags r:id="rId1"/>
              </p:custDataLst>
            </p:nvPr>
          </p:nvSpPr>
          <p:spPr>
            <a:xfrm>
              <a:off x="815974" y="2865488"/>
              <a:ext cx="3540125" cy="677108"/>
            </a:xfrm>
            <a:prstGeom prst="rect">
              <a:avLst/>
            </a:prstGeom>
            <a:noFill/>
          </p:spPr>
          <p:txBody>
            <a:bodyPr wrap="square" lIns="108000" tIns="0" rIns="108000" bIns="0" rtlCol="0">
              <a:spAutoFit/>
            </a:bodyPr>
            <a:lstStyle/>
            <a:p>
              <a:pPr algn="ctr"/>
              <a:r>
                <a:rPr lang="en-GB" sz="4400" b="1"/>
                <a:t>01</a:t>
              </a:r>
            </a:p>
          </p:txBody>
        </p:sp>
        <p:sp>
          <p:nvSpPr>
            <p:cNvPr id="8" name="TextBox 7">
              <a:extLst>
                <a:ext uri="{FF2B5EF4-FFF2-40B4-BE49-F238E27FC236}">
                  <a16:creationId xmlns:a16="http://schemas.microsoft.com/office/drawing/2014/main" id="{FBCFA3CA-9AF5-21CF-F997-DF8D87EF86B0}"/>
                </a:ext>
              </a:extLst>
            </p:cNvPr>
            <p:cNvSpPr txBox="1"/>
            <p:nvPr>
              <p:custDataLst>
                <p:tags r:id="rId2"/>
              </p:custDataLst>
            </p:nvPr>
          </p:nvSpPr>
          <p:spPr>
            <a:xfrm>
              <a:off x="4376701" y="2637253"/>
              <a:ext cx="3540125" cy="677108"/>
            </a:xfrm>
            <a:prstGeom prst="rect">
              <a:avLst/>
            </a:prstGeom>
            <a:noFill/>
          </p:spPr>
          <p:txBody>
            <a:bodyPr wrap="square" lIns="108000" tIns="0" rIns="108000" bIns="0" rtlCol="0">
              <a:spAutoFit/>
            </a:bodyPr>
            <a:lstStyle/>
            <a:p>
              <a:pPr algn="ctr"/>
              <a:r>
                <a:rPr lang="en-GB" sz="4400" b="1"/>
                <a:t>02</a:t>
              </a:r>
            </a:p>
          </p:txBody>
        </p:sp>
      </p:grpSp>
      <p:cxnSp>
        <p:nvCxnSpPr>
          <p:cNvPr id="11" name="Straight Connector 10">
            <a:extLst>
              <a:ext uri="{FF2B5EF4-FFF2-40B4-BE49-F238E27FC236}">
                <a16:creationId xmlns:a16="http://schemas.microsoft.com/office/drawing/2014/main" id="{630E7BFC-572F-CBFF-8DA1-6C5C90C793F9}"/>
              </a:ext>
            </a:extLst>
          </p:cNvPr>
          <p:cNvCxnSpPr>
            <a:cxnSpLocks/>
          </p:cNvCxnSpPr>
          <p:nvPr userDrawn="1"/>
        </p:nvCxnSpPr>
        <p:spPr>
          <a:xfrm>
            <a:off x="814558" y="3518998"/>
            <a:ext cx="0" cy="180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65C3802-F96E-7BBE-ABA0-FA92952047A1}"/>
              </a:ext>
            </a:extLst>
          </p:cNvPr>
          <p:cNvCxnSpPr>
            <a:cxnSpLocks/>
          </p:cNvCxnSpPr>
          <p:nvPr userDrawn="1"/>
        </p:nvCxnSpPr>
        <p:spPr>
          <a:xfrm>
            <a:off x="6137702" y="3277990"/>
            <a:ext cx="0" cy="180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7"/>
            <a:ext cx="5151008" cy="1223962"/>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6228671" y="3566009"/>
            <a:ext cx="5151008" cy="1223962"/>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9" name="Group 8">
            <a:extLst>
              <a:ext uri="{FF2B5EF4-FFF2-40B4-BE49-F238E27FC236}">
                <a16:creationId xmlns:a16="http://schemas.microsoft.com/office/drawing/2014/main" id="{8428FFEC-35F9-E08A-4E83-B54D53874876}"/>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A2A7A6B9-AE6E-3E68-1D6B-4E4072F65A7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9FB00FC5-8D64-E451-C6A6-35C0D7D225D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C8799508-C359-EF77-CDD5-D4DB1D54149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1643BC68-F37B-AD3E-D7BD-0101C1CF353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7F141BBE-2C9F-1EFC-21EF-CC2FB44D006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0" name="Freeform 20">
              <a:extLst>
                <a:ext uri="{FF2B5EF4-FFF2-40B4-BE49-F238E27FC236}">
                  <a16:creationId xmlns:a16="http://schemas.microsoft.com/office/drawing/2014/main" id="{22BA83AE-6CFB-8A3C-A810-CE3E76A9E71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91667D9D-DAA1-B540-BB1B-3C0F56B583A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89801582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ree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step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7"/>
            <a:ext cx="3348828" cy="1223962"/>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8000999" y="3352800"/>
            <a:ext cx="3378679" cy="1360971"/>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9" name="Group 8">
            <a:extLst>
              <a:ext uri="{FF2B5EF4-FFF2-40B4-BE49-F238E27FC236}">
                <a16:creationId xmlns:a16="http://schemas.microsoft.com/office/drawing/2014/main" id="{BC052700-D935-1455-791D-13E79D518774}"/>
              </a:ext>
            </a:extLst>
          </p:cNvPr>
          <p:cNvGrpSpPr/>
          <p:nvPr userDrawn="1"/>
        </p:nvGrpSpPr>
        <p:grpSpPr>
          <a:xfrm>
            <a:off x="815974" y="2409017"/>
            <a:ext cx="10620375" cy="1288967"/>
            <a:chOff x="815974" y="2409017"/>
            <a:chExt cx="10620375" cy="1288967"/>
          </a:xfrm>
        </p:grpSpPr>
        <p:sp>
          <p:nvSpPr>
            <p:cNvPr id="10" name="Rectangle 9">
              <a:extLst>
                <a:ext uri="{FF2B5EF4-FFF2-40B4-BE49-F238E27FC236}">
                  <a16:creationId xmlns:a16="http://schemas.microsoft.com/office/drawing/2014/main" id="{46313C41-560F-8D9F-65AC-6D08C50CB282}"/>
                </a:ext>
              </a:extLst>
            </p:cNvPr>
            <p:cNvSpPr/>
            <p:nvPr/>
          </p:nvSpPr>
          <p:spPr>
            <a:xfrm flipV="1">
              <a:off x="815974" y="3487987"/>
              <a:ext cx="3540125"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3" name="Rectangle 12">
              <a:extLst>
                <a:ext uri="{FF2B5EF4-FFF2-40B4-BE49-F238E27FC236}">
                  <a16:creationId xmlns:a16="http://schemas.microsoft.com/office/drawing/2014/main" id="{276B333B-B752-FDBF-E0EB-539F25B50FFA}"/>
                </a:ext>
              </a:extLst>
            </p:cNvPr>
            <p:cNvSpPr/>
            <p:nvPr/>
          </p:nvSpPr>
          <p:spPr>
            <a:xfrm flipV="1">
              <a:off x="4356099" y="3277990"/>
              <a:ext cx="3540125"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7" name="Rectangle 16">
              <a:extLst>
                <a:ext uri="{FF2B5EF4-FFF2-40B4-BE49-F238E27FC236}">
                  <a16:creationId xmlns:a16="http://schemas.microsoft.com/office/drawing/2014/main" id="{5CD0AFCD-74B7-9559-03D0-BE49CD49E822}"/>
                </a:ext>
              </a:extLst>
            </p:cNvPr>
            <p:cNvSpPr/>
            <p:nvPr/>
          </p:nvSpPr>
          <p:spPr>
            <a:xfrm flipV="1">
              <a:off x="7896224" y="3069006"/>
              <a:ext cx="3540125" cy="2099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8" name="TextBox 17">
              <a:extLst>
                <a:ext uri="{FF2B5EF4-FFF2-40B4-BE49-F238E27FC236}">
                  <a16:creationId xmlns:a16="http://schemas.microsoft.com/office/drawing/2014/main" id="{01D97831-1C72-A724-9BE8-1FCE70133125}"/>
                </a:ext>
              </a:extLst>
            </p:cNvPr>
            <p:cNvSpPr txBox="1"/>
            <p:nvPr>
              <p:custDataLst>
                <p:tags r:id="rId1"/>
              </p:custDataLst>
            </p:nvPr>
          </p:nvSpPr>
          <p:spPr>
            <a:xfrm>
              <a:off x="815974" y="2865488"/>
              <a:ext cx="3540125" cy="677108"/>
            </a:xfrm>
            <a:prstGeom prst="rect">
              <a:avLst/>
            </a:prstGeom>
            <a:noFill/>
          </p:spPr>
          <p:txBody>
            <a:bodyPr wrap="square" lIns="108000" tIns="0" rIns="108000" bIns="0" rtlCol="0">
              <a:spAutoFit/>
            </a:bodyPr>
            <a:lstStyle/>
            <a:p>
              <a:pPr algn="ctr"/>
              <a:r>
                <a:rPr lang="en-GB" sz="4400" b="1"/>
                <a:t>01</a:t>
              </a:r>
            </a:p>
          </p:txBody>
        </p:sp>
        <p:sp>
          <p:nvSpPr>
            <p:cNvPr id="19" name="TextBox 18">
              <a:extLst>
                <a:ext uri="{FF2B5EF4-FFF2-40B4-BE49-F238E27FC236}">
                  <a16:creationId xmlns:a16="http://schemas.microsoft.com/office/drawing/2014/main" id="{E50C1542-D795-A34E-53B2-86352C2AD60B}"/>
                </a:ext>
              </a:extLst>
            </p:cNvPr>
            <p:cNvSpPr txBox="1"/>
            <p:nvPr>
              <p:custDataLst>
                <p:tags r:id="rId2"/>
              </p:custDataLst>
            </p:nvPr>
          </p:nvSpPr>
          <p:spPr>
            <a:xfrm>
              <a:off x="4376701" y="2637253"/>
              <a:ext cx="3540125" cy="677108"/>
            </a:xfrm>
            <a:prstGeom prst="rect">
              <a:avLst/>
            </a:prstGeom>
            <a:noFill/>
          </p:spPr>
          <p:txBody>
            <a:bodyPr wrap="square" lIns="108000" tIns="0" rIns="108000" bIns="0" rtlCol="0">
              <a:spAutoFit/>
            </a:bodyPr>
            <a:lstStyle/>
            <a:p>
              <a:pPr algn="ctr"/>
              <a:r>
                <a:rPr lang="en-GB" sz="4400" b="1"/>
                <a:t>02</a:t>
              </a:r>
            </a:p>
          </p:txBody>
        </p:sp>
        <p:sp>
          <p:nvSpPr>
            <p:cNvPr id="20" name="TextBox 19">
              <a:extLst>
                <a:ext uri="{FF2B5EF4-FFF2-40B4-BE49-F238E27FC236}">
                  <a16:creationId xmlns:a16="http://schemas.microsoft.com/office/drawing/2014/main" id="{89217ED3-B1D6-5B7A-E736-81AF07E166DF}"/>
                </a:ext>
              </a:extLst>
            </p:cNvPr>
            <p:cNvSpPr txBox="1"/>
            <p:nvPr>
              <p:custDataLst>
                <p:tags r:id="rId3"/>
              </p:custDataLst>
            </p:nvPr>
          </p:nvSpPr>
          <p:spPr>
            <a:xfrm>
              <a:off x="7894737" y="2409017"/>
              <a:ext cx="3540125" cy="677108"/>
            </a:xfrm>
            <a:prstGeom prst="rect">
              <a:avLst/>
            </a:prstGeom>
            <a:noFill/>
          </p:spPr>
          <p:txBody>
            <a:bodyPr wrap="square" lIns="108000" tIns="0" rIns="108000" bIns="0" rtlCol="0">
              <a:spAutoFit/>
            </a:bodyPr>
            <a:lstStyle/>
            <a:p>
              <a:pPr algn="ctr"/>
              <a:r>
                <a:rPr lang="en-GB" sz="4400" b="1"/>
                <a:t>03</a:t>
              </a:r>
            </a:p>
          </p:txBody>
        </p:sp>
      </p:grpSp>
      <p:cxnSp>
        <p:nvCxnSpPr>
          <p:cNvPr id="24" name="Straight Connector 23">
            <a:extLst>
              <a:ext uri="{FF2B5EF4-FFF2-40B4-BE49-F238E27FC236}">
                <a16:creationId xmlns:a16="http://schemas.microsoft.com/office/drawing/2014/main" id="{8F4EABF3-2ACA-416D-B8D4-7347E7394262}"/>
              </a:ext>
            </a:extLst>
          </p:cNvPr>
          <p:cNvCxnSpPr>
            <a:cxnSpLocks/>
          </p:cNvCxnSpPr>
          <p:nvPr userDrawn="1"/>
        </p:nvCxnSpPr>
        <p:spPr>
          <a:xfrm>
            <a:off x="814558" y="3487987"/>
            <a:ext cx="0" cy="180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E66B4A1-0DA3-6988-8404-C768AFD10950}"/>
              </a:ext>
            </a:extLst>
          </p:cNvPr>
          <p:cNvCxnSpPr>
            <a:cxnSpLocks/>
          </p:cNvCxnSpPr>
          <p:nvPr userDrawn="1"/>
        </p:nvCxnSpPr>
        <p:spPr>
          <a:xfrm>
            <a:off x="4359036" y="3280598"/>
            <a:ext cx="0" cy="180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7681F7B-ED80-8DD7-54B9-49867B8F765D}"/>
              </a:ext>
            </a:extLst>
          </p:cNvPr>
          <p:cNvCxnSpPr>
            <a:cxnSpLocks/>
          </p:cNvCxnSpPr>
          <p:nvPr userDrawn="1"/>
        </p:nvCxnSpPr>
        <p:spPr>
          <a:xfrm>
            <a:off x="7894088" y="3068495"/>
            <a:ext cx="0" cy="1800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67358043-369E-7433-FF90-683A0D9CB18B}"/>
              </a:ext>
            </a:extLst>
          </p:cNvPr>
          <p:cNvSpPr>
            <a:spLocks noGrp="1"/>
          </p:cNvSpPr>
          <p:nvPr>
            <p:ph type="body" sz="quarter" idx="15"/>
          </p:nvPr>
        </p:nvSpPr>
        <p:spPr>
          <a:xfrm>
            <a:off x="4460023" y="3592985"/>
            <a:ext cx="3348828" cy="1223962"/>
          </a:xfrm>
        </p:spPr>
        <p:txBody>
          <a:bodyPr>
            <a:normAutofit/>
          </a:bodyPr>
          <a:lstStyle>
            <a:lvl1pPr>
              <a:defRPr sz="1600"/>
            </a:lvl1pPr>
          </a:lstStyle>
          <a:p>
            <a:pPr lvl="0"/>
            <a:r>
              <a:rPr lang="en-US"/>
              <a:t>Click to edit Master text styles</a:t>
            </a:r>
          </a:p>
        </p:txBody>
      </p:sp>
      <p:grpSp>
        <p:nvGrpSpPr>
          <p:cNvPr id="4" name="Group 3">
            <a:extLst>
              <a:ext uri="{FF2B5EF4-FFF2-40B4-BE49-F238E27FC236}">
                <a16:creationId xmlns:a16="http://schemas.microsoft.com/office/drawing/2014/main" id="{6C297257-9295-011B-0FCB-059DD01866CC}"/>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E8A48D27-3D2B-9C06-66F7-96E3FC3C1F2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9F3B5EE9-EE80-22C0-4338-B562F912906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10CAE274-79B7-1B0D-B7DE-65D05EBAFCE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A616188F-465D-C45E-A1BD-D93279D4D1C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CAD1ADF5-F813-F98E-D13E-CD6FEFF1669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D839EF09-727B-59C8-4B48-4BFBFE5AB99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1D5C2DEA-97E9-60E1-3630-62A6F932967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9936426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our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step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6"/>
            <a:ext cx="2449501" cy="1551789"/>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6196155" y="3359782"/>
            <a:ext cx="2462668" cy="1665706"/>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7" name="Text Placeholder 13">
            <a:extLst>
              <a:ext uri="{FF2B5EF4-FFF2-40B4-BE49-F238E27FC236}">
                <a16:creationId xmlns:a16="http://schemas.microsoft.com/office/drawing/2014/main" id="{67358043-369E-7433-FF90-683A0D9CB18B}"/>
              </a:ext>
            </a:extLst>
          </p:cNvPr>
          <p:cNvSpPr>
            <a:spLocks noGrp="1"/>
          </p:cNvSpPr>
          <p:nvPr>
            <p:ph type="body" sz="quarter" idx="15"/>
          </p:nvPr>
        </p:nvSpPr>
        <p:spPr>
          <a:xfrm>
            <a:off x="3579563" y="3592984"/>
            <a:ext cx="2424849" cy="1643619"/>
          </a:xfrm>
        </p:spPr>
        <p:txBody>
          <a:bodyPr>
            <a:normAutofit/>
          </a:bodyPr>
          <a:lstStyle>
            <a:lvl1pPr>
              <a:defRPr sz="1600"/>
            </a:lvl1pPr>
          </a:lstStyle>
          <a:p>
            <a:pPr lvl="0"/>
            <a:r>
              <a:rPr lang="en-US"/>
              <a:t>Click to edit Master text styles</a:t>
            </a:r>
          </a:p>
        </p:txBody>
      </p:sp>
      <p:sp>
        <p:nvSpPr>
          <p:cNvPr id="4" name="Rectangle 3">
            <a:extLst>
              <a:ext uri="{FF2B5EF4-FFF2-40B4-BE49-F238E27FC236}">
                <a16:creationId xmlns:a16="http://schemas.microsoft.com/office/drawing/2014/main" id="{94DB889F-05F7-1423-FC6B-AE560B0C4C8D}"/>
              </a:ext>
            </a:extLst>
          </p:cNvPr>
          <p:cNvSpPr/>
          <p:nvPr userDrawn="1"/>
        </p:nvSpPr>
        <p:spPr>
          <a:xfrm flipV="1">
            <a:off x="815975" y="3487987"/>
            <a:ext cx="2650203"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5" name="Rectangle 4">
            <a:extLst>
              <a:ext uri="{FF2B5EF4-FFF2-40B4-BE49-F238E27FC236}">
                <a16:creationId xmlns:a16="http://schemas.microsoft.com/office/drawing/2014/main" id="{60AC8525-73D7-8139-4BB9-8AF29CA6B045}"/>
              </a:ext>
            </a:extLst>
          </p:cNvPr>
          <p:cNvSpPr/>
          <p:nvPr userDrawn="1"/>
        </p:nvSpPr>
        <p:spPr>
          <a:xfrm flipV="1">
            <a:off x="3466178" y="3277990"/>
            <a:ext cx="2650203"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044E09AA-68DE-4C3E-24F3-BA5CEE916304}"/>
              </a:ext>
            </a:extLst>
          </p:cNvPr>
          <p:cNvSpPr/>
          <p:nvPr userDrawn="1"/>
        </p:nvSpPr>
        <p:spPr>
          <a:xfrm flipV="1">
            <a:off x="6116379" y="3069006"/>
            <a:ext cx="2650203" cy="2099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7" name="TextBox 6">
            <a:extLst>
              <a:ext uri="{FF2B5EF4-FFF2-40B4-BE49-F238E27FC236}">
                <a16:creationId xmlns:a16="http://schemas.microsoft.com/office/drawing/2014/main" id="{3CA99AC1-8692-B4B2-A01F-CBEDFCE69F48}"/>
              </a:ext>
            </a:extLst>
          </p:cNvPr>
          <p:cNvSpPr txBox="1"/>
          <p:nvPr userDrawn="1">
            <p:custDataLst>
              <p:tags r:id="rId1"/>
            </p:custDataLst>
          </p:nvPr>
        </p:nvSpPr>
        <p:spPr>
          <a:xfrm>
            <a:off x="815975" y="2865488"/>
            <a:ext cx="2650203" cy="677108"/>
          </a:xfrm>
          <a:prstGeom prst="rect">
            <a:avLst/>
          </a:prstGeom>
          <a:noFill/>
        </p:spPr>
        <p:txBody>
          <a:bodyPr wrap="square" lIns="108000" tIns="0" rIns="108000" bIns="0" rtlCol="0">
            <a:spAutoFit/>
          </a:bodyPr>
          <a:lstStyle/>
          <a:p>
            <a:pPr algn="ctr"/>
            <a:r>
              <a:rPr lang="en-GB" sz="4400" b="1"/>
              <a:t>01</a:t>
            </a:r>
          </a:p>
        </p:txBody>
      </p:sp>
      <p:sp>
        <p:nvSpPr>
          <p:cNvPr id="8" name="TextBox 7">
            <a:extLst>
              <a:ext uri="{FF2B5EF4-FFF2-40B4-BE49-F238E27FC236}">
                <a16:creationId xmlns:a16="http://schemas.microsoft.com/office/drawing/2014/main" id="{EE9BABB4-76AD-3AAE-CDDB-46E9312DA0F0}"/>
              </a:ext>
            </a:extLst>
          </p:cNvPr>
          <p:cNvSpPr txBox="1"/>
          <p:nvPr userDrawn="1">
            <p:custDataLst>
              <p:tags r:id="rId2"/>
            </p:custDataLst>
          </p:nvPr>
        </p:nvSpPr>
        <p:spPr>
          <a:xfrm>
            <a:off x="3481600" y="2637253"/>
            <a:ext cx="2650203" cy="677108"/>
          </a:xfrm>
          <a:prstGeom prst="rect">
            <a:avLst/>
          </a:prstGeom>
          <a:noFill/>
        </p:spPr>
        <p:txBody>
          <a:bodyPr wrap="square" lIns="108000" tIns="0" rIns="108000" bIns="0" rtlCol="0">
            <a:spAutoFit/>
          </a:bodyPr>
          <a:lstStyle/>
          <a:p>
            <a:pPr algn="ctr"/>
            <a:r>
              <a:rPr lang="en-GB" sz="4400" b="1"/>
              <a:t>02</a:t>
            </a:r>
          </a:p>
        </p:txBody>
      </p:sp>
      <p:sp>
        <p:nvSpPr>
          <p:cNvPr id="11" name="TextBox 10">
            <a:extLst>
              <a:ext uri="{FF2B5EF4-FFF2-40B4-BE49-F238E27FC236}">
                <a16:creationId xmlns:a16="http://schemas.microsoft.com/office/drawing/2014/main" id="{6A8EC1DE-8304-4904-1509-A5C31513E5BE}"/>
              </a:ext>
            </a:extLst>
          </p:cNvPr>
          <p:cNvSpPr txBox="1"/>
          <p:nvPr userDrawn="1">
            <p:custDataLst>
              <p:tags r:id="rId3"/>
            </p:custDataLst>
          </p:nvPr>
        </p:nvSpPr>
        <p:spPr>
          <a:xfrm>
            <a:off x="6115266" y="2409017"/>
            <a:ext cx="2650203" cy="677108"/>
          </a:xfrm>
          <a:prstGeom prst="rect">
            <a:avLst/>
          </a:prstGeom>
          <a:noFill/>
        </p:spPr>
        <p:txBody>
          <a:bodyPr wrap="square" lIns="108000" tIns="0" rIns="108000" bIns="0" rtlCol="0">
            <a:spAutoFit/>
          </a:bodyPr>
          <a:lstStyle/>
          <a:p>
            <a:pPr algn="ctr"/>
            <a:r>
              <a:rPr lang="en-GB" sz="4400" b="1"/>
              <a:t>03</a:t>
            </a:r>
          </a:p>
        </p:txBody>
      </p:sp>
      <p:sp>
        <p:nvSpPr>
          <p:cNvPr id="12" name="Rectangle 11">
            <a:extLst>
              <a:ext uri="{FF2B5EF4-FFF2-40B4-BE49-F238E27FC236}">
                <a16:creationId xmlns:a16="http://schemas.microsoft.com/office/drawing/2014/main" id="{06C244C2-6078-ED14-1CA9-48E9A0C19A7B}"/>
              </a:ext>
            </a:extLst>
          </p:cNvPr>
          <p:cNvSpPr/>
          <p:nvPr userDrawn="1"/>
        </p:nvSpPr>
        <p:spPr>
          <a:xfrm flipV="1">
            <a:off x="8758572" y="2866607"/>
            <a:ext cx="2650203"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21" name="TextBox 20">
            <a:extLst>
              <a:ext uri="{FF2B5EF4-FFF2-40B4-BE49-F238E27FC236}">
                <a16:creationId xmlns:a16="http://schemas.microsoft.com/office/drawing/2014/main" id="{CDBDAD67-8C3F-89B1-B6E6-1D68C7B94AC9}"/>
              </a:ext>
            </a:extLst>
          </p:cNvPr>
          <p:cNvSpPr txBox="1"/>
          <p:nvPr userDrawn="1">
            <p:custDataLst>
              <p:tags r:id="rId4"/>
            </p:custDataLst>
          </p:nvPr>
        </p:nvSpPr>
        <p:spPr>
          <a:xfrm>
            <a:off x="8785034" y="2206620"/>
            <a:ext cx="2650203" cy="677108"/>
          </a:xfrm>
          <a:prstGeom prst="rect">
            <a:avLst/>
          </a:prstGeom>
          <a:noFill/>
        </p:spPr>
        <p:txBody>
          <a:bodyPr wrap="square" lIns="108000" tIns="0" rIns="108000" bIns="0" rtlCol="0">
            <a:spAutoFit/>
          </a:bodyPr>
          <a:lstStyle/>
          <a:p>
            <a:pPr algn="ctr"/>
            <a:r>
              <a:rPr lang="en-GB" sz="4400" b="1"/>
              <a:t>04</a:t>
            </a:r>
          </a:p>
        </p:txBody>
      </p:sp>
      <p:cxnSp>
        <p:nvCxnSpPr>
          <p:cNvPr id="22" name="Straight Connector 21">
            <a:extLst>
              <a:ext uri="{FF2B5EF4-FFF2-40B4-BE49-F238E27FC236}">
                <a16:creationId xmlns:a16="http://schemas.microsoft.com/office/drawing/2014/main" id="{DCEEBF10-D1E4-FA38-376F-7184FFA60171}"/>
              </a:ext>
            </a:extLst>
          </p:cNvPr>
          <p:cNvCxnSpPr>
            <a:cxnSpLocks/>
          </p:cNvCxnSpPr>
          <p:nvPr userDrawn="1"/>
        </p:nvCxnSpPr>
        <p:spPr>
          <a:xfrm>
            <a:off x="814558" y="3487985"/>
            <a:ext cx="0" cy="216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91F697F-08D0-D62B-1542-B4D32CC6D7FB}"/>
              </a:ext>
            </a:extLst>
          </p:cNvPr>
          <p:cNvCxnSpPr>
            <a:cxnSpLocks/>
          </p:cNvCxnSpPr>
          <p:nvPr userDrawn="1"/>
        </p:nvCxnSpPr>
        <p:spPr>
          <a:xfrm>
            <a:off x="3466178" y="3277988"/>
            <a:ext cx="0" cy="216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BEF050D-937F-B7A4-14E1-20DD3271A604}"/>
              </a:ext>
            </a:extLst>
          </p:cNvPr>
          <p:cNvCxnSpPr>
            <a:cxnSpLocks/>
          </p:cNvCxnSpPr>
          <p:nvPr userDrawn="1"/>
        </p:nvCxnSpPr>
        <p:spPr>
          <a:xfrm>
            <a:off x="6120589" y="3076604"/>
            <a:ext cx="0" cy="2160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399C47A-FD30-279C-6A47-3D052B3072F1}"/>
              </a:ext>
            </a:extLst>
          </p:cNvPr>
          <p:cNvCxnSpPr>
            <a:cxnSpLocks/>
          </p:cNvCxnSpPr>
          <p:nvPr userDrawn="1"/>
        </p:nvCxnSpPr>
        <p:spPr>
          <a:xfrm>
            <a:off x="8765469" y="2865488"/>
            <a:ext cx="0" cy="216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30" name="Text Placeholder 13">
            <a:extLst>
              <a:ext uri="{FF2B5EF4-FFF2-40B4-BE49-F238E27FC236}">
                <a16:creationId xmlns:a16="http://schemas.microsoft.com/office/drawing/2014/main" id="{391A0395-DC81-8FC7-EE4A-5F6BBB61C11C}"/>
              </a:ext>
            </a:extLst>
          </p:cNvPr>
          <p:cNvSpPr>
            <a:spLocks noGrp="1"/>
          </p:cNvSpPr>
          <p:nvPr>
            <p:ph type="body" sz="quarter" idx="16"/>
          </p:nvPr>
        </p:nvSpPr>
        <p:spPr>
          <a:xfrm>
            <a:off x="8883723" y="3178008"/>
            <a:ext cx="2551509" cy="1665706"/>
          </a:xfrm>
        </p:spPr>
        <p:txBody>
          <a:bodyPr>
            <a:normAutofit/>
          </a:bodyPr>
          <a:lstStyle>
            <a:lvl1pPr>
              <a:defRPr sz="1600"/>
            </a:lvl1pPr>
          </a:lstStyle>
          <a:p>
            <a:pPr lvl="0"/>
            <a:r>
              <a:rPr lang="en-US"/>
              <a:t>Click to edit Master text styles</a:t>
            </a:r>
          </a:p>
        </p:txBody>
      </p:sp>
      <p:grpSp>
        <p:nvGrpSpPr>
          <p:cNvPr id="9" name="Group 8">
            <a:extLst>
              <a:ext uri="{FF2B5EF4-FFF2-40B4-BE49-F238E27FC236}">
                <a16:creationId xmlns:a16="http://schemas.microsoft.com/office/drawing/2014/main" id="{5DABFE35-D9B4-B837-557E-64479E13D5A1}"/>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6CAD7FAA-A978-B01A-53CF-7B52E977616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4F71CA22-447C-EAC8-620D-29C7F96882D3}"/>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2491C102-1671-1E37-149B-63CCCFA1FC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89459B12-1403-0FB6-6144-51C564D4F0F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9F235F10-A41C-4F97-8AF2-15187837038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0" name="Freeform 20">
              <a:extLst>
                <a:ext uri="{FF2B5EF4-FFF2-40B4-BE49-F238E27FC236}">
                  <a16:creationId xmlns:a16="http://schemas.microsoft.com/office/drawing/2014/main" id="{B1AEBCE7-CE3E-D29C-BB46-526A7F1BE4E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B45AED45-C2AE-2FC3-B0C6-51FB76593D93}"/>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84214352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point layou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userDrawn="1"/>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1059367"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17" name="Group 16">
            <a:extLst>
              <a:ext uri="{FF2B5EF4-FFF2-40B4-BE49-F238E27FC236}">
                <a16:creationId xmlns:a16="http://schemas.microsoft.com/office/drawing/2014/main" id="{957E97B0-A74B-82F4-6005-84FBD51EE67E}"/>
              </a:ext>
            </a:extLst>
          </p:cNvPr>
          <p:cNvGrpSpPr/>
          <p:nvPr userDrawn="1"/>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6456645"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65154"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C1889CB1-C35F-BA72-9150-E16B254BDB0B}"/>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0FCE80B4-90C1-CF3C-B33B-D19FE6CEB85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25C826E1-5850-A20B-2EBE-AC23028EE2E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259EA141-A5EC-2541-C613-6A5D6A080546}"/>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ACE3B3E7-6929-BF61-97EF-D8D853EFD3E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DF847BA2-5C0C-A08F-7471-4BA667B76DD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AE7C9A3E-0197-03D8-48FA-41D78B9C1E4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B01CCA73-71F0-5B20-251A-2979C0A079C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5102474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point layout 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userDrawn="1"/>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1059367"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17" name="Group 16">
            <a:extLst>
              <a:ext uri="{FF2B5EF4-FFF2-40B4-BE49-F238E27FC236}">
                <a16:creationId xmlns:a16="http://schemas.microsoft.com/office/drawing/2014/main" id="{957E97B0-A74B-82F4-6005-84FBD51EE67E}"/>
              </a:ext>
            </a:extLst>
          </p:cNvPr>
          <p:cNvGrpSpPr/>
          <p:nvPr userDrawn="1"/>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6456645"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65154" y="3133619"/>
            <a:ext cx="483206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AC579EFF-3467-0FC9-4190-52B601477337}"/>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81E984EC-8B1F-F0C3-056F-AB28207A541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82AEFB30-A7F7-BDB6-4D12-62ADF0D151E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8DD48789-02F7-7003-F8A9-31C8E46C083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0D3BD6D2-A103-6EC2-3226-9B07954235E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37228847-1DD8-D8E0-F1F8-67BECA1C2ED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9D9FFE5E-B633-291B-8CF2-C60BBA00BF91}"/>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86DFBF58-4F6F-4AF0-1C68-E726179AF5A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61251781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ree point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059367"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4656024"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8260511"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9" name="Group 8">
            <a:extLst>
              <a:ext uri="{FF2B5EF4-FFF2-40B4-BE49-F238E27FC236}">
                <a16:creationId xmlns:a16="http://schemas.microsoft.com/office/drawing/2014/main" id="{7BB5EF85-EA9E-3034-9AA7-3941942DDA58}"/>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B6D2528E-93E7-393E-1B44-FA1B6EC2909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A767001-DCC5-1970-DA39-863A66F357F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C71809A5-2A4B-ECF5-155C-EB5D3777C8D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ADD6684A-EAE0-97FE-BA8B-F1854232033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1CCA80B4-D320-7D57-3B99-919A7B50338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007A4271-5BAC-AF4F-232B-E836897AD1D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0A36F8B4-5624-3B3B-656E-734165A12B0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13098533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ree point layout 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059367"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4656024"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8260511"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grpSp>
        <p:nvGrpSpPr>
          <p:cNvPr id="9" name="Group 8">
            <a:extLst>
              <a:ext uri="{FF2B5EF4-FFF2-40B4-BE49-F238E27FC236}">
                <a16:creationId xmlns:a16="http://schemas.microsoft.com/office/drawing/2014/main" id="{C5743957-88D8-6563-88B1-3ADB23349BF0}"/>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D5DC70A9-3F65-8455-C243-CA0196E07E3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C914296-A82F-4C0E-21B7-E6EE6A99950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04C0F9FD-A044-F62D-626E-065EAA8AE04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0331D30D-C03B-CF63-EA2B-622E77D13DA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F3E4444C-7D7F-799E-2A34-3AAB769FDB0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77207BE7-22BE-B841-712B-B7E7BF7DA5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1470613C-0512-A218-9587-B76FE9AA66F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72200771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our point layou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4904191-EEB5-9F85-6970-0CA5975AAF81}"/>
              </a:ext>
            </a:extLst>
          </p:cNvPr>
          <p:cNvGrpSpPr/>
          <p:nvPr userDrawn="1"/>
        </p:nvGrpSpPr>
        <p:grpSpPr>
          <a:xfrm>
            <a:off x="812746" y="2109022"/>
            <a:ext cx="2519363" cy="3588504"/>
            <a:chOff x="812746" y="2109022"/>
            <a:chExt cx="2519363" cy="3588504"/>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2F6075DC-AC8B-A902-F0DF-581ADB159B21}"/>
                </a:ext>
              </a:extLst>
            </p:cNvPr>
            <p:cNvSpPr/>
            <p:nvPr/>
          </p:nvSpPr>
          <p:spPr>
            <a:xfrm>
              <a:off x="996085" y="2109022"/>
              <a:ext cx="782212" cy="78221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17" name="Group 16">
            <a:extLst>
              <a:ext uri="{FF2B5EF4-FFF2-40B4-BE49-F238E27FC236}">
                <a16:creationId xmlns:a16="http://schemas.microsoft.com/office/drawing/2014/main" id="{1AFB3616-1CDC-02C3-AB33-E6E089D1287B}"/>
              </a:ext>
            </a:extLst>
          </p:cNvPr>
          <p:cNvGrpSpPr/>
          <p:nvPr userDrawn="1"/>
        </p:nvGrpSpPr>
        <p:grpSpPr>
          <a:xfrm>
            <a:off x="3514895" y="2084213"/>
            <a:ext cx="2519364" cy="3613313"/>
            <a:chOff x="3514895" y="2084213"/>
            <a:chExt cx="2519364" cy="3613313"/>
          </a:xfrm>
        </p:grpSpPr>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2FD286CE-CC53-E808-0E79-A3CCA3682696}"/>
                </a:ext>
              </a:extLst>
            </p:cNvPr>
            <p:cNvSpPr/>
            <p:nvPr/>
          </p:nvSpPr>
          <p:spPr>
            <a:xfrm>
              <a:off x="3692852" y="2084213"/>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grpSp>
        <p:nvGrpSpPr>
          <p:cNvPr id="23" name="Group 22">
            <a:extLst>
              <a:ext uri="{FF2B5EF4-FFF2-40B4-BE49-F238E27FC236}">
                <a16:creationId xmlns:a16="http://schemas.microsoft.com/office/drawing/2014/main" id="{29A1CD70-9347-46EA-16C2-D34CFEC99667}"/>
              </a:ext>
            </a:extLst>
          </p:cNvPr>
          <p:cNvGrpSpPr/>
          <p:nvPr userDrawn="1"/>
        </p:nvGrpSpPr>
        <p:grpSpPr>
          <a:xfrm>
            <a:off x="6213646" y="2113851"/>
            <a:ext cx="2519363" cy="3583677"/>
            <a:chOff x="6213646" y="2113851"/>
            <a:chExt cx="2519363" cy="3583677"/>
          </a:xfrm>
        </p:grpSpPr>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21D66ACE-32E7-B65B-9076-7C3122A8AC31}"/>
                </a:ext>
              </a:extLst>
            </p:cNvPr>
            <p:cNvSpPr/>
            <p:nvPr/>
          </p:nvSpPr>
          <p:spPr>
            <a:xfrm>
              <a:off x="6394975" y="2113851"/>
              <a:ext cx="782212" cy="78221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grpSp>
      <p:grpSp>
        <p:nvGrpSpPr>
          <p:cNvPr id="26" name="Group 25">
            <a:extLst>
              <a:ext uri="{FF2B5EF4-FFF2-40B4-BE49-F238E27FC236}">
                <a16:creationId xmlns:a16="http://schemas.microsoft.com/office/drawing/2014/main" id="{EAA38804-C885-A3E4-6A2B-69EA8B5424DF}"/>
              </a:ext>
            </a:extLst>
          </p:cNvPr>
          <p:cNvGrpSpPr/>
          <p:nvPr userDrawn="1"/>
        </p:nvGrpSpPr>
        <p:grpSpPr>
          <a:xfrm>
            <a:off x="8915569" y="2109022"/>
            <a:ext cx="2519364" cy="3588506"/>
            <a:chOff x="8915569" y="2109022"/>
            <a:chExt cx="2519364" cy="3588506"/>
          </a:xfrm>
        </p:grpSpPr>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FA3EB875-A7EF-3680-1B2A-75E3978D4E98}"/>
                </a:ext>
              </a:extLst>
            </p:cNvPr>
            <p:cNvSpPr/>
            <p:nvPr/>
          </p:nvSpPr>
          <p:spPr>
            <a:xfrm>
              <a:off x="9093725"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708703" y="2965295"/>
            <a:ext cx="2158698"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6086" y="2945267"/>
            <a:ext cx="2158094" cy="2571296"/>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6394975" y="2965294"/>
            <a:ext cx="2215625"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9093725" y="2977097"/>
            <a:ext cx="2215625"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74924541-1F26-5765-7BB0-61DBC3FA8377}"/>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06FED71D-9E0D-829A-15B0-B7139373221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B96943AB-031C-F1BA-0D60-AF9F75377D3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ED7D5E10-D021-4FC3-70C8-695510A7435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E7365599-961A-C470-D3FF-C3504AE10C6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E8F2E7C8-E5B2-D898-79FC-DD446A5AC2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CC1DDE59-DE79-7B3F-3748-2AC2D62949D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B10CC546-220D-AF3F-8BA7-B596AB48B34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32368484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2.xml"/><Relationship Id="rId21" Type="http://schemas.openxmlformats.org/officeDocument/2006/relationships/slideLayout" Target="../slideLayouts/slideLayout57.xml"/><Relationship Id="rId42" Type="http://schemas.openxmlformats.org/officeDocument/2006/relationships/slideLayout" Target="../slideLayouts/slideLayout78.xml"/><Relationship Id="rId47" Type="http://schemas.openxmlformats.org/officeDocument/2006/relationships/slideLayout" Target="../slideLayouts/slideLayout83.xml"/><Relationship Id="rId63" Type="http://schemas.openxmlformats.org/officeDocument/2006/relationships/slideLayout" Target="../slideLayouts/slideLayout99.xml"/><Relationship Id="rId68" Type="http://schemas.openxmlformats.org/officeDocument/2006/relationships/slideLayout" Target="../slideLayouts/slideLayout104.xml"/><Relationship Id="rId84" Type="http://schemas.openxmlformats.org/officeDocument/2006/relationships/slideLayout" Target="../slideLayouts/slideLayout120.xml"/><Relationship Id="rId89" Type="http://schemas.openxmlformats.org/officeDocument/2006/relationships/slideLayout" Target="../slideLayouts/slideLayout125.xml"/><Relationship Id="rId16" Type="http://schemas.openxmlformats.org/officeDocument/2006/relationships/slideLayout" Target="../slideLayouts/slideLayout52.xml"/><Relationship Id="rId11" Type="http://schemas.openxmlformats.org/officeDocument/2006/relationships/slideLayout" Target="../slideLayouts/slideLayout47.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53" Type="http://schemas.openxmlformats.org/officeDocument/2006/relationships/slideLayout" Target="../slideLayouts/slideLayout89.xml"/><Relationship Id="rId58" Type="http://schemas.openxmlformats.org/officeDocument/2006/relationships/slideLayout" Target="../slideLayouts/slideLayout94.xml"/><Relationship Id="rId74" Type="http://schemas.openxmlformats.org/officeDocument/2006/relationships/slideLayout" Target="../slideLayouts/slideLayout110.xml"/><Relationship Id="rId79" Type="http://schemas.openxmlformats.org/officeDocument/2006/relationships/slideLayout" Target="../slideLayouts/slideLayout115.xml"/><Relationship Id="rId102" Type="http://schemas.openxmlformats.org/officeDocument/2006/relationships/theme" Target="../theme/theme2.xml"/><Relationship Id="rId5" Type="http://schemas.openxmlformats.org/officeDocument/2006/relationships/slideLayout" Target="../slideLayouts/slideLayout41.xml"/><Relationship Id="rId90" Type="http://schemas.openxmlformats.org/officeDocument/2006/relationships/slideLayout" Target="../slideLayouts/slideLayout126.xml"/><Relationship Id="rId95" Type="http://schemas.openxmlformats.org/officeDocument/2006/relationships/slideLayout" Target="../slideLayouts/slideLayout131.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43" Type="http://schemas.openxmlformats.org/officeDocument/2006/relationships/slideLayout" Target="../slideLayouts/slideLayout79.xml"/><Relationship Id="rId48" Type="http://schemas.openxmlformats.org/officeDocument/2006/relationships/slideLayout" Target="../slideLayouts/slideLayout84.xml"/><Relationship Id="rId64" Type="http://schemas.openxmlformats.org/officeDocument/2006/relationships/slideLayout" Target="../slideLayouts/slideLayout100.xml"/><Relationship Id="rId69" Type="http://schemas.openxmlformats.org/officeDocument/2006/relationships/slideLayout" Target="../slideLayouts/slideLayout105.xml"/><Relationship Id="rId80" Type="http://schemas.openxmlformats.org/officeDocument/2006/relationships/slideLayout" Target="../slideLayouts/slideLayout116.xml"/><Relationship Id="rId85" Type="http://schemas.openxmlformats.org/officeDocument/2006/relationships/slideLayout" Target="../slideLayouts/slideLayout121.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slideLayout" Target="../slideLayouts/slideLayout82.xml"/><Relationship Id="rId59" Type="http://schemas.openxmlformats.org/officeDocument/2006/relationships/slideLayout" Target="../slideLayouts/slideLayout95.xml"/><Relationship Id="rId67" Type="http://schemas.openxmlformats.org/officeDocument/2006/relationships/slideLayout" Target="../slideLayouts/slideLayout103.xml"/><Relationship Id="rId20" Type="http://schemas.openxmlformats.org/officeDocument/2006/relationships/slideLayout" Target="../slideLayouts/slideLayout56.xml"/><Relationship Id="rId41" Type="http://schemas.openxmlformats.org/officeDocument/2006/relationships/slideLayout" Target="../slideLayouts/slideLayout77.xml"/><Relationship Id="rId54" Type="http://schemas.openxmlformats.org/officeDocument/2006/relationships/slideLayout" Target="../slideLayouts/slideLayout90.xml"/><Relationship Id="rId62" Type="http://schemas.openxmlformats.org/officeDocument/2006/relationships/slideLayout" Target="../slideLayouts/slideLayout98.xml"/><Relationship Id="rId70" Type="http://schemas.openxmlformats.org/officeDocument/2006/relationships/slideLayout" Target="../slideLayouts/slideLayout106.xml"/><Relationship Id="rId75" Type="http://schemas.openxmlformats.org/officeDocument/2006/relationships/slideLayout" Target="../slideLayouts/slideLayout111.xml"/><Relationship Id="rId83" Type="http://schemas.openxmlformats.org/officeDocument/2006/relationships/slideLayout" Target="../slideLayouts/slideLayout119.xml"/><Relationship Id="rId88" Type="http://schemas.openxmlformats.org/officeDocument/2006/relationships/slideLayout" Target="../slideLayouts/slideLayout124.xml"/><Relationship Id="rId91" Type="http://schemas.openxmlformats.org/officeDocument/2006/relationships/slideLayout" Target="../slideLayouts/slideLayout127.xml"/><Relationship Id="rId96" Type="http://schemas.openxmlformats.org/officeDocument/2006/relationships/slideLayout" Target="../slideLayouts/slideLayout13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49" Type="http://schemas.openxmlformats.org/officeDocument/2006/relationships/slideLayout" Target="../slideLayouts/slideLayout85.xml"/><Relationship Id="rId57" Type="http://schemas.openxmlformats.org/officeDocument/2006/relationships/slideLayout" Target="../slideLayouts/slideLayout93.xml"/><Relationship Id="rId10" Type="http://schemas.openxmlformats.org/officeDocument/2006/relationships/slideLayout" Target="../slideLayouts/slideLayout46.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52" Type="http://schemas.openxmlformats.org/officeDocument/2006/relationships/slideLayout" Target="../slideLayouts/slideLayout88.xml"/><Relationship Id="rId60" Type="http://schemas.openxmlformats.org/officeDocument/2006/relationships/slideLayout" Target="../slideLayouts/slideLayout96.xml"/><Relationship Id="rId65" Type="http://schemas.openxmlformats.org/officeDocument/2006/relationships/slideLayout" Target="../slideLayouts/slideLayout101.xml"/><Relationship Id="rId73" Type="http://schemas.openxmlformats.org/officeDocument/2006/relationships/slideLayout" Target="../slideLayouts/slideLayout109.xml"/><Relationship Id="rId78" Type="http://schemas.openxmlformats.org/officeDocument/2006/relationships/slideLayout" Target="../slideLayouts/slideLayout114.xml"/><Relationship Id="rId81" Type="http://schemas.openxmlformats.org/officeDocument/2006/relationships/slideLayout" Target="../slideLayouts/slideLayout117.xml"/><Relationship Id="rId86" Type="http://schemas.openxmlformats.org/officeDocument/2006/relationships/slideLayout" Target="../slideLayouts/slideLayout122.xml"/><Relationship Id="rId94" Type="http://schemas.openxmlformats.org/officeDocument/2006/relationships/slideLayout" Target="../slideLayouts/slideLayout130.xml"/><Relationship Id="rId99" Type="http://schemas.openxmlformats.org/officeDocument/2006/relationships/slideLayout" Target="../slideLayouts/slideLayout135.xml"/><Relationship Id="rId101" Type="http://schemas.openxmlformats.org/officeDocument/2006/relationships/slideLayout" Target="../slideLayouts/slideLayout13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9" Type="http://schemas.openxmlformats.org/officeDocument/2006/relationships/slideLayout" Target="../slideLayouts/slideLayout75.xml"/><Relationship Id="rId34" Type="http://schemas.openxmlformats.org/officeDocument/2006/relationships/slideLayout" Target="../slideLayouts/slideLayout70.xml"/><Relationship Id="rId50" Type="http://schemas.openxmlformats.org/officeDocument/2006/relationships/slideLayout" Target="../slideLayouts/slideLayout86.xml"/><Relationship Id="rId55" Type="http://schemas.openxmlformats.org/officeDocument/2006/relationships/slideLayout" Target="../slideLayouts/slideLayout91.xml"/><Relationship Id="rId76" Type="http://schemas.openxmlformats.org/officeDocument/2006/relationships/slideLayout" Target="../slideLayouts/slideLayout112.xml"/><Relationship Id="rId97" Type="http://schemas.openxmlformats.org/officeDocument/2006/relationships/slideLayout" Target="../slideLayouts/slideLayout133.xml"/><Relationship Id="rId7" Type="http://schemas.openxmlformats.org/officeDocument/2006/relationships/slideLayout" Target="../slideLayouts/slideLayout43.xml"/><Relationship Id="rId71" Type="http://schemas.openxmlformats.org/officeDocument/2006/relationships/slideLayout" Target="../slideLayouts/slideLayout107.xml"/><Relationship Id="rId92" Type="http://schemas.openxmlformats.org/officeDocument/2006/relationships/slideLayout" Target="../slideLayouts/slideLayout128.xml"/><Relationship Id="rId2" Type="http://schemas.openxmlformats.org/officeDocument/2006/relationships/slideLayout" Target="../slideLayouts/slideLayout38.xml"/><Relationship Id="rId29" Type="http://schemas.openxmlformats.org/officeDocument/2006/relationships/slideLayout" Target="../slideLayouts/slideLayout65.xml"/><Relationship Id="rId24" Type="http://schemas.openxmlformats.org/officeDocument/2006/relationships/slideLayout" Target="../slideLayouts/slideLayout60.xml"/><Relationship Id="rId40" Type="http://schemas.openxmlformats.org/officeDocument/2006/relationships/slideLayout" Target="../slideLayouts/slideLayout76.xml"/><Relationship Id="rId45" Type="http://schemas.openxmlformats.org/officeDocument/2006/relationships/slideLayout" Target="../slideLayouts/slideLayout81.xml"/><Relationship Id="rId66" Type="http://schemas.openxmlformats.org/officeDocument/2006/relationships/slideLayout" Target="../slideLayouts/slideLayout102.xml"/><Relationship Id="rId87" Type="http://schemas.openxmlformats.org/officeDocument/2006/relationships/slideLayout" Target="../slideLayouts/slideLayout123.xml"/><Relationship Id="rId61" Type="http://schemas.openxmlformats.org/officeDocument/2006/relationships/slideLayout" Target="../slideLayouts/slideLayout97.xml"/><Relationship Id="rId82" Type="http://schemas.openxmlformats.org/officeDocument/2006/relationships/slideLayout" Target="../slideLayouts/slideLayout118.xml"/><Relationship Id="rId19" Type="http://schemas.openxmlformats.org/officeDocument/2006/relationships/slideLayout" Target="../slideLayouts/slideLayout55.xml"/><Relationship Id="rId14" Type="http://schemas.openxmlformats.org/officeDocument/2006/relationships/slideLayout" Target="../slideLayouts/slideLayout50.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56" Type="http://schemas.openxmlformats.org/officeDocument/2006/relationships/slideLayout" Target="../slideLayouts/slideLayout92.xml"/><Relationship Id="rId77" Type="http://schemas.openxmlformats.org/officeDocument/2006/relationships/slideLayout" Target="../slideLayouts/slideLayout113.xml"/><Relationship Id="rId100" Type="http://schemas.openxmlformats.org/officeDocument/2006/relationships/slideLayout" Target="../slideLayouts/slideLayout136.xml"/><Relationship Id="rId8" Type="http://schemas.openxmlformats.org/officeDocument/2006/relationships/slideLayout" Target="../slideLayouts/slideLayout44.xml"/><Relationship Id="rId51" Type="http://schemas.openxmlformats.org/officeDocument/2006/relationships/slideLayout" Target="../slideLayouts/slideLayout87.xml"/><Relationship Id="rId72" Type="http://schemas.openxmlformats.org/officeDocument/2006/relationships/slideLayout" Target="../slideLayouts/slideLayout108.xml"/><Relationship Id="rId93" Type="http://schemas.openxmlformats.org/officeDocument/2006/relationships/slideLayout" Target="../slideLayouts/slideLayout129.xml"/><Relationship Id="rId98" Type="http://schemas.openxmlformats.org/officeDocument/2006/relationships/slideLayout" Target="../slideLayouts/slideLayout134.xml"/><Relationship Id="rId3"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63.xml"/><Relationship Id="rId21" Type="http://schemas.openxmlformats.org/officeDocument/2006/relationships/slideLayout" Target="../slideLayouts/slideLayout158.xml"/><Relationship Id="rId34" Type="http://schemas.openxmlformats.org/officeDocument/2006/relationships/slideLayout" Target="../slideLayouts/slideLayout171.xml"/><Relationship Id="rId42" Type="http://schemas.openxmlformats.org/officeDocument/2006/relationships/slideLayout" Target="../slideLayouts/slideLayout179.xml"/><Relationship Id="rId47" Type="http://schemas.openxmlformats.org/officeDocument/2006/relationships/slideLayout" Target="../slideLayouts/slideLayout184.xml"/><Relationship Id="rId50" Type="http://schemas.openxmlformats.org/officeDocument/2006/relationships/slideLayout" Target="../slideLayouts/slideLayout187.xml"/><Relationship Id="rId55" Type="http://schemas.openxmlformats.org/officeDocument/2006/relationships/slideLayout" Target="../slideLayouts/slideLayout192.xml"/><Relationship Id="rId63" Type="http://schemas.openxmlformats.org/officeDocument/2006/relationships/slideLayout" Target="../slideLayouts/slideLayout200.xml"/><Relationship Id="rId7" Type="http://schemas.openxmlformats.org/officeDocument/2006/relationships/slideLayout" Target="../slideLayouts/slideLayout14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9" Type="http://schemas.openxmlformats.org/officeDocument/2006/relationships/slideLayout" Target="../slideLayouts/slideLayout166.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slideLayout" Target="../slideLayouts/slideLayout169.xml"/><Relationship Id="rId37" Type="http://schemas.openxmlformats.org/officeDocument/2006/relationships/slideLayout" Target="../slideLayouts/slideLayout174.xml"/><Relationship Id="rId40" Type="http://schemas.openxmlformats.org/officeDocument/2006/relationships/slideLayout" Target="../slideLayouts/slideLayout177.xml"/><Relationship Id="rId45" Type="http://schemas.openxmlformats.org/officeDocument/2006/relationships/slideLayout" Target="../slideLayouts/slideLayout182.xml"/><Relationship Id="rId53" Type="http://schemas.openxmlformats.org/officeDocument/2006/relationships/slideLayout" Target="../slideLayouts/slideLayout190.xml"/><Relationship Id="rId58" Type="http://schemas.openxmlformats.org/officeDocument/2006/relationships/slideLayout" Target="../slideLayouts/slideLayout195.xml"/><Relationship Id="rId66" Type="http://schemas.openxmlformats.org/officeDocument/2006/relationships/theme" Target="../theme/theme3.xml"/><Relationship Id="rId5" Type="http://schemas.openxmlformats.org/officeDocument/2006/relationships/slideLayout" Target="../slideLayouts/slideLayout142.xml"/><Relationship Id="rId61" Type="http://schemas.openxmlformats.org/officeDocument/2006/relationships/slideLayout" Target="../slideLayouts/slideLayout198.xml"/><Relationship Id="rId19" Type="http://schemas.openxmlformats.org/officeDocument/2006/relationships/slideLayout" Target="../slideLayouts/slideLayout15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slideLayout" Target="../slideLayouts/slideLayout167.xml"/><Relationship Id="rId35" Type="http://schemas.openxmlformats.org/officeDocument/2006/relationships/slideLayout" Target="../slideLayouts/slideLayout172.xml"/><Relationship Id="rId43" Type="http://schemas.openxmlformats.org/officeDocument/2006/relationships/slideLayout" Target="../slideLayouts/slideLayout180.xml"/><Relationship Id="rId48" Type="http://schemas.openxmlformats.org/officeDocument/2006/relationships/slideLayout" Target="../slideLayouts/slideLayout185.xml"/><Relationship Id="rId56" Type="http://schemas.openxmlformats.org/officeDocument/2006/relationships/slideLayout" Target="../slideLayouts/slideLayout193.xml"/><Relationship Id="rId64" Type="http://schemas.openxmlformats.org/officeDocument/2006/relationships/slideLayout" Target="../slideLayouts/slideLayout201.xml"/><Relationship Id="rId8" Type="http://schemas.openxmlformats.org/officeDocument/2006/relationships/slideLayout" Target="../slideLayouts/slideLayout145.xml"/><Relationship Id="rId51" Type="http://schemas.openxmlformats.org/officeDocument/2006/relationships/slideLayout" Target="../slideLayouts/slideLayout188.xml"/><Relationship Id="rId3" Type="http://schemas.openxmlformats.org/officeDocument/2006/relationships/slideLayout" Target="../slideLayouts/slideLayout140.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33" Type="http://schemas.openxmlformats.org/officeDocument/2006/relationships/slideLayout" Target="../slideLayouts/slideLayout170.xml"/><Relationship Id="rId38" Type="http://schemas.openxmlformats.org/officeDocument/2006/relationships/slideLayout" Target="../slideLayouts/slideLayout175.xml"/><Relationship Id="rId46" Type="http://schemas.openxmlformats.org/officeDocument/2006/relationships/slideLayout" Target="../slideLayouts/slideLayout183.xml"/><Relationship Id="rId59" Type="http://schemas.openxmlformats.org/officeDocument/2006/relationships/slideLayout" Target="../slideLayouts/slideLayout196.xml"/><Relationship Id="rId20" Type="http://schemas.openxmlformats.org/officeDocument/2006/relationships/slideLayout" Target="../slideLayouts/slideLayout157.xml"/><Relationship Id="rId41" Type="http://schemas.openxmlformats.org/officeDocument/2006/relationships/slideLayout" Target="../slideLayouts/slideLayout178.xml"/><Relationship Id="rId54" Type="http://schemas.openxmlformats.org/officeDocument/2006/relationships/slideLayout" Target="../slideLayouts/slideLayout191.xml"/><Relationship Id="rId62" Type="http://schemas.openxmlformats.org/officeDocument/2006/relationships/slideLayout" Target="../slideLayouts/slideLayout19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36" Type="http://schemas.openxmlformats.org/officeDocument/2006/relationships/slideLayout" Target="../slideLayouts/slideLayout173.xml"/><Relationship Id="rId49" Type="http://schemas.openxmlformats.org/officeDocument/2006/relationships/slideLayout" Target="../slideLayouts/slideLayout186.xml"/><Relationship Id="rId57" Type="http://schemas.openxmlformats.org/officeDocument/2006/relationships/slideLayout" Target="../slideLayouts/slideLayout194.xml"/><Relationship Id="rId10" Type="http://schemas.openxmlformats.org/officeDocument/2006/relationships/slideLayout" Target="../slideLayouts/slideLayout147.xml"/><Relationship Id="rId31" Type="http://schemas.openxmlformats.org/officeDocument/2006/relationships/slideLayout" Target="../slideLayouts/slideLayout168.xml"/><Relationship Id="rId44" Type="http://schemas.openxmlformats.org/officeDocument/2006/relationships/slideLayout" Target="../slideLayouts/slideLayout181.xml"/><Relationship Id="rId52" Type="http://schemas.openxmlformats.org/officeDocument/2006/relationships/slideLayout" Target="../slideLayouts/slideLayout189.xml"/><Relationship Id="rId60" Type="http://schemas.openxmlformats.org/officeDocument/2006/relationships/slideLayout" Target="../slideLayouts/slideLayout197.xml"/><Relationship Id="rId65" Type="http://schemas.openxmlformats.org/officeDocument/2006/relationships/slideLayout" Target="../slideLayouts/slideLayout202.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9" Type="http://schemas.openxmlformats.org/officeDocument/2006/relationships/slideLayout" Target="../slideLayouts/slideLayout17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9" Type="http://schemas.openxmlformats.org/officeDocument/2006/relationships/image" Target="../media/image1.png"/><Relationship Id="rId21" Type="http://schemas.openxmlformats.org/officeDocument/2006/relationships/slideLayout" Target="../slideLayouts/slideLayout223.xml"/><Relationship Id="rId34" Type="http://schemas.openxmlformats.org/officeDocument/2006/relationships/slideLayout" Target="../slideLayouts/slideLayout236.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33" Type="http://schemas.openxmlformats.org/officeDocument/2006/relationships/slideLayout" Target="../slideLayouts/slideLayout235.xml"/><Relationship Id="rId38" Type="http://schemas.openxmlformats.org/officeDocument/2006/relationships/tags" Target="../tags/tag164.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0" Type="http://schemas.openxmlformats.org/officeDocument/2006/relationships/slideLayout" Target="../slideLayouts/slideLayout222.xml"/><Relationship Id="rId29" Type="http://schemas.openxmlformats.org/officeDocument/2006/relationships/slideLayout" Target="../slideLayouts/slideLayout231.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32" Type="http://schemas.openxmlformats.org/officeDocument/2006/relationships/slideLayout" Target="../slideLayouts/slideLayout234.xml"/><Relationship Id="rId37" Type="http://schemas.openxmlformats.org/officeDocument/2006/relationships/theme" Target="../theme/theme4.xml"/><Relationship Id="rId40" Type="http://schemas.openxmlformats.org/officeDocument/2006/relationships/image" Target="../media/image2.svg"/><Relationship Id="rId5" Type="http://schemas.openxmlformats.org/officeDocument/2006/relationships/slideLayout" Target="../slideLayouts/slideLayout207.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slideLayout" Target="../slideLayouts/slideLayout230.xml"/><Relationship Id="rId36" Type="http://schemas.openxmlformats.org/officeDocument/2006/relationships/slideLayout" Target="../slideLayouts/slideLayout238.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31" Type="http://schemas.openxmlformats.org/officeDocument/2006/relationships/slideLayout" Target="../slideLayouts/slideLayout233.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slideLayout" Target="../slideLayouts/slideLayout229.xml"/><Relationship Id="rId30" Type="http://schemas.openxmlformats.org/officeDocument/2006/relationships/slideLayout" Target="../slideLayouts/slideLayout232.xml"/><Relationship Id="rId35" Type="http://schemas.openxmlformats.org/officeDocument/2006/relationships/slideLayout" Target="../slideLayouts/slideLayout237.xml"/><Relationship Id="rId8" Type="http://schemas.openxmlformats.org/officeDocument/2006/relationships/slideLayout" Target="../slideLayouts/slideLayout210.xml"/><Relationship Id="rId3" Type="http://schemas.openxmlformats.org/officeDocument/2006/relationships/slideLayout" Target="../slideLayouts/slideLayout20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5" name="Logo">
            <a:extLst>
              <a:ext uri="{FF2B5EF4-FFF2-40B4-BE49-F238E27FC236}">
                <a16:creationId xmlns:a16="http://schemas.microsoft.com/office/drawing/2014/main" id="{3AA2739D-2665-AB64-E079-1A2D61CD7084}"/>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866053" y="278965"/>
            <a:ext cx="900000" cy="378445"/>
          </a:xfrm>
          <a:prstGeom prst="rect">
            <a:avLst/>
          </a:prstGeom>
        </p:spPr>
      </p:pic>
      <p:sp>
        <p:nvSpPr>
          <p:cNvPr id="2" name="Title Placeholder 1">
            <a:extLst>
              <a:ext uri="{FF2B5EF4-FFF2-40B4-BE49-F238E27FC236}">
                <a16:creationId xmlns:a16="http://schemas.microsoft.com/office/drawing/2014/main" id="{30A268A3-CC8A-9B2C-6F27-72A58FD81814}"/>
              </a:ext>
            </a:extLst>
          </p:cNvPr>
          <p:cNvSpPr>
            <a:spLocks noGrp="1"/>
          </p:cNvSpPr>
          <p:nvPr>
            <p:ph type="title"/>
          </p:nvPr>
        </p:nvSpPr>
        <p:spPr>
          <a:xfrm>
            <a:off x="785813" y="694800"/>
            <a:ext cx="10620375" cy="553998"/>
          </a:xfrm>
          <a:prstGeom prst="rect">
            <a:avLst/>
          </a:prstGeom>
        </p:spPr>
        <p:txBody>
          <a:bodyPr vert="horz" wrap="square" lIns="0" tIns="0" rIns="0" bIns="0" rtlCol="0" anchor="t" anchorCtr="0">
            <a:spAutoFit/>
          </a:bodyPr>
          <a:lstStyle/>
          <a:p>
            <a:r>
              <a:rPr lang="en-US"/>
              <a:t>Click to edit Master title style</a:t>
            </a:r>
            <a:endParaRPr lang="en-GB" dirty="0"/>
          </a:p>
        </p:txBody>
      </p:sp>
      <p:sp>
        <p:nvSpPr>
          <p:cNvPr id="3" name="Body master placeholder">
            <a:extLst>
              <a:ext uri="{FF2B5EF4-FFF2-40B4-BE49-F238E27FC236}">
                <a16:creationId xmlns:a16="http://schemas.microsoft.com/office/drawing/2014/main" id="{25588368-969F-FC81-9ED1-667A57F9E191}"/>
              </a:ext>
            </a:extLst>
          </p:cNvPr>
          <p:cNvSpPr>
            <a:spLocks noGrp="1"/>
          </p:cNvSpPr>
          <p:nvPr>
            <p:ph type="body" idx="1"/>
          </p:nvPr>
        </p:nvSpPr>
        <p:spPr>
          <a:xfrm>
            <a:off x="785813" y="1898650"/>
            <a:ext cx="10620375" cy="4319588"/>
          </a:xfrm>
          <a:prstGeom prst="rect">
            <a:avLst/>
          </a:prstGeom>
        </p:spPr>
        <p:txBody>
          <a:bodyPr vert="horz" lIns="0" tIns="0" rIns="0" bIns="0" spcCol="180000" rtlCol="0">
            <a:noAutofit/>
          </a:bodyPr>
          <a:lstStyle/>
          <a:p>
            <a:pPr lvl="0"/>
            <a:endParaRPr lang="en-US" dirty="0"/>
          </a:p>
        </p:txBody>
      </p:sp>
      <p:sp>
        <p:nvSpPr>
          <p:cNvPr id="6" name="Slide Number">
            <a:extLst>
              <a:ext uri="{FF2B5EF4-FFF2-40B4-BE49-F238E27FC236}">
                <a16:creationId xmlns:a16="http://schemas.microsoft.com/office/drawing/2014/main" id="{F85A688D-FC1B-4577-FB88-F22E0FD91AE2}"/>
              </a:ext>
            </a:extLst>
          </p:cNvPr>
          <p:cNvSpPr>
            <a:spLocks noGrp="1"/>
          </p:cNvSpPr>
          <p:nvPr>
            <p:ph type="sldNum" sz="quarter" idx="4"/>
          </p:nvPr>
        </p:nvSpPr>
        <p:spPr>
          <a:xfrm>
            <a:off x="9786041" y="6335062"/>
            <a:ext cx="365760" cy="153888"/>
          </a:xfrm>
          <a:prstGeom prst="rect">
            <a:avLst/>
          </a:prstGeom>
        </p:spPr>
        <p:txBody>
          <a:bodyPr wrap="none" lIns="0" tIns="0" rIns="0" bIns="0">
            <a:noAutofit/>
          </a:bodyPr>
          <a:lstStyle>
            <a:lvl1pPr algn="r">
              <a:defRPr lang="en-GB" sz="1000" smtClean="0">
                <a:solidFill>
                  <a:schemeClr val="tx1"/>
                </a:solidFill>
              </a:defRPr>
            </a:lvl1pPr>
          </a:lstStyle>
          <a:p>
            <a:fld id="{6686A102-957E-47D3-A22D-E8508A8052D6}" type="slidenum">
              <a:rPr lang="en-GB" smtClean="0"/>
              <a:pPr/>
              <a:t>‹#›</a:t>
            </a:fld>
            <a:endParaRPr lang="en-GB" dirty="0"/>
          </a:p>
        </p:txBody>
      </p:sp>
      <p:sp>
        <p:nvSpPr>
          <p:cNvPr id="9" name="Draft" hidden="1">
            <a:extLst>
              <a:ext uri="{FF2B5EF4-FFF2-40B4-BE49-F238E27FC236}">
                <a16:creationId xmlns:a16="http://schemas.microsoft.com/office/drawing/2014/main" id="{F12CD414-50E2-6BE2-8024-E4DC3B05C7A5}"/>
              </a:ext>
            </a:extLst>
          </p:cNvPr>
          <p:cNvSpPr txBox="1"/>
          <p:nvPr/>
        </p:nvSpPr>
        <p:spPr>
          <a:xfrm>
            <a:off x="10372457" y="72000"/>
            <a:ext cx="1401750" cy="166670"/>
          </a:xfrm>
          <a:prstGeom prst="rect">
            <a:avLst/>
          </a:prstGeom>
          <a:noFill/>
        </p:spPr>
        <p:txBody>
          <a:bodyPr wrap="square" lIns="0" tIns="0" rIns="0" bIns="0" rtlCol="0">
            <a:noAutofit/>
          </a:bodyPr>
          <a:lstStyle/>
          <a:p>
            <a:pPr algn="r"/>
            <a:r>
              <a:rPr lang="en-GB" sz="1100" dirty="0">
                <a:solidFill>
                  <a:schemeClr val="tx1"/>
                </a:solidFill>
                <a:latin typeface="+mn-lt"/>
                <a:cs typeface="Arial" pitchFamily="34" charset="0"/>
              </a:rPr>
              <a:t>DRAFT</a:t>
            </a:r>
          </a:p>
        </p:txBody>
      </p:sp>
      <p:sp>
        <p:nvSpPr>
          <p:cNvPr id="7" name="Filename" hidden="1">
            <a:extLst>
              <a:ext uri="{FF2B5EF4-FFF2-40B4-BE49-F238E27FC236}">
                <a16:creationId xmlns:a16="http://schemas.microsoft.com/office/drawing/2014/main" id="{286EB5A6-9A43-91B8-ECE9-5A017B5296E7}"/>
              </a:ext>
            </a:extLst>
          </p:cNvPr>
          <p:cNvSpPr txBox="1"/>
          <p:nvPr/>
        </p:nvSpPr>
        <p:spPr>
          <a:xfrm>
            <a:off x="786537" y="6607480"/>
            <a:ext cx="3239439" cy="123111"/>
          </a:xfrm>
          <a:prstGeom prst="rect">
            <a:avLst/>
          </a:prstGeom>
          <a:noFill/>
        </p:spPr>
        <p:txBody>
          <a:bodyPr wrap="square" lIns="0" tIns="0" rIns="0" bIns="0" rtlCol="0" anchor="b" anchorCtr="0">
            <a:spAutoFit/>
          </a:bodyPr>
          <a:lstStyle/>
          <a:p>
            <a:r>
              <a:rPr lang="en-US" sz="400" noProof="1">
                <a:solidFill>
                  <a:schemeClr val="tx1"/>
                </a:solidFill>
                <a:latin typeface="+mn-lt"/>
                <a:cs typeface="Arial" pitchFamily="34" charset="0"/>
              </a:rPr>
              <a:t>https://rsmnet-my.sharepoint.com/personal/e091573_mcgladrey_rsm_net/Documents/Templates/PPT/RSM Defense/RSM Defense_Overview_2024.pptx</a:t>
            </a:r>
          </a:p>
        </p:txBody>
      </p:sp>
      <p:sp>
        <p:nvSpPr>
          <p:cNvPr id="8" name="Title">
            <a:extLst>
              <a:ext uri="{FF2B5EF4-FFF2-40B4-BE49-F238E27FC236}">
                <a16:creationId xmlns:a16="http://schemas.microsoft.com/office/drawing/2014/main" id="{59AD29F7-5ED8-903D-C089-53C83BF0BE8F}"/>
              </a:ext>
            </a:extLst>
          </p:cNvPr>
          <p:cNvSpPr txBox="1">
            <a:spLocks/>
          </p:cNvSpPr>
          <p:nvPr/>
        </p:nvSpPr>
        <p:spPr>
          <a:xfrm>
            <a:off x="785814" y="6335062"/>
            <a:ext cx="65" cy="153888"/>
          </a:xfrm>
          <a:prstGeom prst="rect">
            <a:avLst/>
          </a:prstGeom>
        </p:spPr>
        <p:txBody>
          <a:bodyPr wrap="non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sz="1000" dirty="0">
              <a:solidFill>
                <a:schemeClr val="tx1"/>
              </a:solidFill>
            </a:endParaRPr>
          </a:p>
        </p:txBody>
      </p:sp>
      <p:grpSp>
        <p:nvGrpSpPr>
          <p:cNvPr id="4" name="Group 3">
            <a:extLst>
              <a:ext uri="{FF2B5EF4-FFF2-40B4-BE49-F238E27FC236}">
                <a16:creationId xmlns:a16="http://schemas.microsoft.com/office/drawing/2014/main" id="{91E8A7A3-1CF1-989C-BFC8-1243305C4DF5}"/>
              </a:ext>
            </a:extLst>
          </p:cNvPr>
          <p:cNvGrpSpPr/>
          <p:nvPr/>
        </p:nvGrpSpPr>
        <p:grpSpPr>
          <a:xfrm>
            <a:off x="-817211" y="-619518"/>
            <a:ext cx="12223399" cy="6850842"/>
            <a:chOff x="-817211" y="-619518"/>
            <a:chExt cx="12223399" cy="6850842"/>
          </a:xfrm>
        </p:grpSpPr>
        <p:cxnSp>
          <p:nvCxnSpPr>
            <p:cNvPr id="25" name="Straight Connector 24">
              <a:extLst>
                <a:ext uri="{FF2B5EF4-FFF2-40B4-BE49-F238E27FC236}">
                  <a16:creationId xmlns:a16="http://schemas.microsoft.com/office/drawing/2014/main" id="{6F2FBE5E-44E1-AA07-B79F-8435D51C790A}"/>
                </a:ext>
              </a:extLst>
            </p:cNvPr>
            <p:cNvCxnSpPr>
              <a:cxnSpLocks/>
            </p:cNvCxnSpPr>
            <p:nvPr/>
          </p:nvCxnSpPr>
          <p:spPr>
            <a:xfrm>
              <a:off x="799059" y="-619518"/>
              <a:ext cx="0" cy="4484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93D3E09-ADD9-04F6-0136-9255CF9AB4B1}"/>
                </a:ext>
              </a:extLst>
            </p:cNvPr>
            <p:cNvCxnSpPr>
              <a:cxnSpLocks/>
            </p:cNvCxnSpPr>
            <p:nvPr/>
          </p:nvCxnSpPr>
          <p:spPr>
            <a:xfrm rot="5400000">
              <a:off x="-600642" y="1689676"/>
              <a:ext cx="0" cy="4331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D43CDAE-9995-8144-A7A6-9D87DE92AF9C}"/>
                </a:ext>
              </a:extLst>
            </p:cNvPr>
            <p:cNvCxnSpPr>
              <a:cxnSpLocks/>
            </p:cNvCxnSpPr>
            <p:nvPr/>
          </p:nvCxnSpPr>
          <p:spPr>
            <a:xfrm rot="5400000">
              <a:off x="-600642" y="6014755"/>
              <a:ext cx="0" cy="4331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4E92EEC-D716-C886-CB60-CA08B60A816E}"/>
                </a:ext>
              </a:extLst>
            </p:cNvPr>
            <p:cNvCxnSpPr>
              <a:cxnSpLocks/>
            </p:cNvCxnSpPr>
            <p:nvPr/>
          </p:nvCxnSpPr>
          <p:spPr>
            <a:xfrm>
              <a:off x="11406188" y="-619518"/>
              <a:ext cx="0" cy="4484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1" name="PoP">
            <a:extLst>
              <a:ext uri="{FF2B5EF4-FFF2-40B4-BE49-F238E27FC236}">
                <a16:creationId xmlns:a16="http://schemas.microsoft.com/office/drawing/2014/main" id="{2A8F9794-0083-2982-421D-F2AB79592B9A}"/>
              </a:ext>
            </a:extLst>
          </p:cNvPr>
          <p:cNvSpPr>
            <a:spLocks noChangeAspect="1"/>
          </p:cNvSpPr>
          <p:nvPr>
            <p:custDataLst>
              <p:tags r:id="rId38"/>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1838725601"/>
      </p:ext>
    </p:extLst>
  </p:cSld>
  <p:clrMap bg1="lt1" tx1="dk1" bg2="lt2" tx2="dk2" accent1="accent1" accent2="accent2" accent3="accent3" accent4="accent4" accent5="accent5" accent6="accent6" hlink="hlink" folHlink="folHlink"/>
  <p:sldLayoutIdLst>
    <p:sldLayoutId id="2147484049" r:id="rId1"/>
    <p:sldLayoutId id="2147484050" r:id="rId2"/>
    <p:sldLayoutId id="2147484051" r:id="rId3"/>
    <p:sldLayoutId id="2147484052" r:id="rId4"/>
    <p:sldLayoutId id="2147484053" r:id="rId5"/>
    <p:sldLayoutId id="2147484054" r:id="rId6"/>
    <p:sldLayoutId id="2147484055" r:id="rId7"/>
    <p:sldLayoutId id="2147484056" r:id="rId8"/>
    <p:sldLayoutId id="2147484057" r:id="rId9"/>
    <p:sldLayoutId id="2147484058" r:id="rId10"/>
    <p:sldLayoutId id="2147484059" r:id="rId11"/>
    <p:sldLayoutId id="2147484060" r:id="rId12"/>
    <p:sldLayoutId id="2147484061" r:id="rId13"/>
    <p:sldLayoutId id="2147484062" r:id="rId14"/>
    <p:sldLayoutId id="2147484063" r:id="rId15"/>
    <p:sldLayoutId id="2147484064" r:id="rId16"/>
    <p:sldLayoutId id="2147484065" r:id="rId17"/>
    <p:sldLayoutId id="2147484066" r:id="rId18"/>
    <p:sldLayoutId id="2147484067" r:id="rId19"/>
    <p:sldLayoutId id="2147484068" r:id="rId20"/>
    <p:sldLayoutId id="2147484069" r:id="rId21"/>
    <p:sldLayoutId id="2147484070" r:id="rId22"/>
    <p:sldLayoutId id="2147484071" r:id="rId23"/>
    <p:sldLayoutId id="2147484072" r:id="rId24"/>
    <p:sldLayoutId id="2147484073" r:id="rId25"/>
    <p:sldLayoutId id="2147484074" r:id="rId26"/>
    <p:sldLayoutId id="2147484075" r:id="rId27"/>
    <p:sldLayoutId id="2147484076" r:id="rId28"/>
    <p:sldLayoutId id="2147484077" r:id="rId29"/>
    <p:sldLayoutId id="2147484078" r:id="rId30"/>
    <p:sldLayoutId id="2147484079" r:id="rId31"/>
    <p:sldLayoutId id="2147484080" r:id="rId32"/>
    <p:sldLayoutId id="2147484081" r:id="rId33"/>
    <p:sldLayoutId id="2147484084" r:id="rId34"/>
    <p:sldLayoutId id="2147484086" r:id="rId35"/>
    <p:sldLayoutId id="2147484087" r:id="rId36"/>
  </p:sldLayoutIdLst>
  <p:hf hdr="0" ftr="0" dt="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18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54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0" indent="0" algn="l" defTabSz="914400" rtl="0" eaLnBrk="1" latinLnBrk="0" hangingPunct="1">
        <a:lnSpc>
          <a:spcPct val="100000"/>
        </a:lnSpc>
        <a:spcBef>
          <a:spcPts val="600"/>
        </a:spcBef>
        <a:buFontTx/>
        <a:buNone/>
        <a:defRPr sz="3600" kern="1200">
          <a:solidFill>
            <a:schemeClr val="accent1"/>
          </a:solidFill>
          <a:latin typeface="+mn-lt"/>
          <a:ea typeface="+mn-ea"/>
          <a:cs typeface="+mn-cs"/>
        </a:defRPr>
      </a:lvl6pPr>
      <a:lvl7pPr marL="0" indent="0" algn="l" defTabSz="914400" rtl="0" eaLnBrk="1" latinLnBrk="0" hangingPunct="1">
        <a:lnSpc>
          <a:spcPct val="100000"/>
        </a:lnSpc>
        <a:spcBef>
          <a:spcPts val="600"/>
        </a:spcBef>
        <a:buFontTx/>
        <a:buNone/>
        <a:defRPr sz="2000" kern="1200">
          <a:solidFill>
            <a:schemeClr val="tx1"/>
          </a:solidFill>
          <a:latin typeface="+mn-lt"/>
          <a:ea typeface="+mn-ea"/>
          <a:cs typeface="+mn-cs"/>
        </a:defRPr>
      </a:lvl7pPr>
      <a:lvl8pPr marL="0" indent="0" algn="l" defTabSz="914400" rtl="0" eaLnBrk="1" latinLnBrk="0" hangingPunct="1">
        <a:lnSpc>
          <a:spcPct val="100000"/>
        </a:lnSpc>
        <a:spcBef>
          <a:spcPts val="600"/>
        </a:spcBef>
        <a:buFontTx/>
        <a:buNone/>
        <a:defRPr sz="2000" b="1" kern="1200">
          <a:solidFill>
            <a:schemeClr val="accent1"/>
          </a:solidFill>
          <a:latin typeface="+mn-lt"/>
          <a:ea typeface="+mn-ea"/>
          <a:cs typeface="+mn-cs"/>
        </a:defRPr>
      </a:lvl8pPr>
      <a:lvl9pPr marL="0" indent="0" algn="l" defTabSz="914400" rtl="0" eaLnBrk="1" latinLnBrk="0" hangingPunct="1">
        <a:lnSpc>
          <a:spcPct val="100000"/>
        </a:lnSpc>
        <a:spcBef>
          <a:spcPts val="600"/>
        </a:spcBef>
        <a:buFontTx/>
        <a:buNone/>
        <a:defRPr sz="2000" b="1" kern="1200">
          <a:solidFill>
            <a:srgbClr val="63666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95">
          <p15:clr>
            <a:srgbClr val="F26B43"/>
          </p15:clr>
        </p15:guide>
        <p15:guide id="3" pos="7185">
          <p15:clr>
            <a:srgbClr val="F26B43"/>
          </p15:clr>
        </p15:guide>
        <p15:guide id="28" orient="horz" pos="3917">
          <p15:clr>
            <a:srgbClr val="F26B43"/>
          </p15:clr>
        </p15:guide>
        <p15:guide id="30" orient="horz" pos="11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Title Placeholder 13"/>
          <p:cNvSpPr>
            <a:spLocks noGrp="1"/>
          </p:cNvSpPr>
          <p:nvPr userDrawn="1">
            <p:ph type="title"/>
          </p:nvPr>
        </p:nvSpPr>
        <p:spPr>
          <a:xfrm>
            <a:off x="815975" y="696264"/>
            <a:ext cx="10620375" cy="553998"/>
          </a:xfrm>
          <a:prstGeom prst="rect">
            <a:avLst/>
          </a:prstGeom>
        </p:spPr>
        <p:txBody>
          <a:bodyPr vert="horz" wrap="square" lIns="0" tIns="0" rIns="0" bIns="0" rtlCol="0" anchor="t" anchorCtr="0">
            <a:spAutoFit/>
          </a:bodyPr>
          <a:lstStyle/>
          <a:p>
            <a:r>
              <a:rPr lang="en-US"/>
              <a:t>Click to add heading</a:t>
            </a:r>
            <a:endParaRPr lang="en-GB"/>
          </a:p>
        </p:txBody>
      </p:sp>
      <p:sp>
        <p:nvSpPr>
          <p:cNvPr id="15" name="Body master placeholder"/>
          <p:cNvSpPr>
            <a:spLocks noGrp="1"/>
          </p:cNvSpPr>
          <p:nvPr>
            <p:ph type="body" idx="1"/>
          </p:nvPr>
        </p:nvSpPr>
        <p:spPr>
          <a:xfrm>
            <a:off x="815974" y="1881189"/>
            <a:ext cx="10620376" cy="43195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Filename" hidden="1">
            <a:extLst>
              <a:ext uri="{FF2B5EF4-FFF2-40B4-BE49-F238E27FC236}">
                <a16:creationId xmlns:a16="http://schemas.microsoft.com/office/drawing/2014/main" id="{60C0F77C-9D73-4BC8-8D76-03AE83D6BB7E}"/>
              </a:ext>
            </a:extLst>
          </p:cNvPr>
          <p:cNvSpPr txBox="1"/>
          <p:nvPr userDrawn="1"/>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3" name="Slide Number Placeholder 2">
            <a:extLst>
              <a:ext uri="{FF2B5EF4-FFF2-40B4-BE49-F238E27FC236}">
                <a16:creationId xmlns:a16="http://schemas.microsoft.com/office/drawing/2014/main" id="{FA0EFE87-B079-4284-AF70-A841F390BE2F}"/>
              </a:ext>
            </a:extLst>
          </p:cNvPr>
          <p:cNvSpPr>
            <a:spLocks noGrp="1"/>
          </p:cNvSpPr>
          <p:nvPr userDrawn="1">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8" name="Draft" hidden="1">
            <a:extLst>
              <a:ext uri="{FF2B5EF4-FFF2-40B4-BE49-F238E27FC236}">
                <a16:creationId xmlns:a16="http://schemas.microsoft.com/office/drawing/2014/main" id="{D43C74F3-43E6-45EB-8273-71F819BBEE87}"/>
              </a:ext>
            </a:extLst>
          </p:cNvPr>
          <p:cNvSpPr txBox="1"/>
          <p:nvPr userDrawn="1"/>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Tree>
    <p:extLst>
      <p:ext uri="{BB962C8B-B14F-4D97-AF65-F5344CB8AC3E}">
        <p14:creationId xmlns:p14="http://schemas.microsoft.com/office/powerpoint/2010/main" val="2099587404"/>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 id="2147484104" r:id="rId15"/>
    <p:sldLayoutId id="2147484105" r:id="rId16"/>
    <p:sldLayoutId id="2147484106" r:id="rId17"/>
    <p:sldLayoutId id="2147484107" r:id="rId18"/>
    <p:sldLayoutId id="2147484108" r:id="rId19"/>
    <p:sldLayoutId id="2147484109" r:id="rId20"/>
    <p:sldLayoutId id="2147484110" r:id="rId21"/>
    <p:sldLayoutId id="2147484111" r:id="rId22"/>
    <p:sldLayoutId id="2147484112" r:id="rId23"/>
    <p:sldLayoutId id="2147484113" r:id="rId24"/>
    <p:sldLayoutId id="2147484114" r:id="rId25"/>
    <p:sldLayoutId id="2147484115" r:id="rId26"/>
    <p:sldLayoutId id="2147484116" r:id="rId27"/>
    <p:sldLayoutId id="2147484117" r:id="rId28"/>
    <p:sldLayoutId id="2147484118" r:id="rId29"/>
    <p:sldLayoutId id="2147484119" r:id="rId30"/>
    <p:sldLayoutId id="2147484120" r:id="rId31"/>
    <p:sldLayoutId id="2147484121" r:id="rId32"/>
    <p:sldLayoutId id="2147484122" r:id="rId33"/>
    <p:sldLayoutId id="2147484123" r:id="rId34"/>
    <p:sldLayoutId id="2147484124" r:id="rId35"/>
    <p:sldLayoutId id="2147484125" r:id="rId36"/>
    <p:sldLayoutId id="2147484126" r:id="rId37"/>
    <p:sldLayoutId id="2147484127" r:id="rId38"/>
    <p:sldLayoutId id="2147484128" r:id="rId39"/>
    <p:sldLayoutId id="2147484129" r:id="rId40"/>
    <p:sldLayoutId id="2147484130" r:id="rId41"/>
    <p:sldLayoutId id="2147484131" r:id="rId42"/>
    <p:sldLayoutId id="2147484132" r:id="rId43"/>
    <p:sldLayoutId id="2147484133" r:id="rId44"/>
    <p:sldLayoutId id="2147484134" r:id="rId45"/>
    <p:sldLayoutId id="2147484135" r:id="rId46"/>
    <p:sldLayoutId id="2147484136" r:id="rId47"/>
    <p:sldLayoutId id="2147484137" r:id="rId48"/>
    <p:sldLayoutId id="2147484138" r:id="rId49"/>
    <p:sldLayoutId id="2147484139" r:id="rId50"/>
    <p:sldLayoutId id="2147484140" r:id="rId51"/>
    <p:sldLayoutId id="2147484141" r:id="rId52"/>
    <p:sldLayoutId id="2147484142" r:id="rId53"/>
    <p:sldLayoutId id="2147484143" r:id="rId54"/>
    <p:sldLayoutId id="2147484144" r:id="rId55"/>
    <p:sldLayoutId id="2147484145" r:id="rId56"/>
    <p:sldLayoutId id="2147484146" r:id="rId57"/>
    <p:sldLayoutId id="2147484147" r:id="rId58"/>
    <p:sldLayoutId id="2147484148" r:id="rId59"/>
    <p:sldLayoutId id="2147484149" r:id="rId60"/>
    <p:sldLayoutId id="2147484150" r:id="rId61"/>
    <p:sldLayoutId id="2147484151" r:id="rId62"/>
    <p:sldLayoutId id="2147484152" r:id="rId63"/>
    <p:sldLayoutId id="2147484153" r:id="rId64"/>
    <p:sldLayoutId id="2147484154" r:id="rId65"/>
    <p:sldLayoutId id="2147484155" r:id="rId66"/>
    <p:sldLayoutId id="2147484156" r:id="rId67"/>
    <p:sldLayoutId id="2147484157" r:id="rId68"/>
    <p:sldLayoutId id="2147484158" r:id="rId69"/>
    <p:sldLayoutId id="2147484159" r:id="rId70"/>
    <p:sldLayoutId id="2147484160" r:id="rId71"/>
    <p:sldLayoutId id="2147484161" r:id="rId72"/>
    <p:sldLayoutId id="2147484162" r:id="rId73"/>
    <p:sldLayoutId id="2147484163" r:id="rId74"/>
    <p:sldLayoutId id="2147484164" r:id="rId75"/>
    <p:sldLayoutId id="2147484165" r:id="rId76"/>
    <p:sldLayoutId id="2147484166" r:id="rId77"/>
    <p:sldLayoutId id="2147484167" r:id="rId78"/>
    <p:sldLayoutId id="2147484168" r:id="rId79"/>
    <p:sldLayoutId id="2147484169" r:id="rId80"/>
    <p:sldLayoutId id="2147484170" r:id="rId81"/>
    <p:sldLayoutId id="2147484171" r:id="rId82"/>
    <p:sldLayoutId id="2147484172" r:id="rId83"/>
    <p:sldLayoutId id="2147484173" r:id="rId84"/>
    <p:sldLayoutId id="2147484174" r:id="rId85"/>
    <p:sldLayoutId id="2147484175" r:id="rId86"/>
    <p:sldLayoutId id="2147484176" r:id="rId87"/>
    <p:sldLayoutId id="2147484177" r:id="rId88"/>
    <p:sldLayoutId id="2147484178" r:id="rId89"/>
    <p:sldLayoutId id="2147484179" r:id="rId90"/>
    <p:sldLayoutId id="2147484180" r:id="rId91"/>
    <p:sldLayoutId id="2147484181" r:id="rId92"/>
    <p:sldLayoutId id="2147484182" r:id="rId93"/>
    <p:sldLayoutId id="2147484183" r:id="rId94"/>
    <p:sldLayoutId id="2147484184" r:id="rId95"/>
    <p:sldLayoutId id="2147484185" r:id="rId96"/>
    <p:sldLayoutId id="2147484186" r:id="rId97"/>
    <p:sldLayoutId id="2147484187" r:id="rId98"/>
    <p:sldLayoutId id="2147484188" r:id="rId99"/>
    <p:sldLayoutId id="2147484189" r:id="rId100"/>
    <p:sldLayoutId id="2147484256" r:id="rId101"/>
  </p:sldLayoutIdLst>
  <p:hf hdr="0" ftr="0"/>
  <p:txStyles>
    <p:titleStyle>
      <a:lvl1pPr algn="l" defTabSz="914400" rtl="0" eaLnBrk="1" latinLnBrk="0" hangingPunct="1">
        <a:lnSpc>
          <a:spcPct val="100000"/>
        </a:lnSpc>
        <a:spcBef>
          <a:spcPct val="0"/>
        </a:spcBef>
        <a:buNone/>
        <a:defRPr sz="3600" b="0" kern="1200" cap="none" baseline="0">
          <a:solidFill>
            <a:srgbClr val="009CDE"/>
          </a:solidFill>
          <a:latin typeface="+mj-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accent4"/>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081">
          <p15:clr>
            <a:srgbClr val="F26B43"/>
          </p15:clr>
        </p15:guide>
        <p15:guide id="4" pos="7204">
          <p15:clr>
            <a:srgbClr val="F26B43"/>
          </p15:clr>
        </p15:guide>
        <p15:guide id="6" orient="horz" pos="3936">
          <p15:clr>
            <a:srgbClr val="F26B43"/>
          </p15:clr>
        </p15:guide>
        <p15:guide id="7" orient="horz" pos="497">
          <p15:clr>
            <a:srgbClr val="F26B43"/>
          </p15:clr>
        </p15:guide>
        <p15:guide id="10" orient="horz" pos="731">
          <p15:clr>
            <a:srgbClr val="F26B43"/>
          </p15:clr>
        </p15:guide>
        <p15:guide id="11" pos="514">
          <p15:clr>
            <a:srgbClr val="F26B43"/>
          </p15:clr>
        </p15:guide>
        <p15:guide id="12" pos="968">
          <p15:clr>
            <a:srgbClr val="F26B43"/>
          </p15:clr>
        </p15:guide>
        <p15:guide id="13" pos="1535">
          <p15:clr>
            <a:srgbClr val="F26B43"/>
          </p15:clr>
        </p15:guide>
        <p15:guide id="14" pos="1648">
          <p15:clr>
            <a:srgbClr val="F26B43"/>
          </p15:clr>
        </p15:guide>
        <p15:guide id="15" pos="2101">
          <p15:clr>
            <a:srgbClr val="F26B43"/>
          </p15:clr>
        </p15:guide>
        <p15:guide id="16" pos="2207">
          <p15:clr>
            <a:srgbClr val="F26B43"/>
          </p15:clr>
        </p15:guide>
        <p15:guide id="17" pos="2668">
          <p15:clr>
            <a:srgbClr val="F26B43"/>
          </p15:clr>
        </p15:guide>
        <p15:guide id="18" pos="2782">
          <p15:clr>
            <a:srgbClr val="F26B43"/>
          </p15:clr>
        </p15:guide>
        <p15:guide id="19" pos="3235">
          <p15:clr>
            <a:srgbClr val="F26B43"/>
          </p15:clr>
        </p15:guide>
        <p15:guide id="20" pos="3349">
          <p15:clr>
            <a:srgbClr val="F26B43"/>
          </p15:clr>
        </p15:guide>
        <p15:guide id="21" pos="3916">
          <p15:clr>
            <a:srgbClr val="F26B43"/>
          </p15:clr>
        </p15:guide>
        <p15:guide id="22" pos="3802">
          <p15:clr>
            <a:srgbClr val="F26B43"/>
          </p15:clr>
        </p15:guide>
        <p15:guide id="23" pos="4369">
          <p15:clr>
            <a:srgbClr val="F26B43"/>
          </p15:clr>
        </p15:guide>
        <p15:guide id="24" pos="4483">
          <p15:clr>
            <a:srgbClr val="F26B43"/>
          </p15:clr>
        </p15:guide>
        <p15:guide id="25" pos="4936">
          <p15:clr>
            <a:srgbClr val="F26B43"/>
          </p15:clr>
        </p15:guide>
        <p15:guide id="26" pos="5049">
          <p15:clr>
            <a:srgbClr val="F26B43"/>
          </p15:clr>
        </p15:guide>
        <p15:guide id="27" pos="5503">
          <p15:clr>
            <a:srgbClr val="F26B43"/>
          </p15:clr>
        </p15:guide>
        <p15:guide id="28" pos="5616">
          <p15:clr>
            <a:srgbClr val="F26B43"/>
          </p15:clr>
        </p15:guide>
        <p15:guide id="29" pos="6070">
          <p15:clr>
            <a:srgbClr val="F26B43"/>
          </p15:clr>
        </p15:guide>
        <p15:guide id="30" pos="6183">
          <p15:clr>
            <a:srgbClr val="F26B43"/>
          </p15:clr>
        </p15:guide>
        <p15:guide id="31" pos="6637">
          <p15:clr>
            <a:srgbClr val="F26B43"/>
          </p15:clr>
        </p15:guide>
        <p15:guide id="32" pos="6750">
          <p15:clr>
            <a:srgbClr val="F26B43"/>
          </p15:clr>
        </p15:guide>
        <p15:guide id="33" orient="horz" pos="1026">
          <p15:clr>
            <a:srgbClr val="F26B43"/>
          </p15:clr>
        </p15:guide>
        <p15:guide id="34" orient="horz" pos="1177">
          <p15:clr>
            <a:srgbClr val="F26B43"/>
          </p15:clr>
        </p15:guide>
        <p15:guide id="35" orient="horz" pos="40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Title Placeholder 13"/>
          <p:cNvSpPr>
            <a:spLocks noGrp="1"/>
          </p:cNvSpPr>
          <p:nvPr userDrawn="1">
            <p:ph type="title"/>
          </p:nvPr>
        </p:nvSpPr>
        <p:spPr>
          <a:xfrm>
            <a:off x="795655" y="696264"/>
            <a:ext cx="10620375" cy="498598"/>
          </a:xfrm>
          <a:prstGeom prst="rect">
            <a:avLst/>
          </a:prstGeom>
        </p:spPr>
        <p:txBody>
          <a:bodyPr vert="horz" wrap="square" lIns="0" tIns="0" rIns="0" bIns="0" rtlCol="0" anchor="t" anchorCtr="0">
            <a:spAutoFit/>
          </a:bodyPr>
          <a:lstStyle/>
          <a:p>
            <a:r>
              <a:rPr lang="en-US"/>
              <a:t>Click to add heading</a:t>
            </a:r>
            <a:endParaRPr lang="en-GB"/>
          </a:p>
        </p:txBody>
      </p:sp>
      <p:sp>
        <p:nvSpPr>
          <p:cNvPr id="15" name="Body master placeholder"/>
          <p:cNvSpPr>
            <a:spLocks noGrp="1"/>
          </p:cNvSpPr>
          <p:nvPr>
            <p:ph type="body" idx="1"/>
          </p:nvPr>
        </p:nvSpPr>
        <p:spPr>
          <a:xfrm>
            <a:off x="815974" y="1881189"/>
            <a:ext cx="10620376" cy="431958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
        <p:nvSpPr>
          <p:cNvPr id="17" name="Filename" hidden="1">
            <a:extLst>
              <a:ext uri="{FF2B5EF4-FFF2-40B4-BE49-F238E27FC236}">
                <a16:creationId xmlns:a16="http://schemas.microsoft.com/office/drawing/2014/main" id="{60C0F77C-9D73-4BC8-8D76-03AE83D6BB7E}"/>
              </a:ext>
            </a:extLst>
          </p:cNvPr>
          <p:cNvSpPr txBox="1"/>
          <p:nvPr userDrawn="1"/>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3" name="Slide Number Placeholder 2">
            <a:extLst>
              <a:ext uri="{FF2B5EF4-FFF2-40B4-BE49-F238E27FC236}">
                <a16:creationId xmlns:a16="http://schemas.microsoft.com/office/drawing/2014/main" id="{FA0EFE87-B079-4284-AF70-A841F390BE2F}"/>
              </a:ext>
            </a:extLst>
          </p:cNvPr>
          <p:cNvSpPr>
            <a:spLocks noGrp="1"/>
          </p:cNvSpPr>
          <p:nvPr userDrawn="1">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rgbClr val="828487"/>
                </a:solidFill>
              </a:defRPr>
            </a:lvl1pPr>
          </a:lstStyle>
          <a:p>
            <a:pPr algn="r"/>
            <a:r>
              <a:rPr lang="en-US"/>
              <a:t>RSM | </a:t>
            </a:r>
            <a:fld id="{D3664AF6-26E3-4378-990F-C4F4E21208D6}" type="slidenum">
              <a:rPr smtClean="0"/>
              <a:pPr algn="r"/>
              <a:t>‹#›</a:t>
            </a:fld>
            <a:endParaRPr/>
          </a:p>
        </p:txBody>
      </p:sp>
      <p:sp>
        <p:nvSpPr>
          <p:cNvPr id="18" name="Draft" hidden="1">
            <a:extLst>
              <a:ext uri="{FF2B5EF4-FFF2-40B4-BE49-F238E27FC236}">
                <a16:creationId xmlns:a16="http://schemas.microsoft.com/office/drawing/2014/main" id="{D43C74F3-43E6-45EB-8273-71F819BBEE87}"/>
              </a:ext>
            </a:extLst>
          </p:cNvPr>
          <p:cNvSpPr txBox="1"/>
          <p:nvPr userDrawn="1"/>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1" name="Date Placeholder 10">
            <a:extLst>
              <a:ext uri="{FF2B5EF4-FFF2-40B4-BE49-F238E27FC236}">
                <a16:creationId xmlns:a16="http://schemas.microsoft.com/office/drawing/2014/main" id="{4EA2370A-398D-160D-1CBD-F3E8D2D3F818}"/>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rgbClr val="828487"/>
                </a:solidFill>
              </a:defRPr>
            </a:lvl1pPr>
          </a:lstStyle>
          <a:p>
            <a:fld id="{1A37F609-4045-8142-AC92-C9E54E64945B}" type="datetime4">
              <a:rPr lang="en-GB" smtClean="0"/>
              <a:pPr/>
              <a:t>17 July 2024</a:t>
            </a:fld>
            <a:endParaRPr lang="en-US"/>
          </a:p>
        </p:txBody>
      </p:sp>
      <p:sp>
        <p:nvSpPr>
          <p:cNvPr id="5" name="Rectangle 4">
            <a:extLst>
              <a:ext uri="{FF2B5EF4-FFF2-40B4-BE49-F238E27FC236}">
                <a16:creationId xmlns:a16="http://schemas.microsoft.com/office/drawing/2014/main" id="{DDF47D3C-69A5-C03B-ED4D-06F4AA44879E}"/>
              </a:ext>
            </a:extLst>
          </p:cNvPr>
          <p:cNvSpPr/>
          <p:nvPr/>
        </p:nvSpPr>
        <p:spPr>
          <a:xfrm>
            <a:off x="8973265" y="-174662"/>
            <a:ext cx="45720" cy="457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Rectangle 5">
            <a:extLst>
              <a:ext uri="{FF2B5EF4-FFF2-40B4-BE49-F238E27FC236}">
                <a16:creationId xmlns:a16="http://schemas.microsoft.com/office/drawing/2014/main" id="{C16001E6-C6C7-1F06-1F6D-CC351CA111E1}"/>
              </a:ext>
            </a:extLst>
          </p:cNvPr>
          <p:cNvSpPr/>
          <p:nvPr/>
        </p:nvSpPr>
        <p:spPr>
          <a:xfrm>
            <a:off x="9766519" y="-174662"/>
            <a:ext cx="45720" cy="4572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7" name="Rectangle 6">
            <a:extLst>
              <a:ext uri="{FF2B5EF4-FFF2-40B4-BE49-F238E27FC236}">
                <a16:creationId xmlns:a16="http://schemas.microsoft.com/office/drawing/2014/main" id="{81378412-317F-BE23-FCB3-48D4D71D384F}"/>
              </a:ext>
            </a:extLst>
          </p:cNvPr>
          <p:cNvSpPr/>
          <p:nvPr/>
        </p:nvSpPr>
        <p:spPr>
          <a:xfrm>
            <a:off x="12146280" y="-174662"/>
            <a:ext cx="45720" cy="4572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658B9FE-3526-C485-500B-ECF55E1770BE}"/>
              </a:ext>
            </a:extLst>
          </p:cNvPr>
          <p:cNvSpPr/>
          <p:nvPr/>
        </p:nvSpPr>
        <p:spPr>
          <a:xfrm>
            <a:off x="10559773" y="-174662"/>
            <a:ext cx="45720" cy="4572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9" name="Rectangle 8">
            <a:extLst>
              <a:ext uri="{FF2B5EF4-FFF2-40B4-BE49-F238E27FC236}">
                <a16:creationId xmlns:a16="http://schemas.microsoft.com/office/drawing/2014/main" id="{351ACB74-1C33-79EC-4192-FCDE98DA429D}"/>
              </a:ext>
            </a:extLst>
          </p:cNvPr>
          <p:cNvSpPr/>
          <p:nvPr userDrawn="1"/>
        </p:nvSpPr>
        <p:spPr>
          <a:xfrm>
            <a:off x="11353027" y="-174662"/>
            <a:ext cx="45720" cy="45720"/>
          </a:xfrm>
          <a:prstGeom prst="rect">
            <a:avLst/>
          </a:prstGeom>
          <a:solidFill>
            <a:srgbClr val="63666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Tree>
    <p:extLst>
      <p:ext uri="{BB962C8B-B14F-4D97-AF65-F5344CB8AC3E}">
        <p14:creationId xmlns:p14="http://schemas.microsoft.com/office/powerpoint/2010/main" val="4025775075"/>
      </p:ext>
    </p:extLst>
  </p:cSld>
  <p:clrMap bg1="lt1" tx1="dk1" bg2="lt2" tx2="dk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 id="2147484201" r:id="rId11"/>
    <p:sldLayoutId id="2147484202" r:id="rId12"/>
    <p:sldLayoutId id="2147484203" r:id="rId13"/>
    <p:sldLayoutId id="2147484204" r:id="rId14"/>
    <p:sldLayoutId id="2147484205" r:id="rId15"/>
    <p:sldLayoutId id="2147484206" r:id="rId16"/>
    <p:sldLayoutId id="2147484207" r:id="rId17"/>
    <p:sldLayoutId id="2147484208" r:id="rId18"/>
    <p:sldLayoutId id="2147484209" r:id="rId19"/>
    <p:sldLayoutId id="2147484210" r:id="rId20"/>
    <p:sldLayoutId id="2147484211" r:id="rId21"/>
    <p:sldLayoutId id="2147484212" r:id="rId22"/>
    <p:sldLayoutId id="2147484213" r:id="rId23"/>
    <p:sldLayoutId id="2147484214" r:id="rId24"/>
    <p:sldLayoutId id="2147484215" r:id="rId25"/>
    <p:sldLayoutId id="2147484216" r:id="rId26"/>
    <p:sldLayoutId id="2147484217" r:id="rId27"/>
    <p:sldLayoutId id="2147484218" r:id="rId28"/>
    <p:sldLayoutId id="2147484219" r:id="rId29"/>
    <p:sldLayoutId id="2147484220" r:id="rId30"/>
    <p:sldLayoutId id="2147484221" r:id="rId31"/>
    <p:sldLayoutId id="2147484222" r:id="rId32"/>
    <p:sldLayoutId id="2147484223" r:id="rId33"/>
    <p:sldLayoutId id="2147484224" r:id="rId34"/>
    <p:sldLayoutId id="2147484225" r:id="rId35"/>
    <p:sldLayoutId id="2147484226" r:id="rId36"/>
    <p:sldLayoutId id="2147484227" r:id="rId37"/>
    <p:sldLayoutId id="2147484228" r:id="rId38"/>
    <p:sldLayoutId id="2147484229" r:id="rId39"/>
    <p:sldLayoutId id="2147484230" r:id="rId40"/>
    <p:sldLayoutId id="2147484231" r:id="rId41"/>
    <p:sldLayoutId id="2147484232" r:id="rId42"/>
    <p:sldLayoutId id="2147484233" r:id="rId43"/>
    <p:sldLayoutId id="2147484234" r:id="rId44"/>
    <p:sldLayoutId id="2147484235" r:id="rId45"/>
    <p:sldLayoutId id="2147484236" r:id="rId46"/>
    <p:sldLayoutId id="2147484237" r:id="rId47"/>
    <p:sldLayoutId id="2147484238" r:id="rId48"/>
    <p:sldLayoutId id="2147484239" r:id="rId49"/>
    <p:sldLayoutId id="2147484240" r:id="rId50"/>
    <p:sldLayoutId id="2147484241" r:id="rId51"/>
    <p:sldLayoutId id="2147484242" r:id="rId52"/>
    <p:sldLayoutId id="2147484243" r:id="rId53"/>
    <p:sldLayoutId id="2147484244" r:id="rId54"/>
    <p:sldLayoutId id="2147484245" r:id="rId55"/>
    <p:sldLayoutId id="2147484246" r:id="rId56"/>
    <p:sldLayoutId id="2147484247" r:id="rId57"/>
    <p:sldLayoutId id="2147484248" r:id="rId58"/>
    <p:sldLayoutId id="2147484249" r:id="rId59"/>
    <p:sldLayoutId id="2147484250" r:id="rId60"/>
    <p:sldLayoutId id="2147484251" r:id="rId61"/>
    <p:sldLayoutId id="2147484252" r:id="rId62"/>
    <p:sldLayoutId id="2147484253" r:id="rId63"/>
    <p:sldLayoutId id="2147484254" r:id="rId64"/>
    <p:sldLayoutId id="2147484255" r:id="rId65"/>
  </p:sldLayoutIdLst>
  <p:hf hdr="0" ftr="0"/>
  <p:txStyles>
    <p:titleStyle>
      <a:lvl1pPr algn="l" defTabSz="914400" rtl="0" eaLnBrk="1" latinLnBrk="0" hangingPunct="1">
        <a:lnSpc>
          <a:spcPct val="90000"/>
        </a:lnSpc>
        <a:spcBef>
          <a:spcPct val="0"/>
        </a:spcBef>
        <a:buNone/>
        <a:defRPr sz="3600" b="0" kern="1200" cap="none" baseline="0">
          <a:solidFill>
            <a:srgbClr val="009CDE"/>
          </a:solidFill>
          <a:latin typeface="+mj-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1"/>
          </a:solidFill>
          <a:latin typeface="+mn-lt"/>
          <a:ea typeface="+mn-ea"/>
          <a:cs typeface="+mn-cs"/>
        </a:defRPr>
      </a:lvl1pPr>
      <a:lvl2pPr marL="180000" indent="-180000" algn="l" defTabSz="914400" rtl="0" eaLnBrk="1" latinLnBrk="0" hangingPunct="1">
        <a:lnSpc>
          <a:spcPct val="100000"/>
        </a:lnSpc>
        <a:spcBef>
          <a:spcPts val="600"/>
        </a:spcBef>
        <a:spcAft>
          <a:spcPts val="0"/>
        </a:spcAft>
        <a:buClr>
          <a:srgbClr val="141439"/>
        </a:buClr>
        <a:buFont typeface="Wingdings" pitchFamily="2" charset="2"/>
        <a:buChar char="§"/>
        <a:defRPr sz="1800" b="0" kern="1200" cap="none" baseline="0">
          <a:solidFill>
            <a:schemeClr val="tx1"/>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tx1"/>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tx1"/>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tx1"/>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081">
          <p15:clr>
            <a:srgbClr val="F26B43"/>
          </p15:clr>
        </p15:guide>
        <p15:guide id="4" pos="7204">
          <p15:clr>
            <a:srgbClr val="F26B43"/>
          </p15:clr>
        </p15:guide>
        <p15:guide id="6" orient="horz" pos="3936">
          <p15:clr>
            <a:srgbClr val="F26B43"/>
          </p15:clr>
        </p15:guide>
        <p15:guide id="7" orient="horz" pos="497">
          <p15:clr>
            <a:srgbClr val="F26B43"/>
          </p15:clr>
        </p15:guide>
        <p15:guide id="10" orient="horz" pos="731">
          <p15:clr>
            <a:srgbClr val="F26B43"/>
          </p15:clr>
        </p15:guide>
        <p15:guide id="11" pos="514">
          <p15:clr>
            <a:srgbClr val="F26B43"/>
          </p15:clr>
        </p15:guide>
        <p15:guide id="12" pos="968">
          <p15:clr>
            <a:srgbClr val="F26B43"/>
          </p15:clr>
        </p15:guide>
        <p15:guide id="13" pos="1535">
          <p15:clr>
            <a:srgbClr val="F26B43"/>
          </p15:clr>
        </p15:guide>
        <p15:guide id="14" pos="1648">
          <p15:clr>
            <a:srgbClr val="F26B43"/>
          </p15:clr>
        </p15:guide>
        <p15:guide id="15" pos="2101">
          <p15:clr>
            <a:srgbClr val="F26B43"/>
          </p15:clr>
        </p15:guide>
        <p15:guide id="16" pos="2207">
          <p15:clr>
            <a:srgbClr val="F26B43"/>
          </p15:clr>
        </p15:guide>
        <p15:guide id="17" pos="2668">
          <p15:clr>
            <a:srgbClr val="F26B43"/>
          </p15:clr>
        </p15:guide>
        <p15:guide id="18" pos="2782">
          <p15:clr>
            <a:srgbClr val="F26B43"/>
          </p15:clr>
        </p15:guide>
        <p15:guide id="19" pos="3235">
          <p15:clr>
            <a:srgbClr val="F26B43"/>
          </p15:clr>
        </p15:guide>
        <p15:guide id="20" pos="3349">
          <p15:clr>
            <a:srgbClr val="F26B43"/>
          </p15:clr>
        </p15:guide>
        <p15:guide id="21" pos="3916">
          <p15:clr>
            <a:srgbClr val="F26B43"/>
          </p15:clr>
        </p15:guide>
        <p15:guide id="22" pos="3802">
          <p15:clr>
            <a:srgbClr val="F26B43"/>
          </p15:clr>
        </p15:guide>
        <p15:guide id="23" pos="4369">
          <p15:clr>
            <a:srgbClr val="F26B43"/>
          </p15:clr>
        </p15:guide>
        <p15:guide id="24" pos="4483">
          <p15:clr>
            <a:srgbClr val="F26B43"/>
          </p15:clr>
        </p15:guide>
        <p15:guide id="25" pos="4936">
          <p15:clr>
            <a:srgbClr val="F26B43"/>
          </p15:clr>
        </p15:guide>
        <p15:guide id="26" pos="5049">
          <p15:clr>
            <a:srgbClr val="F26B43"/>
          </p15:clr>
        </p15:guide>
        <p15:guide id="27" pos="5503">
          <p15:clr>
            <a:srgbClr val="F26B43"/>
          </p15:clr>
        </p15:guide>
        <p15:guide id="28" pos="5616">
          <p15:clr>
            <a:srgbClr val="F26B43"/>
          </p15:clr>
        </p15:guide>
        <p15:guide id="29" pos="6070">
          <p15:clr>
            <a:srgbClr val="F26B43"/>
          </p15:clr>
        </p15:guide>
        <p15:guide id="30" pos="6183">
          <p15:clr>
            <a:srgbClr val="F26B43"/>
          </p15:clr>
        </p15:guide>
        <p15:guide id="31" pos="6637">
          <p15:clr>
            <a:srgbClr val="F26B43"/>
          </p15:clr>
        </p15:guide>
        <p15:guide id="32" pos="6750">
          <p15:clr>
            <a:srgbClr val="F26B43"/>
          </p15:clr>
        </p15:guide>
        <p15:guide id="33" orient="horz" pos="1026">
          <p15:clr>
            <a:srgbClr val="F26B43"/>
          </p15:clr>
        </p15:guide>
        <p15:guide id="34" orient="horz" pos="1177">
          <p15:clr>
            <a:srgbClr val="F26B43"/>
          </p15:clr>
        </p15:guide>
        <p15:guide id="35" orient="horz" pos="40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5" name="Logo">
            <a:extLst>
              <a:ext uri="{FF2B5EF4-FFF2-40B4-BE49-F238E27FC236}">
                <a16:creationId xmlns:a16="http://schemas.microsoft.com/office/drawing/2014/main" id="{3AA2739D-2665-AB64-E079-1A2D61CD7084}"/>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866053" y="278965"/>
            <a:ext cx="900000" cy="378445"/>
          </a:xfrm>
          <a:prstGeom prst="rect">
            <a:avLst/>
          </a:prstGeom>
        </p:spPr>
      </p:pic>
      <p:sp>
        <p:nvSpPr>
          <p:cNvPr id="2" name="Title Placeholder 1">
            <a:extLst>
              <a:ext uri="{FF2B5EF4-FFF2-40B4-BE49-F238E27FC236}">
                <a16:creationId xmlns:a16="http://schemas.microsoft.com/office/drawing/2014/main" id="{30A268A3-CC8A-9B2C-6F27-72A58FD81814}"/>
              </a:ext>
            </a:extLst>
          </p:cNvPr>
          <p:cNvSpPr>
            <a:spLocks noGrp="1"/>
          </p:cNvSpPr>
          <p:nvPr>
            <p:ph type="title"/>
          </p:nvPr>
        </p:nvSpPr>
        <p:spPr>
          <a:xfrm>
            <a:off x="785813" y="694800"/>
            <a:ext cx="10620375" cy="553998"/>
          </a:xfrm>
          <a:prstGeom prst="rect">
            <a:avLst/>
          </a:prstGeom>
        </p:spPr>
        <p:txBody>
          <a:bodyPr vert="horz" wrap="square" lIns="0" tIns="0" rIns="0" bIns="0" rtlCol="0" anchor="t" anchorCtr="0">
            <a:spAutoFit/>
          </a:bodyPr>
          <a:lstStyle/>
          <a:p>
            <a:r>
              <a:rPr lang="en-US"/>
              <a:t>Click to edit Master title style</a:t>
            </a:r>
            <a:endParaRPr lang="en-GB" dirty="0"/>
          </a:p>
        </p:txBody>
      </p:sp>
      <p:sp>
        <p:nvSpPr>
          <p:cNvPr id="3" name="Body master placeholder">
            <a:extLst>
              <a:ext uri="{FF2B5EF4-FFF2-40B4-BE49-F238E27FC236}">
                <a16:creationId xmlns:a16="http://schemas.microsoft.com/office/drawing/2014/main" id="{25588368-969F-FC81-9ED1-667A57F9E191}"/>
              </a:ext>
            </a:extLst>
          </p:cNvPr>
          <p:cNvSpPr>
            <a:spLocks noGrp="1"/>
          </p:cNvSpPr>
          <p:nvPr>
            <p:ph type="body" idx="1"/>
          </p:nvPr>
        </p:nvSpPr>
        <p:spPr>
          <a:xfrm>
            <a:off x="785813" y="1898650"/>
            <a:ext cx="10620375" cy="4319588"/>
          </a:xfrm>
          <a:prstGeom prst="rect">
            <a:avLst/>
          </a:prstGeom>
        </p:spPr>
        <p:txBody>
          <a:bodyPr vert="horz" lIns="0" tIns="0" rIns="0" bIns="0" spcCol="180000" rtlCol="0">
            <a:noAutofit/>
          </a:bodyPr>
          <a:lstStyle/>
          <a:p>
            <a:pPr lvl="0"/>
            <a:endParaRPr lang="en-US" dirty="0"/>
          </a:p>
        </p:txBody>
      </p:sp>
      <p:sp>
        <p:nvSpPr>
          <p:cNvPr id="6" name="Slide Number">
            <a:extLst>
              <a:ext uri="{FF2B5EF4-FFF2-40B4-BE49-F238E27FC236}">
                <a16:creationId xmlns:a16="http://schemas.microsoft.com/office/drawing/2014/main" id="{F85A688D-FC1B-4577-FB88-F22E0FD91AE2}"/>
              </a:ext>
            </a:extLst>
          </p:cNvPr>
          <p:cNvSpPr>
            <a:spLocks noGrp="1"/>
          </p:cNvSpPr>
          <p:nvPr>
            <p:ph type="sldNum" sz="quarter" idx="4"/>
          </p:nvPr>
        </p:nvSpPr>
        <p:spPr>
          <a:xfrm>
            <a:off x="9786041" y="6335062"/>
            <a:ext cx="365760" cy="153888"/>
          </a:xfrm>
          <a:prstGeom prst="rect">
            <a:avLst/>
          </a:prstGeom>
        </p:spPr>
        <p:txBody>
          <a:bodyPr wrap="none" lIns="0" tIns="0" rIns="0" bIns="0">
            <a:noAutofit/>
          </a:bodyPr>
          <a:lstStyle>
            <a:lvl1pPr algn="r">
              <a:defRPr lang="en-GB" sz="1000" smtClean="0">
                <a:solidFill>
                  <a:schemeClr val="tx1"/>
                </a:solidFill>
              </a:defRPr>
            </a:lvl1pPr>
          </a:lstStyle>
          <a:p>
            <a:fld id="{6686A102-957E-47D3-A22D-E8508A8052D6}" type="slidenum">
              <a:rPr lang="en-GB" smtClean="0"/>
              <a:pPr/>
              <a:t>‹#›</a:t>
            </a:fld>
            <a:endParaRPr lang="en-GB" dirty="0"/>
          </a:p>
        </p:txBody>
      </p:sp>
      <p:sp>
        <p:nvSpPr>
          <p:cNvPr id="9" name="Draft" hidden="1">
            <a:extLst>
              <a:ext uri="{FF2B5EF4-FFF2-40B4-BE49-F238E27FC236}">
                <a16:creationId xmlns:a16="http://schemas.microsoft.com/office/drawing/2014/main" id="{F12CD414-50E2-6BE2-8024-E4DC3B05C7A5}"/>
              </a:ext>
            </a:extLst>
          </p:cNvPr>
          <p:cNvSpPr txBox="1"/>
          <p:nvPr/>
        </p:nvSpPr>
        <p:spPr>
          <a:xfrm>
            <a:off x="10372457" y="72000"/>
            <a:ext cx="1401750" cy="166670"/>
          </a:xfrm>
          <a:prstGeom prst="rect">
            <a:avLst/>
          </a:prstGeom>
          <a:noFill/>
        </p:spPr>
        <p:txBody>
          <a:bodyPr wrap="square" lIns="0" tIns="0" rIns="0" bIns="0" rtlCol="0">
            <a:noAutofit/>
          </a:bodyPr>
          <a:lstStyle/>
          <a:p>
            <a:pPr algn="r"/>
            <a:r>
              <a:rPr lang="en-GB" sz="1100" dirty="0">
                <a:solidFill>
                  <a:schemeClr val="tx1"/>
                </a:solidFill>
                <a:latin typeface="+mn-lt"/>
                <a:cs typeface="Arial" pitchFamily="34" charset="0"/>
              </a:rPr>
              <a:t>DRAFT</a:t>
            </a:r>
          </a:p>
        </p:txBody>
      </p:sp>
      <p:sp>
        <p:nvSpPr>
          <p:cNvPr id="7" name="Filename" hidden="1">
            <a:extLst>
              <a:ext uri="{FF2B5EF4-FFF2-40B4-BE49-F238E27FC236}">
                <a16:creationId xmlns:a16="http://schemas.microsoft.com/office/drawing/2014/main" id="{286EB5A6-9A43-91B8-ECE9-5A017B5296E7}"/>
              </a:ext>
            </a:extLst>
          </p:cNvPr>
          <p:cNvSpPr txBox="1"/>
          <p:nvPr/>
        </p:nvSpPr>
        <p:spPr>
          <a:xfrm>
            <a:off x="786537" y="6607480"/>
            <a:ext cx="3239439" cy="123111"/>
          </a:xfrm>
          <a:prstGeom prst="rect">
            <a:avLst/>
          </a:prstGeom>
          <a:noFill/>
        </p:spPr>
        <p:txBody>
          <a:bodyPr wrap="square" lIns="0" tIns="0" rIns="0" bIns="0" rtlCol="0" anchor="b" anchorCtr="0">
            <a:spAutoFit/>
          </a:bodyPr>
          <a:lstStyle/>
          <a:p>
            <a:r>
              <a:rPr lang="en-US" sz="400" noProof="1">
                <a:solidFill>
                  <a:schemeClr val="tx1"/>
                </a:solidFill>
                <a:latin typeface="+mn-lt"/>
                <a:cs typeface="Arial" pitchFamily="34" charset="0"/>
              </a:rPr>
              <a:t>https://rsmnet-my.sharepoint.com/personal/e091573_mcgladrey_rsm_net/Documents/Templates/PPT/RSM Defense/RSM Defense_Overview_2024.pptx</a:t>
            </a:r>
          </a:p>
        </p:txBody>
      </p:sp>
      <p:sp>
        <p:nvSpPr>
          <p:cNvPr id="8" name="Title">
            <a:extLst>
              <a:ext uri="{FF2B5EF4-FFF2-40B4-BE49-F238E27FC236}">
                <a16:creationId xmlns:a16="http://schemas.microsoft.com/office/drawing/2014/main" id="{59AD29F7-5ED8-903D-C089-53C83BF0BE8F}"/>
              </a:ext>
            </a:extLst>
          </p:cNvPr>
          <p:cNvSpPr txBox="1">
            <a:spLocks/>
          </p:cNvSpPr>
          <p:nvPr/>
        </p:nvSpPr>
        <p:spPr>
          <a:xfrm>
            <a:off x="785814" y="6335062"/>
            <a:ext cx="65" cy="153888"/>
          </a:xfrm>
          <a:prstGeom prst="rect">
            <a:avLst/>
          </a:prstGeom>
        </p:spPr>
        <p:txBody>
          <a:bodyPr wrap="non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sz="1000" dirty="0">
              <a:solidFill>
                <a:schemeClr val="tx1"/>
              </a:solidFill>
            </a:endParaRPr>
          </a:p>
        </p:txBody>
      </p:sp>
      <p:grpSp>
        <p:nvGrpSpPr>
          <p:cNvPr id="4" name="Group 3">
            <a:extLst>
              <a:ext uri="{FF2B5EF4-FFF2-40B4-BE49-F238E27FC236}">
                <a16:creationId xmlns:a16="http://schemas.microsoft.com/office/drawing/2014/main" id="{91E8A7A3-1CF1-989C-BFC8-1243305C4DF5}"/>
              </a:ext>
            </a:extLst>
          </p:cNvPr>
          <p:cNvGrpSpPr/>
          <p:nvPr/>
        </p:nvGrpSpPr>
        <p:grpSpPr>
          <a:xfrm>
            <a:off x="-817211" y="-619518"/>
            <a:ext cx="12223399" cy="6850842"/>
            <a:chOff x="-817211" y="-619518"/>
            <a:chExt cx="12223399" cy="6850842"/>
          </a:xfrm>
        </p:grpSpPr>
        <p:cxnSp>
          <p:nvCxnSpPr>
            <p:cNvPr id="25" name="Straight Connector 24">
              <a:extLst>
                <a:ext uri="{FF2B5EF4-FFF2-40B4-BE49-F238E27FC236}">
                  <a16:creationId xmlns:a16="http://schemas.microsoft.com/office/drawing/2014/main" id="{6F2FBE5E-44E1-AA07-B79F-8435D51C790A}"/>
                </a:ext>
              </a:extLst>
            </p:cNvPr>
            <p:cNvCxnSpPr>
              <a:cxnSpLocks/>
            </p:cNvCxnSpPr>
            <p:nvPr/>
          </p:nvCxnSpPr>
          <p:spPr>
            <a:xfrm>
              <a:off x="799059" y="-619518"/>
              <a:ext cx="0" cy="4484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93D3E09-ADD9-04F6-0136-9255CF9AB4B1}"/>
                </a:ext>
              </a:extLst>
            </p:cNvPr>
            <p:cNvCxnSpPr>
              <a:cxnSpLocks/>
            </p:cNvCxnSpPr>
            <p:nvPr/>
          </p:nvCxnSpPr>
          <p:spPr>
            <a:xfrm rot="5400000">
              <a:off x="-600642" y="1689676"/>
              <a:ext cx="0" cy="4331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D43CDAE-9995-8144-A7A6-9D87DE92AF9C}"/>
                </a:ext>
              </a:extLst>
            </p:cNvPr>
            <p:cNvCxnSpPr>
              <a:cxnSpLocks/>
            </p:cNvCxnSpPr>
            <p:nvPr/>
          </p:nvCxnSpPr>
          <p:spPr>
            <a:xfrm rot="5400000">
              <a:off x="-600642" y="6014755"/>
              <a:ext cx="0" cy="4331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4E92EEC-D716-C886-CB60-CA08B60A816E}"/>
                </a:ext>
              </a:extLst>
            </p:cNvPr>
            <p:cNvCxnSpPr>
              <a:cxnSpLocks/>
            </p:cNvCxnSpPr>
            <p:nvPr/>
          </p:nvCxnSpPr>
          <p:spPr>
            <a:xfrm>
              <a:off x="11406188" y="-619518"/>
              <a:ext cx="0" cy="4484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1" name="PoP">
            <a:extLst>
              <a:ext uri="{FF2B5EF4-FFF2-40B4-BE49-F238E27FC236}">
                <a16:creationId xmlns:a16="http://schemas.microsoft.com/office/drawing/2014/main" id="{2A8F9794-0083-2982-421D-F2AB79592B9A}"/>
              </a:ext>
            </a:extLst>
          </p:cNvPr>
          <p:cNvSpPr>
            <a:spLocks noChangeAspect="1"/>
          </p:cNvSpPr>
          <p:nvPr>
            <p:custDataLst>
              <p:tags r:id="rId38"/>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392531965"/>
      </p:ext>
    </p:extLst>
  </p:cSld>
  <p:clrMap bg1="lt1" tx1="dk1" bg2="lt2" tx2="dk2" accent1="accent1" accent2="accent2" accent3="accent3" accent4="accent4" accent5="accent5" accent6="accent6" hlink="hlink" folHlink="folHlink"/>
  <p:sldLayoutIdLst>
    <p:sldLayoutId id="2147484292" r:id="rId1"/>
    <p:sldLayoutId id="2147484293" r:id="rId2"/>
    <p:sldLayoutId id="2147484294" r:id="rId3"/>
    <p:sldLayoutId id="2147484295" r:id="rId4"/>
    <p:sldLayoutId id="2147484296" r:id="rId5"/>
    <p:sldLayoutId id="2147484297" r:id="rId6"/>
    <p:sldLayoutId id="2147484298" r:id="rId7"/>
    <p:sldLayoutId id="2147484299" r:id="rId8"/>
    <p:sldLayoutId id="2147484300" r:id="rId9"/>
    <p:sldLayoutId id="2147484301" r:id="rId10"/>
    <p:sldLayoutId id="2147484302" r:id="rId11"/>
    <p:sldLayoutId id="2147484303" r:id="rId12"/>
    <p:sldLayoutId id="2147484304" r:id="rId13"/>
    <p:sldLayoutId id="2147484305" r:id="rId14"/>
    <p:sldLayoutId id="2147484306" r:id="rId15"/>
    <p:sldLayoutId id="2147484307" r:id="rId16"/>
    <p:sldLayoutId id="2147484308" r:id="rId17"/>
    <p:sldLayoutId id="2147484309" r:id="rId18"/>
    <p:sldLayoutId id="2147484310" r:id="rId19"/>
    <p:sldLayoutId id="2147484311" r:id="rId20"/>
    <p:sldLayoutId id="2147484312" r:id="rId21"/>
    <p:sldLayoutId id="2147484313" r:id="rId22"/>
    <p:sldLayoutId id="2147484314" r:id="rId23"/>
    <p:sldLayoutId id="2147484315" r:id="rId24"/>
    <p:sldLayoutId id="2147484316" r:id="rId25"/>
    <p:sldLayoutId id="2147484317" r:id="rId26"/>
    <p:sldLayoutId id="2147484318" r:id="rId27"/>
    <p:sldLayoutId id="2147484319" r:id="rId28"/>
    <p:sldLayoutId id="2147484320" r:id="rId29"/>
    <p:sldLayoutId id="2147484321" r:id="rId30"/>
    <p:sldLayoutId id="2147484322" r:id="rId31"/>
    <p:sldLayoutId id="2147484323" r:id="rId32"/>
    <p:sldLayoutId id="2147484324" r:id="rId33"/>
    <p:sldLayoutId id="2147484325" r:id="rId34"/>
    <p:sldLayoutId id="2147484326" r:id="rId35"/>
    <p:sldLayoutId id="2147484327" r:id="rId36"/>
  </p:sldLayoutIdLst>
  <p:hf hdr="0" ftr="0" dt="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18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54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0" indent="0" algn="l" defTabSz="914400" rtl="0" eaLnBrk="1" latinLnBrk="0" hangingPunct="1">
        <a:lnSpc>
          <a:spcPct val="100000"/>
        </a:lnSpc>
        <a:spcBef>
          <a:spcPts val="600"/>
        </a:spcBef>
        <a:buFontTx/>
        <a:buNone/>
        <a:defRPr sz="3600" kern="1200">
          <a:solidFill>
            <a:schemeClr val="accent1"/>
          </a:solidFill>
          <a:latin typeface="+mn-lt"/>
          <a:ea typeface="+mn-ea"/>
          <a:cs typeface="+mn-cs"/>
        </a:defRPr>
      </a:lvl6pPr>
      <a:lvl7pPr marL="0" indent="0" algn="l" defTabSz="914400" rtl="0" eaLnBrk="1" latinLnBrk="0" hangingPunct="1">
        <a:lnSpc>
          <a:spcPct val="100000"/>
        </a:lnSpc>
        <a:spcBef>
          <a:spcPts val="600"/>
        </a:spcBef>
        <a:buFontTx/>
        <a:buNone/>
        <a:defRPr sz="2000" kern="1200">
          <a:solidFill>
            <a:schemeClr val="tx1"/>
          </a:solidFill>
          <a:latin typeface="+mn-lt"/>
          <a:ea typeface="+mn-ea"/>
          <a:cs typeface="+mn-cs"/>
        </a:defRPr>
      </a:lvl7pPr>
      <a:lvl8pPr marL="0" indent="0" algn="l" defTabSz="914400" rtl="0" eaLnBrk="1" latinLnBrk="0" hangingPunct="1">
        <a:lnSpc>
          <a:spcPct val="100000"/>
        </a:lnSpc>
        <a:spcBef>
          <a:spcPts val="600"/>
        </a:spcBef>
        <a:buFontTx/>
        <a:buNone/>
        <a:defRPr sz="2000" b="1" kern="1200">
          <a:solidFill>
            <a:schemeClr val="accent1"/>
          </a:solidFill>
          <a:latin typeface="+mn-lt"/>
          <a:ea typeface="+mn-ea"/>
          <a:cs typeface="+mn-cs"/>
        </a:defRPr>
      </a:lvl8pPr>
      <a:lvl9pPr marL="0" indent="0" algn="l" defTabSz="914400" rtl="0" eaLnBrk="1" latinLnBrk="0" hangingPunct="1">
        <a:lnSpc>
          <a:spcPct val="100000"/>
        </a:lnSpc>
        <a:spcBef>
          <a:spcPts val="600"/>
        </a:spcBef>
        <a:buFontTx/>
        <a:buNone/>
        <a:defRPr sz="2000" b="1" kern="1200">
          <a:solidFill>
            <a:srgbClr val="63666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95">
          <p15:clr>
            <a:srgbClr val="F26B43"/>
          </p15:clr>
        </p15:guide>
        <p15:guide id="3" pos="7185">
          <p15:clr>
            <a:srgbClr val="F26B43"/>
          </p15:clr>
        </p15:guide>
        <p15:guide id="28" orient="horz" pos="3917">
          <p15:clr>
            <a:srgbClr val="F26B43"/>
          </p15:clr>
        </p15:guide>
        <p15:guide id="30" orient="horz" pos="119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315.xml"/><Relationship Id="rId13" Type="http://schemas.openxmlformats.org/officeDocument/2006/relationships/image" Target="../media/image4.svg"/><Relationship Id="rId3" Type="http://schemas.openxmlformats.org/officeDocument/2006/relationships/tags" Target="../tags/tag310.xml"/><Relationship Id="rId7" Type="http://schemas.openxmlformats.org/officeDocument/2006/relationships/tags" Target="../tags/tag314.xml"/><Relationship Id="rId12" Type="http://schemas.openxmlformats.org/officeDocument/2006/relationships/image" Target="../media/image3.png"/><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tags" Target="../tags/tag313.xml"/><Relationship Id="rId11" Type="http://schemas.openxmlformats.org/officeDocument/2006/relationships/image" Target="../media/image55.jpg"/><Relationship Id="rId5" Type="http://schemas.openxmlformats.org/officeDocument/2006/relationships/tags" Target="../tags/tag312.xml"/><Relationship Id="rId10" Type="http://schemas.openxmlformats.org/officeDocument/2006/relationships/image" Target="../media/image54.jpg"/><Relationship Id="rId4" Type="http://schemas.openxmlformats.org/officeDocument/2006/relationships/tags" Target="../tags/tag311.xml"/><Relationship Id="rId9"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svg"/><Relationship Id="rId18" Type="http://schemas.openxmlformats.org/officeDocument/2006/relationships/image" Target="../media/image123.png"/><Relationship Id="rId3" Type="http://schemas.openxmlformats.org/officeDocument/2006/relationships/image" Target="../media/image108.png"/><Relationship Id="rId7" Type="http://schemas.openxmlformats.org/officeDocument/2006/relationships/image" Target="../media/image112.svg"/><Relationship Id="rId12" Type="http://schemas.openxmlformats.org/officeDocument/2006/relationships/image" Target="../media/image117.png"/><Relationship Id="rId17" Type="http://schemas.openxmlformats.org/officeDocument/2006/relationships/image" Target="../media/image122.svg"/><Relationship Id="rId2" Type="http://schemas.openxmlformats.org/officeDocument/2006/relationships/notesSlide" Target="../notesSlides/notesSlide5.xml"/><Relationship Id="rId16" Type="http://schemas.openxmlformats.org/officeDocument/2006/relationships/image" Target="../media/image121.png"/><Relationship Id="rId1" Type="http://schemas.openxmlformats.org/officeDocument/2006/relationships/slideLayout" Target="../slideLayouts/slideLayout133.xml"/><Relationship Id="rId6" Type="http://schemas.openxmlformats.org/officeDocument/2006/relationships/image" Target="../media/image111.png"/><Relationship Id="rId11" Type="http://schemas.openxmlformats.org/officeDocument/2006/relationships/image" Target="../media/image116.svg"/><Relationship Id="rId5" Type="http://schemas.openxmlformats.org/officeDocument/2006/relationships/image" Target="../media/image110.svg"/><Relationship Id="rId15" Type="http://schemas.openxmlformats.org/officeDocument/2006/relationships/image" Target="../media/image120.svg"/><Relationship Id="rId10" Type="http://schemas.openxmlformats.org/officeDocument/2006/relationships/image" Target="../media/image115.png"/><Relationship Id="rId19" Type="http://schemas.openxmlformats.org/officeDocument/2006/relationships/image" Target="../media/image124.svg"/><Relationship Id="rId4" Type="http://schemas.openxmlformats.org/officeDocument/2006/relationships/image" Target="../media/image109.png"/><Relationship Id="rId9" Type="http://schemas.openxmlformats.org/officeDocument/2006/relationships/image" Target="../media/image114.svg"/><Relationship Id="rId14" Type="http://schemas.openxmlformats.org/officeDocument/2006/relationships/image" Target="../media/image119.png"/></Relationships>
</file>

<file path=ppt/slides/_rels/slide11.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127.svg"/><Relationship Id="rId18" Type="http://schemas.openxmlformats.org/officeDocument/2006/relationships/image" Target="../media/image132.png"/><Relationship Id="rId3" Type="http://schemas.openxmlformats.org/officeDocument/2006/relationships/tags" Target="../tags/tag318.xml"/><Relationship Id="rId21" Type="http://schemas.openxmlformats.org/officeDocument/2006/relationships/image" Target="../media/image135.svg"/><Relationship Id="rId7" Type="http://schemas.openxmlformats.org/officeDocument/2006/relationships/diagramLayout" Target="../diagrams/layout1.xml"/><Relationship Id="rId12" Type="http://schemas.openxmlformats.org/officeDocument/2006/relationships/image" Target="../media/image126.png"/><Relationship Id="rId17" Type="http://schemas.openxmlformats.org/officeDocument/2006/relationships/image" Target="../media/image131.svg"/><Relationship Id="rId25" Type="http://schemas.openxmlformats.org/officeDocument/2006/relationships/image" Target="../media/image139.svg"/><Relationship Id="rId2" Type="http://schemas.openxmlformats.org/officeDocument/2006/relationships/tags" Target="../tags/tag317.xml"/><Relationship Id="rId16" Type="http://schemas.openxmlformats.org/officeDocument/2006/relationships/image" Target="../media/image130.png"/><Relationship Id="rId20" Type="http://schemas.openxmlformats.org/officeDocument/2006/relationships/image" Target="../media/image134.png"/><Relationship Id="rId1" Type="http://schemas.openxmlformats.org/officeDocument/2006/relationships/tags" Target="../tags/tag316.xml"/><Relationship Id="rId6" Type="http://schemas.openxmlformats.org/officeDocument/2006/relationships/diagramData" Target="../diagrams/data1.xml"/><Relationship Id="rId11" Type="http://schemas.openxmlformats.org/officeDocument/2006/relationships/image" Target="../media/image125.png"/><Relationship Id="rId24" Type="http://schemas.openxmlformats.org/officeDocument/2006/relationships/image" Target="../media/image138.png"/><Relationship Id="rId5" Type="http://schemas.openxmlformats.org/officeDocument/2006/relationships/slideLayout" Target="../slideLayouts/slideLayout9.xml"/><Relationship Id="rId15" Type="http://schemas.openxmlformats.org/officeDocument/2006/relationships/image" Target="../media/image129.svg"/><Relationship Id="rId23" Type="http://schemas.openxmlformats.org/officeDocument/2006/relationships/image" Target="../media/image137.svg"/><Relationship Id="rId10" Type="http://schemas.microsoft.com/office/2007/relationships/diagramDrawing" Target="../diagrams/drawing1.xml"/><Relationship Id="rId19" Type="http://schemas.openxmlformats.org/officeDocument/2006/relationships/image" Target="../media/image133.svg"/><Relationship Id="rId4" Type="http://schemas.openxmlformats.org/officeDocument/2006/relationships/tags" Target="../tags/tag319.xml"/><Relationship Id="rId9" Type="http://schemas.openxmlformats.org/officeDocument/2006/relationships/diagramColors" Target="../diagrams/colors1.xml"/><Relationship Id="rId14" Type="http://schemas.openxmlformats.org/officeDocument/2006/relationships/image" Target="../media/image128.png"/><Relationship Id="rId22" Type="http://schemas.openxmlformats.org/officeDocument/2006/relationships/image" Target="../media/image13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3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16.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image" Target="../media/image145.png"/><Relationship Id="rId2" Type="http://schemas.openxmlformats.org/officeDocument/2006/relationships/notesSlide" Target="../notesSlides/notesSlide8.xml"/><Relationship Id="rId1" Type="http://schemas.openxmlformats.org/officeDocument/2006/relationships/slideLayout" Target="../slideLayouts/slideLayout44.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42.svg"/></Relationships>
</file>

<file path=ppt/slides/_rels/slide18.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146.png"/><Relationship Id="rId7" Type="http://schemas.openxmlformats.org/officeDocument/2006/relationships/image" Target="../media/image150.png"/><Relationship Id="rId2" Type="http://schemas.openxmlformats.org/officeDocument/2006/relationships/notesSlide" Target="../notesSlides/notesSlide9.xml"/><Relationship Id="rId1" Type="http://schemas.openxmlformats.org/officeDocument/2006/relationships/slideLayout" Target="../slideLayouts/slideLayout133.xml"/><Relationship Id="rId6" Type="http://schemas.openxmlformats.org/officeDocument/2006/relationships/image" Target="../media/image149.png"/><Relationship Id="rId5" Type="http://schemas.openxmlformats.org/officeDocument/2006/relationships/image" Target="../media/image148.png"/><Relationship Id="rId10" Type="http://schemas.openxmlformats.org/officeDocument/2006/relationships/image" Target="../media/image153.png"/><Relationship Id="rId4" Type="http://schemas.openxmlformats.org/officeDocument/2006/relationships/image" Target="../media/image147.png"/><Relationship Id="rId9" Type="http://schemas.openxmlformats.org/officeDocument/2006/relationships/image" Target="../media/image152.png"/></Relationships>
</file>

<file path=ppt/slides/_rels/slide19.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0.xml"/><Relationship Id="rId1" Type="http://schemas.openxmlformats.org/officeDocument/2006/relationships/slideLayout" Target="../slideLayouts/slideLayout44.xml"/><Relationship Id="rId5" Type="http://schemas.openxmlformats.org/officeDocument/2006/relationships/image" Target="../media/image156.png"/><Relationship Id="rId4" Type="http://schemas.openxmlformats.org/officeDocument/2006/relationships/image" Target="../media/image155.png"/></Relationships>
</file>

<file path=ppt/slides/_rels/slide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image" Target="../media/image56.png"/><Relationship Id="rId7" Type="http://schemas.openxmlformats.org/officeDocument/2006/relationships/chart" Target="../charts/chart3.xml"/><Relationship Id="rId2" Type="http://schemas.openxmlformats.org/officeDocument/2006/relationships/notesSlide" Target="../notesSlides/notesSlide1.xml"/><Relationship Id="rId1" Type="http://schemas.openxmlformats.org/officeDocument/2006/relationships/slideLayout" Target="../slideLayouts/slideLayout194.xml"/><Relationship Id="rId6" Type="http://schemas.openxmlformats.org/officeDocument/2006/relationships/chart" Target="../charts/chart2.xml"/><Relationship Id="rId5" Type="http://schemas.openxmlformats.org/officeDocument/2006/relationships/chart" Target="../charts/chart1.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1.xml"/><Relationship Id="rId1" Type="http://schemas.openxmlformats.org/officeDocument/2006/relationships/slideLayout" Target="../slideLayouts/slideLayout43.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42.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160.png"/><Relationship Id="rId7" Type="http://schemas.openxmlformats.org/officeDocument/2006/relationships/image" Target="../media/image164.png"/><Relationship Id="rId2" Type="http://schemas.openxmlformats.org/officeDocument/2006/relationships/image" Target="../media/image159.png"/><Relationship Id="rId1" Type="http://schemas.openxmlformats.org/officeDocument/2006/relationships/slideLayout" Target="../slideLayouts/slideLayout44.xml"/><Relationship Id="rId6" Type="http://schemas.openxmlformats.org/officeDocument/2006/relationships/image" Target="../media/image163.png"/><Relationship Id="rId5" Type="http://schemas.openxmlformats.org/officeDocument/2006/relationships/image" Target="../media/image162.png"/><Relationship Id="rId4" Type="http://schemas.openxmlformats.org/officeDocument/2006/relationships/image" Target="../media/image161.png"/></Relationships>
</file>

<file path=ppt/slides/_rels/slide23.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165.png"/><Relationship Id="rId7" Type="http://schemas.openxmlformats.org/officeDocument/2006/relationships/image" Target="../media/image168.png"/><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image" Target="../media/image167.png"/><Relationship Id="rId5" Type="http://schemas.microsoft.com/office/2007/relationships/hdphoto" Target="../media/hdphoto2.wdp"/><Relationship Id="rId4" Type="http://schemas.openxmlformats.org/officeDocument/2006/relationships/image" Target="../media/image166.png"/></Relationships>
</file>

<file path=ppt/slides/_rels/slide24.xml.rels><?xml version="1.0" encoding="UTF-8" standalone="yes"?>
<Relationships xmlns="http://schemas.openxmlformats.org/package/2006/relationships"><Relationship Id="rId8" Type="http://schemas.openxmlformats.org/officeDocument/2006/relationships/image" Target="../media/image174.png"/><Relationship Id="rId3" Type="http://schemas.openxmlformats.org/officeDocument/2006/relationships/notesSlide" Target="../notesSlides/notesSlide13.xml"/><Relationship Id="rId7" Type="http://schemas.openxmlformats.org/officeDocument/2006/relationships/image" Target="../media/image173.png"/><Relationship Id="rId2" Type="http://schemas.openxmlformats.org/officeDocument/2006/relationships/slideLayout" Target="../slideLayouts/slideLayout44.xml"/><Relationship Id="rId1" Type="http://schemas.openxmlformats.org/officeDocument/2006/relationships/tags" Target="../tags/tag321.xml"/><Relationship Id="rId6" Type="http://schemas.openxmlformats.org/officeDocument/2006/relationships/image" Target="../media/image172.png"/><Relationship Id="rId11" Type="http://schemas.openxmlformats.org/officeDocument/2006/relationships/image" Target="../media/image177.png"/><Relationship Id="rId5" Type="http://schemas.openxmlformats.org/officeDocument/2006/relationships/image" Target="../media/image171.png"/><Relationship Id="rId10" Type="http://schemas.openxmlformats.org/officeDocument/2006/relationships/image" Target="../media/image176.png"/><Relationship Id="rId4" Type="http://schemas.openxmlformats.org/officeDocument/2006/relationships/image" Target="../media/image170.png"/><Relationship Id="rId9" Type="http://schemas.openxmlformats.org/officeDocument/2006/relationships/image" Target="../media/image175.png"/></Relationships>
</file>

<file path=ppt/slides/_rels/slide25.xml.rels><?xml version="1.0" encoding="UTF-8" standalone="yes"?>
<Relationships xmlns="http://schemas.openxmlformats.org/package/2006/relationships"><Relationship Id="rId8" Type="http://schemas.openxmlformats.org/officeDocument/2006/relationships/image" Target="../media/image174.png"/><Relationship Id="rId3" Type="http://schemas.openxmlformats.org/officeDocument/2006/relationships/notesSlide" Target="../notesSlides/notesSlide14.xml"/><Relationship Id="rId7" Type="http://schemas.openxmlformats.org/officeDocument/2006/relationships/image" Target="../media/image173.png"/><Relationship Id="rId2" Type="http://schemas.openxmlformats.org/officeDocument/2006/relationships/slideLayout" Target="../slideLayouts/slideLayout133.xml"/><Relationship Id="rId1" Type="http://schemas.openxmlformats.org/officeDocument/2006/relationships/tags" Target="../tags/tag322.xml"/><Relationship Id="rId6" Type="http://schemas.openxmlformats.org/officeDocument/2006/relationships/image" Target="../media/image172.png"/><Relationship Id="rId11" Type="http://schemas.openxmlformats.org/officeDocument/2006/relationships/image" Target="../media/image177.png"/><Relationship Id="rId5" Type="http://schemas.openxmlformats.org/officeDocument/2006/relationships/image" Target="../media/image171.png"/><Relationship Id="rId10" Type="http://schemas.openxmlformats.org/officeDocument/2006/relationships/image" Target="../media/image176.png"/><Relationship Id="rId4" Type="http://schemas.openxmlformats.org/officeDocument/2006/relationships/image" Target="../media/image170.png"/><Relationship Id="rId9" Type="http://schemas.openxmlformats.org/officeDocument/2006/relationships/image" Target="../media/image175.png"/></Relationships>
</file>

<file path=ppt/slides/_rels/slide26.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tags" Target="../tags/tag325.xml"/><Relationship Id="rId7" Type="http://schemas.openxmlformats.org/officeDocument/2006/relationships/slideLayout" Target="../slideLayouts/slideLayout33.xml"/><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tags" Target="../tags/tag328.xml"/><Relationship Id="rId5" Type="http://schemas.openxmlformats.org/officeDocument/2006/relationships/tags" Target="../tags/tag327.xml"/><Relationship Id="rId4" Type="http://schemas.openxmlformats.org/officeDocument/2006/relationships/tags" Target="../tags/tag326.xml"/><Relationship Id="rId9" Type="http://schemas.openxmlformats.org/officeDocument/2006/relationships/image" Target="../media/image179.svg"/></Relationships>
</file>

<file path=ppt/slides/_rels/slide3.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2.xml"/><Relationship Id="rId1" Type="http://schemas.openxmlformats.org/officeDocument/2006/relationships/slideLayout" Target="../slideLayouts/slideLayout202.xml"/><Relationship Id="rId5" Type="http://schemas.openxmlformats.org/officeDocument/2006/relationships/image" Target="../media/image59.svg"/><Relationship Id="rId4" Type="http://schemas.openxmlformats.org/officeDocument/2006/relationships/image" Target="../media/image58.png"/></Relationships>
</file>

<file path=ppt/slides/_rels/slide4.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jpeg"/><Relationship Id="rId1" Type="http://schemas.openxmlformats.org/officeDocument/2006/relationships/slideLayout" Target="../slideLayouts/slideLayout134.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3.xml"/><Relationship Id="rId1" Type="http://schemas.openxmlformats.org/officeDocument/2006/relationships/slideLayout" Target="../slideLayouts/slideLayout133.xml"/><Relationship Id="rId6" Type="http://schemas.openxmlformats.org/officeDocument/2006/relationships/image" Target="../media/image72.png"/><Relationship Id="rId11" Type="http://schemas.openxmlformats.org/officeDocument/2006/relationships/image" Target="../media/image77.jpeg"/><Relationship Id="rId5" Type="http://schemas.openxmlformats.org/officeDocument/2006/relationships/image" Target="../media/image71.pn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png"/></Relationships>
</file>

<file path=ppt/slides/_rels/slide6.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svg"/><Relationship Id="rId7" Type="http://schemas.openxmlformats.org/officeDocument/2006/relationships/image" Target="../media/image83.png"/><Relationship Id="rId2" Type="http://schemas.openxmlformats.org/officeDocument/2006/relationships/image" Target="../media/image78.png"/><Relationship Id="rId1" Type="http://schemas.openxmlformats.org/officeDocument/2006/relationships/slideLayout" Target="../slideLayouts/slideLayout9.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 Id="rId9" Type="http://schemas.openxmlformats.org/officeDocument/2006/relationships/image" Target="../media/image85.png"/></Relationships>
</file>

<file path=ppt/slides/_rels/slide7.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png"/><Relationship Id="rId3" Type="http://schemas.openxmlformats.org/officeDocument/2006/relationships/image" Target="../media/image87.svg"/><Relationship Id="rId7" Type="http://schemas.openxmlformats.org/officeDocument/2006/relationships/image" Target="../media/image91.svg"/><Relationship Id="rId12" Type="http://schemas.openxmlformats.org/officeDocument/2006/relationships/image" Target="../media/image96.png"/><Relationship Id="rId2" Type="http://schemas.openxmlformats.org/officeDocument/2006/relationships/image" Target="../media/image86.png"/><Relationship Id="rId1" Type="http://schemas.openxmlformats.org/officeDocument/2006/relationships/slideLayout" Target="../slideLayouts/slideLayout9.xml"/><Relationship Id="rId6" Type="http://schemas.openxmlformats.org/officeDocument/2006/relationships/image" Target="../media/image90.png"/><Relationship Id="rId11" Type="http://schemas.openxmlformats.org/officeDocument/2006/relationships/image" Target="../media/image95.jpeg"/><Relationship Id="rId5" Type="http://schemas.openxmlformats.org/officeDocument/2006/relationships/image" Target="../media/image89.svg"/><Relationship Id="rId15" Type="http://schemas.openxmlformats.org/officeDocument/2006/relationships/image" Target="../media/image99.pn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svg"/><Relationship Id="rId14" Type="http://schemas.openxmlformats.org/officeDocument/2006/relationships/image" Target="../media/image98.png"/></Relationships>
</file>

<file path=ppt/slides/_rels/slide8.xml.rels><?xml version="1.0" encoding="UTF-8" standalone="yes"?>
<Relationships xmlns="http://schemas.openxmlformats.org/package/2006/relationships"><Relationship Id="rId8" Type="http://schemas.openxmlformats.org/officeDocument/2006/relationships/image" Target="../media/image105.svg"/><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4.xml"/><Relationship Id="rId1" Type="http://schemas.openxmlformats.org/officeDocument/2006/relationships/slideLayout" Target="../slideLayouts/slideLayout43.xml"/><Relationship Id="rId6" Type="http://schemas.openxmlformats.org/officeDocument/2006/relationships/image" Target="../media/image103.svg"/><Relationship Id="rId5" Type="http://schemas.openxmlformats.org/officeDocument/2006/relationships/image" Target="../media/image102.png"/><Relationship Id="rId10" Type="http://schemas.openxmlformats.org/officeDocument/2006/relationships/image" Target="../media/image107.svg"/><Relationship Id="rId4" Type="http://schemas.openxmlformats.org/officeDocument/2006/relationships/image" Target="../media/image101.svg"/><Relationship Id="rId9" Type="http://schemas.openxmlformats.org/officeDocument/2006/relationships/image" Target="../media/image10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name="Images and blue text">
    <p:bg>
      <p:bgPr>
        <a:solidFill>
          <a:schemeClr val="bg2"/>
        </a:solidFill>
        <a:effectLst/>
      </p:bgPr>
    </p:bg>
    <p:spTree>
      <p:nvGrpSpPr>
        <p:cNvPr id="1" name=""/>
        <p:cNvGrpSpPr/>
        <p:nvPr/>
      </p:nvGrpSpPr>
      <p:grpSpPr>
        <a:xfrm>
          <a:off x="0" y="0"/>
          <a:ext cx="0" cy="0"/>
          <a:chOff x="0" y="0"/>
          <a:chExt cx="0" cy="0"/>
        </a:xfrm>
      </p:grpSpPr>
      <p:sp>
        <p:nvSpPr>
          <p:cNvPr id="3" name="Cover portraiture image">
            <a:extLst>
              <a:ext uri="{FF2B5EF4-FFF2-40B4-BE49-F238E27FC236}">
                <a16:creationId xmlns:a16="http://schemas.microsoft.com/office/drawing/2014/main" id="{571E70CE-521B-1603-C73D-FFE1E6862FCA}"/>
              </a:ext>
            </a:extLst>
          </p:cNvPr>
          <p:cNvSpPr/>
          <p:nvPr>
            <p:custDataLst>
              <p:tags r:id="rId2"/>
            </p:custDataLst>
          </p:nvPr>
        </p:nvSpPr>
        <p:spPr bwMode="gray">
          <a:xfrm>
            <a:off x="0" y="0"/>
            <a:ext cx="12187490" cy="6858000"/>
          </a:xfrm>
          <a:prstGeom prst="rect">
            <a:avLst/>
          </a:prstGeom>
          <a:blipFill dpi="0" rotWithShape="1">
            <a:blip r:embed="rId10"/>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Freeform: Shape 16">
            <a:extLst>
              <a:ext uri="{FF2B5EF4-FFF2-40B4-BE49-F238E27FC236}">
                <a16:creationId xmlns:a16="http://schemas.microsoft.com/office/drawing/2014/main" id="{D493B144-1109-87ED-209C-05FD9CC8F97C}"/>
              </a:ext>
            </a:extLst>
          </p:cNvPr>
          <p:cNvSpPr>
            <a:spLocks noChangeAspect="1"/>
          </p:cNvSpPr>
          <p:nvPr>
            <p:custDataLst>
              <p:tags r:id="rId3"/>
            </p:custDataLst>
          </p:nvPr>
        </p:nvSpPr>
        <p:spPr>
          <a:xfrm>
            <a:off x="325404" y="1900800"/>
            <a:ext cx="11866596" cy="4957200"/>
          </a:xfrm>
          <a:custGeom>
            <a:avLst/>
            <a:gdLst>
              <a:gd name="connsiteX0" fmla="*/ 1183633 w 11866596"/>
              <a:gd name="connsiteY0" fmla="*/ 4496092 h 4957200"/>
              <a:gd name="connsiteX1" fmla="*/ 1183633 w 11866596"/>
              <a:gd name="connsiteY1" fmla="*/ 4732772 h 4957200"/>
              <a:gd name="connsiteX2" fmla="*/ 1285066 w 11866596"/>
              <a:gd name="connsiteY2" fmla="*/ 4732772 h 4957200"/>
              <a:gd name="connsiteX3" fmla="*/ 1285066 w 11866596"/>
              <a:gd name="connsiteY3" fmla="*/ 4496092 h 4957200"/>
              <a:gd name="connsiteX4" fmla="*/ 168940 w 11866596"/>
              <a:gd name="connsiteY4" fmla="*/ 4495624 h 4957200"/>
              <a:gd name="connsiteX5" fmla="*/ 266630 w 11866596"/>
              <a:gd name="connsiteY5" fmla="*/ 4495624 h 4957200"/>
              <a:gd name="connsiteX6" fmla="*/ 266630 w 11866596"/>
              <a:gd name="connsiteY6" fmla="*/ 4732420 h 4957200"/>
              <a:gd name="connsiteX7" fmla="*/ 451014 w 11866596"/>
              <a:gd name="connsiteY7" fmla="*/ 4732420 h 4957200"/>
              <a:gd name="connsiteX8" fmla="*/ 451014 w 11866596"/>
              <a:gd name="connsiteY8" fmla="*/ 4957200 h 4957200"/>
              <a:gd name="connsiteX9" fmla="*/ 0 w 11866596"/>
              <a:gd name="connsiteY9" fmla="*/ 4957200 h 4957200"/>
              <a:gd name="connsiteX10" fmla="*/ 0 w 11866596"/>
              <a:gd name="connsiteY10" fmla="*/ 4732420 h 4957200"/>
              <a:gd name="connsiteX11" fmla="*/ 168940 w 11866596"/>
              <a:gd name="connsiteY11" fmla="*/ 4732420 h 4957200"/>
              <a:gd name="connsiteX12" fmla="*/ 2994705 w 11866596"/>
              <a:gd name="connsiteY12" fmla="*/ 3787340 h 4957200"/>
              <a:gd name="connsiteX13" fmla="*/ 2994705 w 11866596"/>
              <a:gd name="connsiteY13" fmla="*/ 4024137 h 4957200"/>
              <a:gd name="connsiteX14" fmla="*/ 3096138 w 11866596"/>
              <a:gd name="connsiteY14" fmla="*/ 4024137 h 4957200"/>
              <a:gd name="connsiteX15" fmla="*/ 3096138 w 11866596"/>
              <a:gd name="connsiteY15" fmla="*/ 3787340 h 4957200"/>
              <a:gd name="connsiteX16" fmla="*/ 1729762 w 11866596"/>
              <a:gd name="connsiteY16" fmla="*/ 3786054 h 4957200"/>
              <a:gd name="connsiteX17" fmla="*/ 1910167 w 11866596"/>
              <a:gd name="connsiteY17" fmla="*/ 3786054 h 4957200"/>
              <a:gd name="connsiteX18" fmla="*/ 1910167 w 11866596"/>
              <a:gd name="connsiteY18" fmla="*/ 4022850 h 4957200"/>
              <a:gd name="connsiteX19" fmla="*/ 1729762 w 11866596"/>
              <a:gd name="connsiteY19" fmla="*/ 4022850 h 4957200"/>
              <a:gd name="connsiteX20" fmla="*/ 3432496 w 11866596"/>
              <a:gd name="connsiteY20" fmla="*/ 3549258 h 4957200"/>
              <a:gd name="connsiteX21" fmla="*/ 3432496 w 11866596"/>
              <a:gd name="connsiteY21" fmla="*/ 3549491 h 4957200"/>
              <a:gd name="connsiteX22" fmla="*/ 3432263 w 11866596"/>
              <a:gd name="connsiteY22" fmla="*/ 3549842 h 4957200"/>
              <a:gd name="connsiteX23" fmla="*/ 3432263 w 11866596"/>
              <a:gd name="connsiteY23" fmla="*/ 3787340 h 4957200"/>
              <a:gd name="connsiteX24" fmla="*/ 3532878 w 11866596"/>
              <a:gd name="connsiteY24" fmla="*/ 3787340 h 4957200"/>
              <a:gd name="connsiteX25" fmla="*/ 3532878 w 11866596"/>
              <a:gd name="connsiteY25" fmla="*/ 3549258 h 4957200"/>
              <a:gd name="connsiteX26" fmla="*/ 4032796 w 11866596"/>
              <a:gd name="connsiteY26" fmla="*/ 3549140 h 4957200"/>
              <a:gd name="connsiteX27" fmla="*/ 4032796 w 11866596"/>
              <a:gd name="connsiteY27" fmla="*/ 3785936 h 4957200"/>
              <a:gd name="connsiteX28" fmla="*/ 4213201 w 11866596"/>
              <a:gd name="connsiteY28" fmla="*/ 3785936 h 4957200"/>
              <a:gd name="connsiteX29" fmla="*/ 4213201 w 11866596"/>
              <a:gd name="connsiteY29" fmla="*/ 3549140 h 4957200"/>
              <a:gd name="connsiteX30" fmla="*/ 5905171 w 11866596"/>
              <a:gd name="connsiteY30" fmla="*/ 2838399 h 4957200"/>
              <a:gd name="connsiteX31" fmla="*/ 5905171 w 11866596"/>
              <a:gd name="connsiteY31" fmla="*/ 3075196 h 4957200"/>
              <a:gd name="connsiteX32" fmla="*/ 6006606 w 11866596"/>
              <a:gd name="connsiteY32" fmla="*/ 3075196 h 4957200"/>
              <a:gd name="connsiteX33" fmla="*/ 6006606 w 11866596"/>
              <a:gd name="connsiteY33" fmla="*/ 2838399 h 4957200"/>
              <a:gd name="connsiteX34" fmla="*/ 4785653 w 11866596"/>
              <a:gd name="connsiteY34" fmla="*/ 2602188 h 4957200"/>
              <a:gd name="connsiteX35" fmla="*/ 5236666 w 11866596"/>
              <a:gd name="connsiteY35" fmla="*/ 2602188 h 4957200"/>
              <a:gd name="connsiteX36" fmla="*/ 5236666 w 11866596"/>
              <a:gd name="connsiteY36" fmla="*/ 2838984 h 4957200"/>
              <a:gd name="connsiteX37" fmla="*/ 4785653 w 11866596"/>
              <a:gd name="connsiteY37" fmla="*/ 2838984 h 4957200"/>
              <a:gd name="connsiteX38" fmla="*/ 4503814 w 11866596"/>
              <a:gd name="connsiteY38" fmla="*/ 2602188 h 4957200"/>
              <a:gd name="connsiteX39" fmla="*/ 4684220 w 11866596"/>
              <a:gd name="connsiteY39" fmla="*/ 2602188 h 4957200"/>
              <a:gd name="connsiteX40" fmla="*/ 4684220 w 11866596"/>
              <a:gd name="connsiteY40" fmla="*/ 2838984 h 4957200"/>
              <a:gd name="connsiteX41" fmla="*/ 4503814 w 11866596"/>
              <a:gd name="connsiteY41" fmla="*/ 2838984 h 4957200"/>
              <a:gd name="connsiteX42" fmla="*/ 7458856 w 11866596"/>
              <a:gd name="connsiteY42" fmla="*/ 2365392 h 4957200"/>
              <a:gd name="connsiteX43" fmla="*/ 7458856 w 11866596"/>
              <a:gd name="connsiteY43" fmla="*/ 2602188 h 4957200"/>
              <a:gd name="connsiteX44" fmla="*/ 7560289 w 11866596"/>
              <a:gd name="connsiteY44" fmla="*/ 2602188 h 4957200"/>
              <a:gd name="connsiteX45" fmla="*/ 7560289 w 11866596"/>
              <a:gd name="connsiteY45" fmla="*/ 2365392 h 4957200"/>
              <a:gd name="connsiteX46" fmla="*/ 7685707 w 11866596"/>
              <a:gd name="connsiteY46" fmla="*/ 2128595 h 4957200"/>
              <a:gd name="connsiteX47" fmla="*/ 7685707 w 11866596"/>
              <a:gd name="connsiteY47" fmla="*/ 2365392 h 4957200"/>
              <a:gd name="connsiteX48" fmla="*/ 7866113 w 11866596"/>
              <a:gd name="connsiteY48" fmla="*/ 2365392 h 4957200"/>
              <a:gd name="connsiteX49" fmla="*/ 7866113 w 11866596"/>
              <a:gd name="connsiteY49" fmla="*/ 2128595 h 4957200"/>
              <a:gd name="connsiteX50" fmla="*/ 9186277 w 11866596"/>
              <a:gd name="connsiteY50" fmla="*/ 1657342 h 4957200"/>
              <a:gd name="connsiteX51" fmla="*/ 9186277 w 11866596"/>
              <a:gd name="connsiteY51" fmla="*/ 1891915 h 4957200"/>
              <a:gd name="connsiteX52" fmla="*/ 9350770 w 11866596"/>
              <a:gd name="connsiteY52" fmla="*/ 1891915 h 4957200"/>
              <a:gd name="connsiteX53" fmla="*/ 9350770 w 11866596"/>
              <a:gd name="connsiteY53" fmla="*/ 1657342 h 4957200"/>
              <a:gd name="connsiteX54" fmla="*/ 8711748 w 11866596"/>
              <a:gd name="connsiteY54" fmla="*/ 1420546 h 4957200"/>
              <a:gd name="connsiteX55" fmla="*/ 8711748 w 11866596"/>
              <a:gd name="connsiteY55" fmla="*/ 1655119 h 4957200"/>
              <a:gd name="connsiteX56" fmla="*/ 8813181 w 11866596"/>
              <a:gd name="connsiteY56" fmla="*/ 1655119 h 4957200"/>
              <a:gd name="connsiteX57" fmla="*/ 8813181 w 11866596"/>
              <a:gd name="connsiteY57" fmla="*/ 1420546 h 4957200"/>
              <a:gd name="connsiteX58" fmla="*/ 7978895 w 11866596"/>
              <a:gd name="connsiteY58" fmla="*/ 1420546 h 4957200"/>
              <a:gd name="connsiteX59" fmla="*/ 8159301 w 11866596"/>
              <a:gd name="connsiteY59" fmla="*/ 1420546 h 4957200"/>
              <a:gd name="connsiteX60" fmla="*/ 8159301 w 11866596"/>
              <a:gd name="connsiteY60" fmla="*/ 1657342 h 4957200"/>
              <a:gd name="connsiteX61" fmla="*/ 7978895 w 11866596"/>
              <a:gd name="connsiteY61" fmla="*/ 1657342 h 4957200"/>
              <a:gd name="connsiteX62" fmla="*/ 11177285 w 11866596"/>
              <a:gd name="connsiteY62" fmla="*/ 710273 h 4957200"/>
              <a:gd name="connsiteX63" fmla="*/ 11177285 w 11866596"/>
              <a:gd name="connsiteY63" fmla="*/ 946953 h 4957200"/>
              <a:gd name="connsiteX64" fmla="*/ 11278720 w 11866596"/>
              <a:gd name="connsiteY64" fmla="*/ 946953 h 4957200"/>
              <a:gd name="connsiteX65" fmla="*/ 11278720 w 11866596"/>
              <a:gd name="connsiteY65" fmla="*/ 710273 h 4957200"/>
              <a:gd name="connsiteX66" fmla="*/ 10472044 w 11866596"/>
              <a:gd name="connsiteY66" fmla="*/ 710273 h 4957200"/>
              <a:gd name="connsiteX67" fmla="*/ 10472044 w 11866596"/>
              <a:gd name="connsiteY67" fmla="*/ 946953 h 4957200"/>
              <a:gd name="connsiteX68" fmla="*/ 10573478 w 11866596"/>
              <a:gd name="connsiteY68" fmla="*/ 946953 h 4957200"/>
              <a:gd name="connsiteX69" fmla="*/ 10573478 w 11866596"/>
              <a:gd name="connsiteY69" fmla="*/ 710273 h 4957200"/>
              <a:gd name="connsiteX70" fmla="*/ 11587116 w 11866596"/>
              <a:gd name="connsiteY70" fmla="*/ 236913 h 4957200"/>
              <a:gd name="connsiteX71" fmla="*/ 11587116 w 11866596"/>
              <a:gd name="connsiteY71" fmla="*/ 473593 h 4957200"/>
              <a:gd name="connsiteX72" fmla="*/ 11688550 w 11866596"/>
              <a:gd name="connsiteY72" fmla="*/ 473593 h 4957200"/>
              <a:gd name="connsiteX73" fmla="*/ 11688550 w 11866596"/>
              <a:gd name="connsiteY73" fmla="*/ 236913 h 4957200"/>
              <a:gd name="connsiteX74" fmla="*/ 10955699 w 11866596"/>
              <a:gd name="connsiteY74" fmla="*/ 0 h 4957200"/>
              <a:gd name="connsiteX75" fmla="*/ 11866596 w 11866596"/>
              <a:gd name="connsiteY75" fmla="*/ 0 h 4957200"/>
              <a:gd name="connsiteX76" fmla="*/ 11866596 w 11866596"/>
              <a:gd name="connsiteY76" fmla="*/ 4957200 h 4957200"/>
              <a:gd name="connsiteX77" fmla="*/ 552448 w 11866596"/>
              <a:gd name="connsiteY77" fmla="*/ 4957200 h 4957200"/>
              <a:gd name="connsiteX78" fmla="*/ 552448 w 11866596"/>
              <a:gd name="connsiteY78" fmla="*/ 4732420 h 4957200"/>
              <a:gd name="connsiteX79" fmla="*/ 732853 w 11866596"/>
              <a:gd name="connsiteY79" fmla="*/ 4732420 h 4957200"/>
              <a:gd name="connsiteX80" fmla="*/ 732853 w 11866596"/>
              <a:gd name="connsiteY80" fmla="*/ 4495740 h 4957200"/>
              <a:gd name="connsiteX81" fmla="*/ 552448 w 11866596"/>
              <a:gd name="connsiteY81" fmla="*/ 4495740 h 4957200"/>
              <a:gd name="connsiteX82" fmla="*/ 552448 w 11866596"/>
              <a:gd name="connsiteY82" fmla="*/ 4258944 h 4957200"/>
              <a:gd name="connsiteX83" fmla="*/ 1388957 w 11866596"/>
              <a:gd name="connsiteY83" fmla="*/ 4258944 h 4957200"/>
              <a:gd name="connsiteX84" fmla="*/ 1388957 w 11866596"/>
              <a:gd name="connsiteY84" fmla="*/ 4022850 h 4957200"/>
              <a:gd name="connsiteX85" fmla="*/ 1729762 w 11866596"/>
              <a:gd name="connsiteY85" fmla="*/ 4022850 h 4957200"/>
              <a:gd name="connsiteX86" fmla="*/ 1729762 w 11866596"/>
              <a:gd name="connsiteY86" fmla="*/ 4259179 h 4957200"/>
              <a:gd name="connsiteX87" fmla="*/ 2011601 w 11866596"/>
              <a:gd name="connsiteY87" fmla="*/ 4259179 h 4957200"/>
              <a:gd name="connsiteX88" fmla="*/ 2011601 w 11866596"/>
              <a:gd name="connsiteY88" fmla="*/ 3786054 h 4957200"/>
              <a:gd name="connsiteX89" fmla="*/ 2462614 w 11866596"/>
              <a:gd name="connsiteY89" fmla="*/ 3786054 h 4957200"/>
              <a:gd name="connsiteX90" fmla="*/ 2558550 w 11866596"/>
              <a:gd name="connsiteY90" fmla="*/ 3786054 h 4957200"/>
              <a:gd name="connsiteX91" fmla="*/ 2558550 w 11866596"/>
              <a:gd name="connsiteY91" fmla="*/ 3548789 h 4957200"/>
              <a:gd name="connsiteX92" fmla="*/ 2975517 w 11866596"/>
              <a:gd name="connsiteY92" fmla="*/ 3548789 h 4957200"/>
              <a:gd name="connsiteX93" fmla="*/ 2975517 w 11866596"/>
              <a:gd name="connsiteY93" fmla="*/ 3311993 h 4957200"/>
              <a:gd name="connsiteX94" fmla="*/ 3161772 w 11866596"/>
              <a:gd name="connsiteY94" fmla="*/ 3311993 h 4957200"/>
              <a:gd name="connsiteX95" fmla="*/ 3161772 w 11866596"/>
              <a:gd name="connsiteY95" fmla="*/ 3074728 h 4957200"/>
              <a:gd name="connsiteX96" fmla="*/ 3263323 w 11866596"/>
              <a:gd name="connsiteY96" fmla="*/ 3074728 h 4957200"/>
              <a:gd name="connsiteX97" fmla="*/ 3263323 w 11866596"/>
              <a:gd name="connsiteY97" fmla="*/ 3311993 h 4957200"/>
              <a:gd name="connsiteX98" fmla="*/ 3713283 w 11866596"/>
              <a:gd name="connsiteY98" fmla="*/ 3311993 h 4957200"/>
              <a:gd name="connsiteX99" fmla="*/ 3713283 w 11866596"/>
              <a:gd name="connsiteY99" fmla="*/ 3548789 h 4957200"/>
              <a:gd name="connsiteX100" fmla="*/ 3813898 w 11866596"/>
              <a:gd name="connsiteY100" fmla="*/ 3548789 h 4957200"/>
              <a:gd name="connsiteX101" fmla="*/ 3813898 w 11866596"/>
              <a:gd name="connsiteY101" fmla="*/ 3311993 h 4957200"/>
              <a:gd name="connsiteX102" fmla="*/ 4023201 w 11866596"/>
              <a:gd name="connsiteY102" fmla="*/ 3311993 h 4957200"/>
              <a:gd name="connsiteX103" fmla="*/ 4023201 w 11866596"/>
              <a:gd name="connsiteY103" fmla="*/ 3074728 h 4957200"/>
              <a:gd name="connsiteX104" fmla="*/ 4605248 w 11866596"/>
              <a:gd name="connsiteY104" fmla="*/ 3074728 h 4957200"/>
              <a:gd name="connsiteX105" fmla="*/ 4605248 w 11866596"/>
              <a:gd name="connsiteY105" fmla="*/ 3311993 h 4957200"/>
              <a:gd name="connsiteX106" fmla="*/ 5074746 w 11866596"/>
              <a:gd name="connsiteY106" fmla="*/ 3311993 h 4957200"/>
              <a:gd name="connsiteX107" fmla="*/ 5074746 w 11866596"/>
              <a:gd name="connsiteY107" fmla="*/ 3075196 h 4957200"/>
              <a:gd name="connsiteX108" fmla="*/ 5531609 w 11866596"/>
              <a:gd name="connsiteY108" fmla="*/ 3075196 h 4957200"/>
              <a:gd name="connsiteX109" fmla="*/ 5531609 w 11866596"/>
              <a:gd name="connsiteY109" fmla="*/ 2838399 h 4957200"/>
              <a:gd name="connsiteX110" fmla="*/ 5338101 w 11866596"/>
              <a:gd name="connsiteY110" fmla="*/ 2838399 h 4957200"/>
              <a:gd name="connsiteX111" fmla="*/ 5338101 w 11866596"/>
              <a:gd name="connsiteY111" fmla="*/ 2601603 h 4957200"/>
              <a:gd name="connsiteX112" fmla="*/ 6078206 w 11866596"/>
              <a:gd name="connsiteY112" fmla="*/ 2601603 h 4957200"/>
              <a:gd name="connsiteX113" fmla="*/ 6078206 w 11866596"/>
              <a:gd name="connsiteY113" fmla="*/ 2364807 h 4957200"/>
              <a:gd name="connsiteX114" fmla="*/ 6529218 w 11866596"/>
              <a:gd name="connsiteY114" fmla="*/ 2364807 h 4957200"/>
              <a:gd name="connsiteX115" fmla="*/ 6529218 w 11866596"/>
              <a:gd name="connsiteY115" fmla="*/ 2128011 h 4957200"/>
              <a:gd name="connsiteX116" fmla="*/ 6981051 w 11866596"/>
              <a:gd name="connsiteY116" fmla="*/ 2128011 h 4957200"/>
              <a:gd name="connsiteX117" fmla="*/ 6981051 w 11866596"/>
              <a:gd name="connsiteY117" fmla="*/ 2364807 h 4957200"/>
              <a:gd name="connsiteX118" fmla="*/ 7273302 w 11866596"/>
              <a:gd name="connsiteY118" fmla="*/ 2364807 h 4957200"/>
              <a:gd name="connsiteX119" fmla="*/ 7273302 w 11866596"/>
              <a:gd name="connsiteY119" fmla="*/ 1891915 h 4957200"/>
              <a:gd name="connsiteX120" fmla="*/ 7453708 w 11866596"/>
              <a:gd name="connsiteY120" fmla="*/ 1891915 h 4957200"/>
              <a:gd name="connsiteX121" fmla="*/ 7453708 w 11866596"/>
              <a:gd name="connsiteY121" fmla="*/ 2128712 h 4957200"/>
              <a:gd name="connsiteX122" fmla="*/ 7555141 w 11866596"/>
              <a:gd name="connsiteY122" fmla="*/ 2128712 h 4957200"/>
              <a:gd name="connsiteX123" fmla="*/ 7555141 w 11866596"/>
              <a:gd name="connsiteY123" fmla="*/ 1891915 h 4957200"/>
              <a:gd name="connsiteX124" fmla="*/ 8006155 w 11866596"/>
              <a:gd name="connsiteY124" fmla="*/ 1891915 h 4957200"/>
              <a:gd name="connsiteX125" fmla="*/ 8006155 w 11866596"/>
              <a:gd name="connsiteY125" fmla="*/ 2128712 h 4957200"/>
              <a:gd name="connsiteX126" fmla="*/ 8107589 w 11866596"/>
              <a:gd name="connsiteY126" fmla="*/ 2128712 h 4957200"/>
              <a:gd name="connsiteX127" fmla="*/ 8107589 w 11866596"/>
              <a:gd name="connsiteY127" fmla="*/ 1891915 h 4957200"/>
              <a:gd name="connsiteX128" fmla="*/ 8375973 w 11866596"/>
              <a:gd name="connsiteY128" fmla="*/ 1891915 h 4957200"/>
              <a:gd name="connsiteX129" fmla="*/ 8375973 w 11866596"/>
              <a:gd name="connsiteY129" fmla="*/ 1657342 h 4957200"/>
              <a:gd name="connsiteX130" fmla="*/ 8260851 w 11866596"/>
              <a:gd name="connsiteY130" fmla="*/ 1657342 h 4957200"/>
              <a:gd name="connsiteX131" fmla="*/ 8260851 w 11866596"/>
              <a:gd name="connsiteY131" fmla="*/ 1420546 h 4957200"/>
              <a:gd name="connsiteX132" fmla="*/ 8492968 w 11866596"/>
              <a:gd name="connsiteY132" fmla="*/ 1420546 h 4957200"/>
              <a:gd name="connsiteX133" fmla="*/ 8492968 w 11866596"/>
              <a:gd name="connsiteY133" fmla="*/ 1183749 h 4957200"/>
              <a:gd name="connsiteX134" fmla="*/ 8594402 w 11866596"/>
              <a:gd name="connsiteY134" fmla="*/ 1183749 h 4957200"/>
              <a:gd name="connsiteX135" fmla="*/ 8594402 w 11866596"/>
              <a:gd name="connsiteY135" fmla="*/ 1420546 h 4957200"/>
              <a:gd name="connsiteX136" fmla="*/ 8711163 w 11866596"/>
              <a:gd name="connsiteY136" fmla="*/ 1420546 h 4957200"/>
              <a:gd name="connsiteX137" fmla="*/ 8711163 w 11866596"/>
              <a:gd name="connsiteY137" fmla="*/ 1183749 h 4957200"/>
              <a:gd name="connsiteX138" fmla="*/ 9162175 w 11866596"/>
              <a:gd name="connsiteY138" fmla="*/ 1183749 h 4957200"/>
              <a:gd name="connsiteX139" fmla="*/ 9162175 w 11866596"/>
              <a:gd name="connsiteY139" fmla="*/ 1420546 h 4957200"/>
              <a:gd name="connsiteX140" fmla="*/ 9530590 w 11866596"/>
              <a:gd name="connsiteY140" fmla="*/ 1420546 h 4957200"/>
              <a:gd name="connsiteX141" fmla="*/ 9530590 w 11866596"/>
              <a:gd name="connsiteY141" fmla="*/ 1183749 h 4957200"/>
              <a:gd name="connsiteX142" fmla="*/ 9350888 w 11866596"/>
              <a:gd name="connsiteY142" fmla="*/ 1183749 h 4957200"/>
              <a:gd name="connsiteX143" fmla="*/ 9350888 w 11866596"/>
              <a:gd name="connsiteY143" fmla="*/ 946953 h 4957200"/>
              <a:gd name="connsiteX144" fmla="*/ 10021148 w 11866596"/>
              <a:gd name="connsiteY144" fmla="*/ 946953 h 4957200"/>
              <a:gd name="connsiteX145" fmla="*/ 10021148 w 11866596"/>
              <a:gd name="connsiteY145" fmla="*/ 710156 h 4957200"/>
              <a:gd name="connsiteX146" fmla="*/ 10403369 w 11866596"/>
              <a:gd name="connsiteY146" fmla="*/ 710156 h 4957200"/>
              <a:gd name="connsiteX147" fmla="*/ 10403369 w 11866596"/>
              <a:gd name="connsiteY147" fmla="*/ 473477 h 4957200"/>
              <a:gd name="connsiteX148" fmla="*/ 10572309 w 11866596"/>
              <a:gd name="connsiteY148" fmla="*/ 473477 h 4957200"/>
              <a:gd name="connsiteX149" fmla="*/ 10572309 w 11866596"/>
              <a:gd name="connsiteY149" fmla="*/ 236680 h 4957200"/>
              <a:gd name="connsiteX150" fmla="*/ 10669998 w 11866596"/>
              <a:gd name="connsiteY150" fmla="*/ 236680 h 4957200"/>
              <a:gd name="connsiteX151" fmla="*/ 10669998 w 11866596"/>
              <a:gd name="connsiteY151" fmla="*/ 473477 h 4957200"/>
              <a:gd name="connsiteX152" fmla="*/ 10854381 w 11866596"/>
              <a:gd name="connsiteY152" fmla="*/ 473477 h 4957200"/>
              <a:gd name="connsiteX153" fmla="*/ 10854381 w 11866596"/>
              <a:gd name="connsiteY153" fmla="*/ 710156 h 4957200"/>
              <a:gd name="connsiteX154" fmla="*/ 10955815 w 11866596"/>
              <a:gd name="connsiteY154" fmla="*/ 710156 h 4957200"/>
              <a:gd name="connsiteX155" fmla="*/ 10955815 w 11866596"/>
              <a:gd name="connsiteY155" fmla="*/ 473477 h 4957200"/>
              <a:gd name="connsiteX156" fmla="*/ 11136104 w 11866596"/>
              <a:gd name="connsiteY156" fmla="*/ 473477 h 4957200"/>
              <a:gd name="connsiteX157" fmla="*/ 11136104 w 11866596"/>
              <a:gd name="connsiteY157" fmla="*/ 236797 h 4957200"/>
              <a:gd name="connsiteX158" fmla="*/ 10955699 w 11866596"/>
              <a:gd name="connsiteY158" fmla="*/ 236797 h 49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11866596" h="4957200">
                <a:moveTo>
                  <a:pt x="1183633" y="4496092"/>
                </a:moveTo>
                <a:lnTo>
                  <a:pt x="1183633" y="4732772"/>
                </a:lnTo>
                <a:lnTo>
                  <a:pt x="1285066" y="4732772"/>
                </a:lnTo>
                <a:lnTo>
                  <a:pt x="1285066" y="4496092"/>
                </a:lnTo>
                <a:close/>
                <a:moveTo>
                  <a:pt x="168940" y="4495624"/>
                </a:moveTo>
                <a:lnTo>
                  <a:pt x="266630" y="4495624"/>
                </a:lnTo>
                <a:lnTo>
                  <a:pt x="266630" y="4732420"/>
                </a:lnTo>
                <a:lnTo>
                  <a:pt x="451014" y="4732420"/>
                </a:lnTo>
                <a:lnTo>
                  <a:pt x="451014" y="4957200"/>
                </a:lnTo>
                <a:lnTo>
                  <a:pt x="0" y="4957200"/>
                </a:lnTo>
                <a:lnTo>
                  <a:pt x="0" y="4732420"/>
                </a:lnTo>
                <a:lnTo>
                  <a:pt x="168940" y="4732420"/>
                </a:lnTo>
                <a:close/>
                <a:moveTo>
                  <a:pt x="2994705" y="3787340"/>
                </a:moveTo>
                <a:lnTo>
                  <a:pt x="2994705" y="4024137"/>
                </a:lnTo>
                <a:lnTo>
                  <a:pt x="3096138" y="4024137"/>
                </a:lnTo>
                <a:lnTo>
                  <a:pt x="3096138" y="3787340"/>
                </a:lnTo>
                <a:close/>
                <a:moveTo>
                  <a:pt x="1729762" y="3786054"/>
                </a:moveTo>
                <a:lnTo>
                  <a:pt x="1910167" y="3786054"/>
                </a:lnTo>
                <a:lnTo>
                  <a:pt x="1910167" y="4022850"/>
                </a:lnTo>
                <a:lnTo>
                  <a:pt x="1729762" y="4022850"/>
                </a:lnTo>
                <a:close/>
                <a:moveTo>
                  <a:pt x="3432496" y="3549258"/>
                </a:moveTo>
                <a:lnTo>
                  <a:pt x="3432496" y="3549491"/>
                </a:lnTo>
                <a:cubicBezTo>
                  <a:pt x="3432496" y="3549491"/>
                  <a:pt x="3432263" y="3549842"/>
                  <a:pt x="3432263" y="3549842"/>
                </a:cubicBezTo>
                <a:lnTo>
                  <a:pt x="3432263" y="3787340"/>
                </a:lnTo>
                <a:lnTo>
                  <a:pt x="3532878" y="3787340"/>
                </a:lnTo>
                <a:lnTo>
                  <a:pt x="3532878" y="3549258"/>
                </a:lnTo>
                <a:close/>
                <a:moveTo>
                  <a:pt x="4032796" y="3549140"/>
                </a:moveTo>
                <a:lnTo>
                  <a:pt x="4032796" y="3785936"/>
                </a:lnTo>
                <a:lnTo>
                  <a:pt x="4213201" y="3785936"/>
                </a:lnTo>
                <a:lnTo>
                  <a:pt x="4213201" y="3549140"/>
                </a:lnTo>
                <a:close/>
                <a:moveTo>
                  <a:pt x="5905171" y="2838399"/>
                </a:moveTo>
                <a:lnTo>
                  <a:pt x="5905171" y="3075196"/>
                </a:lnTo>
                <a:lnTo>
                  <a:pt x="6006606" y="3075196"/>
                </a:lnTo>
                <a:lnTo>
                  <a:pt x="6006606" y="2838399"/>
                </a:lnTo>
                <a:close/>
                <a:moveTo>
                  <a:pt x="4785653" y="2602188"/>
                </a:moveTo>
                <a:lnTo>
                  <a:pt x="5236666" y="2602188"/>
                </a:lnTo>
                <a:lnTo>
                  <a:pt x="5236666" y="2838984"/>
                </a:lnTo>
                <a:lnTo>
                  <a:pt x="4785653" y="2838984"/>
                </a:lnTo>
                <a:close/>
                <a:moveTo>
                  <a:pt x="4503814" y="2602188"/>
                </a:moveTo>
                <a:lnTo>
                  <a:pt x="4684220" y="2602188"/>
                </a:lnTo>
                <a:lnTo>
                  <a:pt x="4684220" y="2838984"/>
                </a:lnTo>
                <a:lnTo>
                  <a:pt x="4503814" y="2838984"/>
                </a:lnTo>
                <a:close/>
                <a:moveTo>
                  <a:pt x="7458856" y="2365392"/>
                </a:moveTo>
                <a:lnTo>
                  <a:pt x="7458856" y="2602188"/>
                </a:lnTo>
                <a:lnTo>
                  <a:pt x="7560289" y="2602188"/>
                </a:lnTo>
                <a:lnTo>
                  <a:pt x="7560289" y="2365392"/>
                </a:lnTo>
                <a:close/>
                <a:moveTo>
                  <a:pt x="7685707" y="2128595"/>
                </a:moveTo>
                <a:lnTo>
                  <a:pt x="7685707" y="2365392"/>
                </a:lnTo>
                <a:lnTo>
                  <a:pt x="7866113" y="2365392"/>
                </a:lnTo>
                <a:lnTo>
                  <a:pt x="7866113" y="2128595"/>
                </a:lnTo>
                <a:close/>
                <a:moveTo>
                  <a:pt x="9186277" y="1657342"/>
                </a:moveTo>
                <a:lnTo>
                  <a:pt x="9186277" y="1891915"/>
                </a:lnTo>
                <a:lnTo>
                  <a:pt x="9350770" y="1891915"/>
                </a:lnTo>
                <a:lnTo>
                  <a:pt x="9350770" y="1657342"/>
                </a:lnTo>
                <a:close/>
                <a:moveTo>
                  <a:pt x="8711748" y="1420546"/>
                </a:moveTo>
                <a:lnTo>
                  <a:pt x="8711748" y="1655119"/>
                </a:lnTo>
                <a:lnTo>
                  <a:pt x="8813181" y="1655119"/>
                </a:lnTo>
                <a:lnTo>
                  <a:pt x="8813181" y="1420546"/>
                </a:lnTo>
                <a:close/>
                <a:moveTo>
                  <a:pt x="7978895" y="1420546"/>
                </a:moveTo>
                <a:lnTo>
                  <a:pt x="8159301" y="1420546"/>
                </a:lnTo>
                <a:lnTo>
                  <a:pt x="8159301" y="1657342"/>
                </a:lnTo>
                <a:lnTo>
                  <a:pt x="7978895" y="1657342"/>
                </a:lnTo>
                <a:close/>
                <a:moveTo>
                  <a:pt x="11177285" y="710273"/>
                </a:moveTo>
                <a:lnTo>
                  <a:pt x="11177285" y="946953"/>
                </a:lnTo>
                <a:lnTo>
                  <a:pt x="11278720" y="946953"/>
                </a:lnTo>
                <a:lnTo>
                  <a:pt x="11278720" y="710273"/>
                </a:lnTo>
                <a:close/>
                <a:moveTo>
                  <a:pt x="10472044" y="710273"/>
                </a:moveTo>
                <a:lnTo>
                  <a:pt x="10472044" y="946953"/>
                </a:lnTo>
                <a:lnTo>
                  <a:pt x="10573478" y="946953"/>
                </a:lnTo>
                <a:lnTo>
                  <a:pt x="10573478" y="710273"/>
                </a:lnTo>
                <a:close/>
                <a:moveTo>
                  <a:pt x="11587116" y="236913"/>
                </a:moveTo>
                <a:lnTo>
                  <a:pt x="11587116" y="473593"/>
                </a:lnTo>
                <a:lnTo>
                  <a:pt x="11688550" y="473593"/>
                </a:lnTo>
                <a:lnTo>
                  <a:pt x="11688550" y="236913"/>
                </a:lnTo>
                <a:close/>
                <a:moveTo>
                  <a:pt x="10955699" y="0"/>
                </a:moveTo>
                <a:lnTo>
                  <a:pt x="11866596" y="0"/>
                </a:lnTo>
                <a:lnTo>
                  <a:pt x="11866596" y="4957200"/>
                </a:lnTo>
                <a:lnTo>
                  <a:pt x="552448" y="4957200"/>
                </a:lnTo>
                <a:lnTo>
                  <a:pt x="552448" y="4732420"/>
                </a:lnTo>
                <a:lnTo>
                  <a:pt x="732853" y="4732420"/>
                </a:lnTo>
                <a:lnTo>
                  <a:pt x="732853" y="4495740"/>
                </a:lnTo>
                <a:lnTo>
                  <a:pt x="552448" y="4495740"/>
                </a:lnTo>
                <a:lnTo>
                  <a:pt x="552448" y="4258944"/>
                </a:lnTo>
                <a:lnTo>
                  <a:pt x="1388957" y="4258944"/>
                </a:lnTo>
                <a:lnTo>
                  <a:pt x="1388957" y="4022850"/>
                </a:lnTo>
                <a:lnTo>
                  <a:pt x="1729762" y="4022850"/>
                </a:lnTo>
                <a:lnTo>
                  <a:pt x="1729762" y="4259179"/>
                </a:lnTo>
                <a:lnTo>
                  <a:pt x="2011601" y="4259179"/>
                </a:lnTo>
                <a:lnTo>
                  <a:pt x="2011601" y="3786054"/>
                </a:lnTo>
                <a:cubicBezTo>
                  <a:pt x="2011601" y="3786054"/>
                  <a:pt x="2462614" y="3786054"/>
                  <a:pt x="2462614" y="3786054"/>
                </a:cubicBezTo>
                <a:lnTo>
                  <a:pt x="2558550" y="3786054"/>
                </a:lnTo>
                <a:lnTo>
                  <a:pt x="2558550" y="3548789"/>
                </a:lnTo>
                <a:lnTo>
                  <a:pt x="2975517" y="3548789"/>
                </a:lnTo>
                <a:lnTo>
                  <a:pt x="2975517" y="3311993"/>
                </a:lnTo>
                <a:lnTo>
                  <a:pt x="3161772" y="3311993"/>
                </a:lnTo>
                <a:lnTo>
                  <a:pt x="3161772" y="3074728"/>
                </a:lnTo>
                <a:lnTo>
                  <a:pt x="3263323" y="3074728"/>
                </a:lnTo>
                <a:lnTo>
                  <a:pt x="3263323" y="3311993"/>
                </a:lnTo>
                <a:lnTo>
                  <a:pt x="3713283" y="3311993"/>
                </a:lnTo>
                <a:lnTo>
                  <a:pt x="3713283" y="3548789"/>
                </a:lnTo>
                <a:lnTo>
                  <a:pt x="3813898" y="3548789"/>
                </a:lnTo>
                <a:lnTo>
                  <a:pt x="3813898" y="3311993"/>
                </a:lnTo>
                <a:lnTo>
                  <a:pt x="4023201" y="3311993"/>
                </a:lnTo>
                <a:lnTo>
                  <a:pt x="4023201" y="3074728"/>
                </a:lnTo>
                <a:lnTo>
                  <a:pt x="4605248" y="3074728"/>
                </a:lnTo>
                <a:lnTo>
                  <a:pt x="4605248" y="3311993"/>
                </a:lnTo>
                <a:lnTo>
                  <a:pt x="5074746" y="3311993"/>
                </a:lnTo>
                <a:lnTo>
                  <a:pt x="5074746" y="3075196"/>
                </a:lnTo>
                <a:lnTo>
                  <a:pt x="5531609" y="3075196"/>
                </a:lnTo>
                <a:lnTo>
                  <a:pt x="5531609" y="2838399"/>
                </a:lnTo>
                <a:lnTo>
                  <a:pt x="5338101" y="2838399"/>
                </a:lnTo>
                <a:lnTo>
                  <a:pt x="5338101" y="2601603"/>
                </a:lnTo>
                <a:lnTo>
                  <a:pt x="6078206" y="2601603"/>
                </a:lnTo>
                <a:lnTo>
                  <a:pt x="6078206" y="2364807"/>
                </a:lnTo>
                <a:lnTo>
                  <a:pt x="6529218" y="2364807"/>
                </a:lnTo>
                <a:lnTo>
                  <a:pt x="6529218" y="2128011"/>
                </a:lnTo>
                <a:lnTo>
                  <a:pt x="6981051" y="2128011"/>
                </a:lnTo>
                <a:lnTo>
                  <a:pt x="6981051" y="2364807"/>
                </a:lnTo>
                <a:lnTo>
                  <a:pt x="7273302" y="2364807"/>
                </a:lnTo>
                <a:lnTo>
                  <a:pt x="7273302" y="1891915"/>
                </a:lnTo>
                <a:lnTo>
                  <a:pt x="7453708" y="1891915"/>
                </a:lnTo>
                <a:lnTo>
                  <a:pt x="7453708" y="2128712"/>
                </a:lnTo>
                <a:lnTo>
                  <a:pt x="7555141" y="2128712"/>
                </a:lnTo>
                <a:lnTo>
                  <a:pt x="7555141" y="1891915"/>
                </a:lnTo>
                <a:lnTo>
                  <a:pt x="8006155" y="1891915"/>
                </a:lnTo>
                <a:lnTo>
                  <a:pt x="8006155" y="2128712"/>
                </a:lnTo>
                <a:lnTo>
                  <a:pt x="8107589" y="2128712"/>
                </a:lnTo>
                <a:lnTo>
                  <a:pt x="8107589" y="1891915"/>
                </a:lnTo>
                <a:lnTo>
                  <a:pt x="8375973" y="1891915"/>
                </a:lnTo>
                <a:lnTo>
                  <a:pt x="8375973" y="1657342"/>
                </a:lnTo>
                <a:lnTo>
                  <a:pt x="8260851" y="1657342"/>
                </a:lnTo>
                <a:lnTo>
                  <a:pt x="8260851" y="1420546"/>
                </a:lnTo>
                <a:lnTo>
                  <a:pt x="8492968" y="1420546"/>
                </a:lnTo>
                <a:lnTo>
                  <a:pt x="8492968" y="1183749"/>
                </a:lnTo>
                <a:lnTo>
                  <a:pt x="8594402" y="1183749"/>
                </a:lnTo>
                <a:lnTo>
                  <a:pt x="8594402" y="1420546"/>
                </a:lnTo>
                <a:lnTo>
                  <a:pt x="8711163" y="1420546"/>
                </a:lnTo>
                <a:lnTo>
                  <a:pt x="8711163" y="1183749"/>
                </a:lnTo>
                <a:lnTo>
                  <a:pt x="9162175" y="1183749"/>
                </a:lnTo>
                <a:lnTo>
                  <a:pt x="9162175" y="1420546"/>
                </a:lnTo>
                <a:lnTo>
                  <a:pt x="9530590" y="1420546"/>
                </a:lnTo>
                <a:lnTo>
                  <a:pt x="9530590" y="1183749"/>
                </a:lnTo>
                <a:lnTo>
                  <a:pt x="9350888" y="1183749"/>
                </a:lnTo>
                <a:lnTo>
                  <a:pt x="9350888" y="946953"/>
                </a:lnTo>
                <a:lnTo>
                  <a:pt x="10021148" y="946953"/>
                </a:lnTo>
                <a:lnTo>
                  <a:pt x="10021148" y="710156"/>
                </a:lnTo>
                <a:lnTo>
                  <a:pt x="10403369" y="710156"/>
                </a:lnTo>
                <a:lnTo>
                  <a:pt x="10403369" y="473477"/>
                </a:lnTo>
                <a:lnTo>
                  <a:pt x="10572309" y="473477"/>
                </a:lnTo>
                <a:lnTo>
                  <a:pt x="10572309" y="236680"/>
                </a:lnTo>
                <a:lnTo>
                  <a:pt x="10669998" y="236680"/>
                </a:lnTo>
                <a:lnTo>
                  <a:pt x="10669998" y="473477"/>
                </a:lnTo>
                <a:lnTo>
                  <a:pt x="10854381" y="473477"/>
                </a:lnTo>
                <a:lnTo>
                  <a:pt x="10854381" y="710156"/>
                </a:lnTo>
                <a:lnTo>
                  <a:pt x="10955815" y="710156"/>
                </a:lnTo>
                <a:lnTo>
                  <a:pt x="10955815" y="473477"/>
                </a:lnTo>
                <a:lnTo>
                  <a:pt x="11136104" y="473477"/>
                </a:lnTo>
                <a:lnTo>
                  <a:pt x="11136104" y="236797"/>
                </a:lnTo>
                <a:lnTo>
                  <a:pt x="10955699" y="236797"/>
                </a:lnTo>
                <a:close/>
              </a:path>
            </a:pathLst>
          </a:custGeom>
          <a:blipFill>
            <a:blip r:embed="rId11"/>
            <a:srcRect/>
            <a:stretch>
              <a:fillRect t="-36436" b="-13426"/>
            </a:stretch>
          </a:blipFill>
          <a:ln w="0" cap="flat">
            <a:noFill/>
            <a:prstDash val="solid"/>
            <a:miter/>
          </a:ln>
        </p:spPr>
        <p:txBody>
          <a:bodyPr wrap="square" rtlCol="0" anchor="ctr">
            <a:noAutofit/>
          </a:bodyPr>
          <a:lstStyle/>
          <a:p>
            <a:endParaRPr lang="en-GB"/>
          </a:p>
        </p:txBody>
      </p:sp>
      <p:sp>
        <p:nvSpPr>
          <p:cNvPr id="7" name="Endorsement">
            <a:extLst>
              <a:ext uri="{FF2B5EF4-FFF2-40B4-BE49-F238E27FC236}">
                <a16:creationId xmlns:a16="http://schemas.microsoft.com/office/drawing/2014/main" id="{39AE9FDD-D13E-DE2B-B89A-DED7650C35C4}"/>
              </a:ext>
            </a:extLst>
          </p:cNvPr>
          <p:cNvSpPr txBox="1">
            <a:spLocks/>
          </p:cNvSpPr>
          <p:nvPr>
            <p:custDataLst>
              <p:tags r:id="rId4"/>
            </p:custDataLst>
          </p:nvPr>
        </p:nvSpPr>
        <p:spPr bwMode="white">
          <a:xfrm>
            <a:off x="784800" y="657566"/>
            <a:ext cx="5218113" cy="19147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000" b="0" kern="1200" cap="none" baseline="0">
                <a:solidFill>
                  <a:schemeClr val="bg1"/>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bg1"/>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bg1"/>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bg1"/>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bg1"/>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1000" b="0" i="0" u="none" strike="noStrike" kern="1200" cap="all" spc="0" normalizeH="0" noProof="0" dirty="0">
                <a:ln>
                  <a:noFill/>
                </a:ln>
                <a:solidFill>
                  <a:srgbClr val="FFFFFF"/>
                </a:solidFill>
                <a:effectLst/>
                <a:uLnTx/>
                <a:uFillTx/>
                <a:latin typeface="Arial"/>
                <a:ea typeface="+mn-ea"/>
                <a:cs typeface="+mn-cs"/>
              </a:rPr>
              <a:t>PRIVATE AND CONFIDENTIAL</a:t>
            </a:r>
          </a:p>
        </p:txBody>
      </p:sp>
      <p:sp>
        <p:nvSpPr>
          <p:cNvPr id="5" name="Title">
            <a:extLst>
              <a:ext uri="{FF2B5EF4-FFF2-40B4-BE49-F238E27FC236}">
                <a16:creationId xmlns:a16="http://schemas.microsoft.com/office/drawing/2014/main" id="{3186FDDC-ACEA-5778-85E3-FB7BCB2703AB}"/>
              </a:ext>
            </a:extLst>
          </p:cNvPr>
          <p:cNvSpPr>
            <a:spLocks noGrp="1"/>
          </p:cNvSpPr>
          <p:nvPr>
            <p:ph type="title"/>
            <p:custDataLst>
              <p:tags r:id="rId5"/>
            </p:custDataLst>
          </p:nvPr>
        </p:nvSpPr>
        <p:spPr bwMode="white">
          <a:xfrm>
            <a:off x="785813" y="1047600"/>
            <a:ext cx="5220000" cy="553998"/>
          </a:xfrm>
        </p:spPr>
        <p:txBody>
          <a:bodyPr/>
          <a:lstStyle/>
          <a:p>
            <a:r>
              <a:rPr lang="en-GB" dirty="0">
                <a:solidFill>
                  <a:schemeClr val="accent1"/>
                </a:solidFill>
              </a:rPr>
              <a:t>RSM Defense Overview</a:t>
            </a:r>
          </a:p>
        </p:txBody>
      </p:sp>
      <p:sp>
        <p:nvSpPr>
          <p:cNvPr id="6" name="Subtitle">
            <a:extLst>
              <a:ext uri="{FF2B5EF4-FFF2-40B4-BE49-F238E27FC236}">
                <a16:creationId xmlns:a16="http://schemas.microsoft.com/office/drawing/2014/main" id="{1EBB19B2-9C17-3772-64BC-6EEF5828E469}"/>
              </a:ext>
            </a:extLst>
          </p:cNvPr>
          <p:cNvSpPr>
            <a:spLocks noGrp="1"/>
          </p:cNvSpPr>
          <p:nvPr>
            <p:ph type="body" sz="quarter" idx="15"/>
            <p:custDataLst>
              <p:tags r:id="rId6"/>
            </p:custDataLst>
          </p:nvPr>
        </p:nvSpPr>
        <p:spPr bwMode="white"/>
        <p:txBody>
          <a:bodyPr/>
          <a:lstStyle/>
          <a:p>
            <a:r>
              <a:rPr lang="en-GB" dirty="0"/>
              <a:t>Managed Threat Detection and Response</a:t>
            </a:r>
          </a:p>
        </p:txBody>
      </p:sp>
      <p:sp>
        <p:nvSpPr>
          <p:cNvPr id="8" name="Date">
            <a:extLst>
              <a:ext uri="{FF2B5EF4-FFF2-40B4-BE49-F238E27FC236}">
                <a16:creationId xmlns:a16="http://schemas.microsoft.com/office/drawing/2014/main" id="{DEDC421D-6551-90EB-CA95-825C8EF6ABF4}"/>
              </a:ext>
            </a:extLst>
          </p:cNvPr>
          <p:cNvSpPr txBox="1">
            <a:spLocks/>
          </p:cNvSpPr>
          <p:nvPr>
            <p:custDataLst>
              <p:tags r:id="rId7"/>
            </p:custDataLst>
          </p:nvPr>
        </p:nvSpPr>
        <p:spPr bwMode="white">
          <a:xfrm>
            <a:off x="784800" y="3472605"/>
            <a:ext cx="5220000" cy="367200"/>
          </a:xfrm>
          <a:prstGeom prst="rect">
            <a:avLst/>
          </a:prstGeom>
        </p:spPr>
        <p:txBody>
          <a:bodyPr lIns="0" tIns="0" rIns="0" bIns="0"/>
          <a:lstStyle>
            <a:lvl1pPr marL="0" indent="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1pPr>
            <a:lvl2pPr marL="180000" indent="-180000" algn="l" defTabSz="914400" rtl="0" eaLnBrk="1" latinLnBrk="0" hangingPunct="1">
              <a:lnSpc>
                <a:spcPct val="100000"/>
              </a:lnSpc>
              <a:spcBef>
                <a:spcPts val="600"/>
              </a:spcBef>
              <a:buClr>
                <a:schemeClr val="tx1"/>
              </a:buClr>
              <a:buFont typeface="Wingdings" panose="05000000000000000000" pitchFamily="2" charset="2"/>
              <a:buChar char="§"/>
              <a:defRPr sz="16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5pPr>
            <a:lvl6pPr marL="0" indent="0" algn="l" defTabSz="914400" rtl="0" eaLnBrk="1" latinLnBrk="0" hangingPunct="1">
              <a:lnSpc>
                <a:spcPct val="100000"/>
              </a:lnSpc>
              <a:spcBef>
                <a:spcPts val="600"/>
              </a:spcBef>
              <a:buFontTx/>
              <a:buNone/>
              <a:defRPr sz="3600" kern="1200">
                <a:solidFill>
                  <a:schemeClr val="accent1"/>
                </a:solidFill>
                <a:latin typeface="+mn-lt"/>
                <a:ea typeface="+mn-ea"/>
                <a:cs typeface="+mn-cs"/>
              </a:defRPr>
            </a:lvl6pPr>
            <a:lvl7pPr marL="0" indent="0" algn="l" defTabSz="914400" rtl="0" eaLnBrk="1" latinLnBrk="0" hangingPunct="1">
              <a:lnSpc>
                <a:spcPct val="100000"/>
              </a:lnSpc>
              <a:spcBef>
                <a:spcPts val="600"/>
              </a:spcBef>
              <a:buFontTx/>
              <a:buNone/>
              <a:defRPr sz="2000" kern="1200">
                <a:solidFill>
                  <a:schemeClr val="tx2"/>
                </a:solidFill>
                <a:latin typeface="+mn-lt"/>
                <a:ea typeface="+mn-ea"/>
                <a:cs typeface="+mn-cs"/>
              </a:defRPr>
            </a:lvl7pPr>
            <a:lvl8pPr marL="0" indent="0" algn="l" defTabSz="914400" rtl="0" eaLnBrk="1" latinLnBrk="0" hangingPunct="1">
              <a:lnSpc>
                <a:spcPct val="100000"/>
              </a:lnSpc>
              <a:spcBef>
                <a:spcPts val="600"/>
              </a:spcBef>
              <a:buFontTx/>
              <a:buNone/>
              <a:defRPr sz="2000" b="1" kern="1200">
                <a:solidFill>
                  <a:schemeClr val="accent2"/>
                </a:solidFill>
                <a:latin typeface="+mn-lt"/>
                <a:ea typeface="+mn-ea"/>
                <a:cs typeface="+mn-cs"/>
              </a:defRPr>
            </a:lvl8pPr>
            <a:lvl9pPr marL="0" indent="0" algn="l" defTabSz="914400" rtl="0" eaLnBrk="1" latinLnBrk="0" hangingPunct="1">
              <a:lnSpc>
                <a:spcPct val="100000"/>
              </a:lnSpc>
              <a:spcBef>
                <a:spcPts val="600"/>
              </a:spcBef>
              <a:buFontTx/>
              <a:buNone/>
              <a:defRPr sz="2000" kern="1200">
                <a:solidFill>
                  <a:schemeClr val="accent2"/>
                </a:solidFill>
                <a:latin typeface="+mn-lt"/>
                <a:ea typeface="+mn-ea"/>
                <a:cs typeface="+mn-cs"/>
              </a:defRPr>
            </a:lvl9pPr>
          </a:lstStyle>
          <a:p>
            <a:r>
              <a:rPr lang="en-GB" dirty="0"/>
              <a:t>2024</a:t>
            </a:r>
          </a:p>
        </p:txBody>
      </p:sp>
      <p:pic>
        <p:nvPicPr>
          <p:cNvPr id="2" name="Logo">
            <a:extLst>
              <a:ext uri="{FF2B5EF4-FFF2-40B4-BE49-F238E27FC236}">
                <a16:creationId xmlns:a16="http://schemas.microsoft.com/office/drawing/2014/main" id="{7D2A097B-1C50-FAAA-8D62-7993248E47D4}"/>
              </a:ext>
            </a:extLst>
          </p:cNvPr>
          <p:cNvPicPr>
            <a:picLocks/>
          </p:cNvPicPr>
          <p:nvPr>
            <p:custDataLst>
              <p:tags r:id="rId8"/>
            </p:custDataLst>
          </p:nvPr>
        </p:nvPicPr>
        <p:blipFill rotWithShape="1">
          <a:blip r:embed="rId12">
            <a:extLst>
              <a:ext uri="{96DAC541-7B7A-43D3-8B79-37D633B846F1}">
                <asvg:svgBlip xmlns:asvg="http://schemas.microsoft.com/office/drawing/2016/SVG/main" r:embed="rId13"/>
              </a:ext>
            </a:extLst>
          </a:blip>
          <a:srcRect t="80" b="80"/>
          <a:stretch/>
        </p:blipFill>
        <p:spPr>
          <a:xfrm>
            <a:off x="10171388" y="684213"/>
            <a:ext cx="1234800" cy="518400"/>
          </a:xfrm>
          <a:prstGeom prst="rect">
            <a:avLst/>
          </a:prstGeom>
        </p:spPr>
      </p:pic>
    </p:spTree>
    <p:custDataLst>
      <p:tags r:id="rId1"/>
    </p:custDataLst>
    <p:extLst>
      <p:ext uri="{BB962C8B-B14F-4D97-AF65-F5344CB8AC3E}">
        <p14:creationId xmlns:p14="http://schemas.microsoft.com/office/powerpoint/2010/main" val="2283441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608"/>
        <p:cNvGrpSpPr/>
        <p:nvPr/>
      </p:nvGrpSpPr>
      <p:grpSpPr>
        <a:xfrm>
          <a:off x="0" y="0"/>
          <a:ext cx="0" cy="0"/>
          <a:chOff x="0" y="0"/>
          <a:chExt cx="0" cy="0"/>
        </a:xfrm>
      </p:grpSpPr>
      <p:sp>
        <p:nvSpPr>
          <p:cNvPr id="1639" name="Google Shape;1639;p15"/>
          <p:cNvSpPr txBox="1">
            <a:spLocks noGrp="1"/>
          </p:cNvSpPr>
          <p:nvPr>
            <p:ph type="body" sz="quarter" idx="10"/>
          </p:nvPr>
        </p:nvSpPr>
        <p:spPr>
          <a:xfrm>
            <a:off x="685799" y="1192968"/>
            <a:ext cx="10739439" cy="1057280"/>
          </a:xfrm>
          <a:prstGeom prst="rect">
            <a:avLst/>
          </a:prstGeom>
          <a:noFill/>
          <a:ln>
            <a:noFill/>
          </a:ln>
        </p:spPr>
        <p:txBody>
          <a:bodyPr spcFirstLastPara="1" vert="horz" wrap="square" lIns="0" tIns="30467" rIns="0" bIns="30467" rtlCol="0" anchor="t" anchorCtr="0">
            <a:noAutofit/>
          </a:bodyPr>
          <a:lstStyle/>
          <a:p>
            <a:pPr marL="0" indent="0">
              <a:lnSpc>
                <a:spcPct val="100000"/>
              </a:lnSpc>
              <a:spcBef>
                <a:spcPts val="400"/>
              </a:spcBef>
              <a:buClr>
                <a:srgbClr val="000000"/>
              </a:buClr>
              <a:buSzPts val="1100"/>
              <a:buNone/>
            </a:pPr>
            <a:r>
              <a:rPr lang="en-US" sz="1600" b="1" dirty="0">
                <a:solidFill>
                  <a:schemeClr val="accent1"/>
                </a:solidFill>
              </a:rPr>
              <a:t>Extended Detection &amp; Response (XDR), </a:t>
            </a:r>
            <a:r>
              <a:rPr lang="en-US" sz="1600" dirty="0">
                <a:solidFill>
                  <a:srgbClr val="00B050"/>
                </a:solidFill>
              </a:rPr>
              <a:t>All-in-One Security Operations services.  </a:t>
            </a:r>
          </a:p>
          <a:p>
            <a:pPr marL="0" indent="0">
              <a:lnSpc>
                <a:spcPct val="100000"/>
              </a:lnSpc>
              <a:spcBef>
                <a:spcPts val="400"/>
              </a:spcBef>
              <a:buClr>
                <a:srgbClr val="000000"/>
              </a:buClr>
              <a:buSzPts val="1100"/>
              <a:buNone/>
            </a:pPr>
            <a:r>
              <a:rPr lang="en-US" sz="1600" dirty="0"/>
              <a:t>Turnkey detection and response service to ingest, enrich, contextualize, hunt, and respond with 100% threat visibility.  Block hot and fast attacks.  Detect slow burn attacks.  Respond with decisive actions 24x7x365. </a:t>
            </a:r>
          </a:p>
        </p:txBody>
      </p:sp>
      <p:sp>
        <p:nvSpPr>
          <p:cNvPr id="1638" name="Google Shape;1638;p15"/>
          <p:cNvSpPr txBox="1">
            <a:spLocks noGrp="1"/>
          </p:cNvSpPr>
          <p:nvPr>
            <p:ph type="sldNum" idx="4294967295"/>
          </p:nvPr>
        </p:nvSpPr>
        <p:spPr>
          <a:xfrm>
            <a:off x="11425238" y="6519863"/>
            <a:ext cx="766762" cy="222250"/>
          </a:xfrm>
          <a:prstGeom prst="rect">
            <a:avLst/>
          </a:prstGeom>
          <a:noFill/>
          <a:ln>
            <a:noFill/>
          </a:ln>
        </p:spPr>
        <p:txBody>
          <a:bodyPr spcFirstLastPara="1"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800" b="0" i="0" u="none" strike="noStrike" kern="1200" cap="none" spc="0" normalizeH="0" baseline="0" noProof="0" smtClean="0">
                <a:ln>
                  <a:noFill/>
                </a:ln>
                <a:solidFill>
                  <a:srgbClr val="7F7F7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0</a:t>
            </a:fld>
            <a:endParaRPr kumimoji="0" lang="en-US" sz="800" b="0" i="0" u="none" strike="noStrike" kern="1200" cap="none" spc="0" normalizeH="0" baseline="0" noProof="0">
              <a:ln>
                <a:noFill/>
              </a:ln>
              <a:solidFill>
                <a:srgbClr val="7F7F7F"/>
              </a:solidFill>
              <a:effectLst/>
              <a:uLnTx/>
              <a:uFillTx/>
              <a:latin typeface="Arial"/>
              <a:cs typeface="Arial"/>
              <a:sym typeface="Arial"/>
            </a:endParaRPr>
          </a:p>
        </p:txBody>
      </p:sp>
      <p:sp>
        <p:nvSpPr>
          <p:cNvPr id="5" name="Title 1">
            <a:extLst>
              <a:ext uri="{FF2B5EF4-FFF2-40B4-BE49-F238E27FC236}">
                <a16:creationId xmlns:a16="http://schemas.microsoft.com/office/drawing/2014/main" id="{AAFBFADE-E852-33F2-650E-7C182C396D9B}"/>
              </a:ext>
            </a:extLst>
          </p:cNvPr>
          <p:cNvSpPr>
            <a:spLocks noGrp="1"/>
          </p:cNvSpPr>
          <p:nvPr>
            <p:ph type="title" idx="4294967295"/>
          </p:nvPr>
        </p:nvSpPr>
        <p:spPr>
          <a:xfrm>
            <a:off x="609600" y="236538"/>
            <a:ext cx="10236200" cy="855662"/>
          </a:xfrm>
        </p:spPr>
        <p:txBody>
          <a:bodyPr vert="horz" wrap="square" lIns="91440" tIns="45720" rIns="91440" bIns="45720" rtlCol="0" anchor="ctr" anchorCtr="0">
            <a:normAutofit/>
          </a:bodyPr>
          <a:lstStyle/>
          <a:p>
            <a:r>
              <a:rPr lang="en-US" dirty="0">
                <a:solidFill>
                  <a:schemeClr val="accent1"/>
                </a:solidFill>
                <a:latin typeface="Arial"/>
                <a:cs typeface="Arial"/>
              </a:rPr>
              <a:t>XDR Service</a:t>
            </a:r>
          </a:p>
        </p:txBody>
      </p:sp>
      <p:grpSp>
        <p:nvGrpSpPr>
          <p:cNvPr id="1640" name="Google Shape;1640;p15"/>
          <p:cNvGrpSpPr/>
          <p:nvPr/>
        </p:nvGrpSpPr>
        <p:grpSpPr>
          <a:xfrm>
            <a:off x="6682450" y="3403133"/>
            <a:ext cx="5036611" cy="427400"/>
            <a:chOff x="840350" y="3158750"/>
            <a:chExt cx="7694100" cy="641100"/>
          </a:xfrm>
        </p:grpSpPr>
        <p:sp>
          <p:nvSpPr>
            <p:cNvPr id="1641" name="Google Shape;1641;p15"/>
            <p:cNvSpPr txBox="1"/>
            <p:nvPr/>
          </p:nvSpPr>
          <p:spPr>
            <a:xfrm>
              <a:off x="840350" y="3158750"/>
              <a:ext cx="1712400" cy="641100"/>
            </a:xfrm>
            <a:prstGeom prst="rect">
              <a:avLst/>
            </a:prstGeom>
            <a:noFill/>
            <a:ln>
              <a:noFill/>
            </a:ln>
          </p:spPr>
          <p:txBody>
            <a:bodyPr spcFirstLastPara="1" wrap="square" lIns="0" tIns="30467" rIns="0" bIns="30467" anchor="t" anchorCtr="0">
              <a:noAutofit/>
            </a:bodyPr>
            <a:lstStyle/>
            <a:p>
              <a:pPr marL="0" marR="0" lvl="0" indent="0" algn="l" defTabSz="914400" rtl="0" eaLnBrk="1" fontAlgn="auto" latinLnBrk="0" hangingPunct="1">
                <a:lnSpc>
                  <a:spcPct val="100000"/>
                </a:lnSpc>
                <a:spcBef>
                  <a:spcPts val="400"/>
                </a:spcBef>
                <a:spcAft>
                  <a:spcPts val="0"/>
                </a:spcAft>
                <a:buClr>
                  <a:srgbClr val="595959"/>
                </a:buClr>
                <a:buSzPts val="1100"/>
                <a:buFontTx/>
                <a:buNone/>
                <a:tabLst/>
                <a:defRPr/>
              </a:pPr>
              <a:r>
                <a:rPr kumimoji="0" lang="en-US" sz="1400" b="1" i="0" u="none" strike="noStrike" kern="1200" cap="none" spc="0" normalizeH="0" baseline="0" noProof="0" dirty="0">
                  <a:ln>
                    <a:noFill/>
                  </a:ln>
                  <a:solidFill>
                    <a:srgbClr val="009CDE"/>
                  </a:solidFill>
                  <a:effectLst/>
                  <a:uLnTx/>
                  <a:uFillTx/>
                  <a:latin typeface="Arial"/>
                  <a:ea typeface="Arial"/>
                  <a:cs typeface="Arial"/>
                  <a:sym typeface="Arial"/>
                </a:rPr>
                <a:t>Outcomes</a:t>
              </a:r>
              <a:endParaRPr kumimoji="0" lang="en-US" sz="1400" b="0" i="0" u="none" strike="noStrike" kern="1200" cap="none" spc="0" normalizeH="0" baseline="0" noProof="0" dirty="0">
                <a:ln>
                  <a:noFill/>
                </a:ln>
                <a:solidFill>
                  <a:srgbClr val="595959"/>
                </a:solidFill>
                <a:effectLst/>
                <a:uLnTx/>
                <a:uFillTx/>
                <a:latin typeface="Arial"/>
                <a:ea typeface="Arial"/>
                <a:cs typeface="Arial"/>
                <a:sym typeface="Arial"/>
              </a:endParaRPr>
            </a:p>
          </p:txBody>
        </p:sp>
        <p:cxnSp>
          <p:nvCxnSpPr>
            <p:cNvPr id="1642" name="Google Shape;1642;p15"/>
            <p:cNvCxnSpPr>
              <a:stCxn id="1641" idx="3"/>
            </p:cNvCxnSpPr>
            <p:nvPr/>
          </p:nvCxnSpPr>
          <p:spPr>
            <a:xfrm>
              <a:off x="2552750" y="3479300"/>
              <a:ext cx="5981700" cy="0"/>
            </a:xfrm>
            <a:prstGeom prst="straightConnector1">
              <a:avLst/>
            </a:prstGeom>
            <a:noFill/>
            <a:ln w="19050" cap="flat" cmpd="sng">
              <a:solidFill>
                <a:srgbClr val="6703E9"/>
              </a:solidFill>
              <a:prstDash val="solid"/>
              <a:round/>
              <a:headEnd type="none" w="sm" len="sm"/>
              <a:tailEnd type="none" w="sm" len="sm"/>
            </a:ln>
          </p:spPr>
        </p:cxnSp>
      </p:grpSp>
      <p:sp>
        <p:nvSpPr>
          <p:cNvPr id="1643" name="Google Shape;1643;p15"/>
          <p:cNvSpPr/>
          <p:nvPr/>
        </p:nvSpPr>
        <p:spPr>
          <a:xfrm>
            <a:off x="6682450" y="3952211"/>
            <a:ext cx="5352046" cy="1138747"/>
          </a:xfrm>
          <a:prstGeom prst="rect">
            <a:avLst/>
          </a:prstGeom>
          <a:noFill/>
          <a:ln>
            <a:noFill/>
          </a:ln>
        </p:spPr>
        <p:txBody>
          <a:bodyPr spcFirstLastPara="1" wrap="square" lIns="0" tIns="30467" rIns="0" bIns="30467" anchor="t" anchorCtr="0">
            <a:spAutoFit/>
          </a:bodyPr>
          <a:lstStyle/>
          <a:p>
            <a:pPr marL="304815" marR="0" lvl="0" indent="-304815" algn="l" defTabSz="914400" rtl="0" eaLnBrk="1" fontAlgn="auto" latinLnBrk="0" hangingPunct="1">
              <a:lnSpc>
                <a:spcPct val="100000"/>
              </a:lnSpc>
              <a:spcBef>
                <a:spcPts val="0"/>
              </a:spcBef>
              <a:spcAft>
                <a:spcPts val="0"/>
              </a:spcAft>
              <a:buClr>
                <a:srgbClr val="009CDE"/>
              </a:buClr>
              <a:buSzPts val="2200"/>
              <a:buFont typeface="Noto Sans Symbols"/>
              <a:buChar char="▪"/>
              <a:tabLst/>
              <a:defRPr/>
            </a:pPr>
            <a:r>
              <a:rPr kumimoji="0" lang="en-US" sz="1200" b="0" i="0" u="none" strike="noStrike" kern="1200" cap="none" spc="0" normalizeH="0" baseline="0" noProof="0" dirty="0">
                <a:ln>
                  <a:noFill/>
                </a:ln>
                <a:solidFill>
                  <a:srgbClr val="00B050"/>
                </a:solidFill>
                <a:effectLst/>
                <a:uLnTx/>
                <a:uFillTx/>
                <a:latin typeface="Arial"/>
                <a:ea typeface="Arial"/>
                <a:cs typeface="Arial"/>
                <a:sym typeface="Arial"/>
              </a:rPr>
              <a:t>Improve incident decision support for security operators with prescriptive remediation actions </a:t>
            </a:r>
          </a:p>
          <a:p>
            <a:pPr marL="304815" marR="0" lvl="0" indent="-304815" algn="l" defTabSz="914400" rtl="0" eaLnBrk="1" fontAlgn="auto" latinLnBrk="0" hangingPunct="1">
              <a:lnSpc>
                <a:spcPct val="100000"/>
              </a:lnSpc>
              <a:spcBef>
                <a:spcPts val="400"/>
              </a:spcBef>
              <a:spcAft>
                <a:spcPts val="0"/>
              </a:spcAft>
              <a:buClr>
                <a:srgbClr val="009CDE"/>
              </a:buClr>
              <a:buSzPts val="2200"/>
              <a:buFont typeface="Noto Sans Symbols"/>
              <a:buChar char="▪"/>
              <a:tabLst/>
              <a:defRPr/>
            </a:pPr>
            <a:r>
              <a:rPr kumimoji="0" lang="en-US" sz="1200" b="0" i="0" u="none" strike="noStrike" kern="1200" cap="none" spc="0" normalizeH="0" baseline="0" noProof="0" dirty="0">
                <a:ln>
                  <a:noFill/>
                </a:ln>
                <a:solidFill>
                  <a:srgbClr val="00B050"/>
                </a:solidFill>
                <a:effectLst/>
                <a:uLnTx/>
                <a:uFillTx/>
                <a:latin typeface="Arial"/>
                <a:ea typeface="Arial"/>
                <a:cs typeface="Arial"/>
                <a:sym typeface="Arial"/>
              </a:rPr>
              <a:t>Reduce Mean Time to Respond and Recover with native and 3rd-party responses</a:t>
            </a:r>
          </a:p>
          <a:p>
            <a:pPr marL="304815" marR="0" lvl="0" indent="-304815" algn="l" defTabSz="914400" rtl="0" eaLnBrk="1" fontAlgn="auto" latinLnBrk="0" hangingPunct="1">
              <a:lnSpc>
                <a:spcPct val="100000"/>
              </a:lnSpc>
              <a:spcBef>
                <a:spcPts val="400"/>
              </a:spcBef>
              <a:spcAft>
                <a:spcPts val="400"/>
              </a:spcAft>
              <a:buClr>
                <a:srgbClr val="009CDE"/>
              </a:buClr>
              <a:buSzPts val="2200"/>
              <a:buFont typeface="Noto Sans Symbols"/>
              <a:buChar char="▪"/>
              <a:tabLst/>
              <a:defRPr/>
            </a:pPr>
            <a:r>
              <a:rPr kumimoji="0" lang="en-US" sz="1200" b="0" i="0" u="none" strike="noStrike" kern="1200" cap="none" spc="0" normalizeH="0" baseline="0" noProof="0" dirty="0">
                <a:ln>
                  <a:noFill/>
                </a:ln>
                <a:solidFill>
                  <a:srgbClr val="00B050"/>
                </a:solidFill>
                <a:effectLst/>
                <a:uLnTx/>
                <a:uFillTx/>
                <a:latin typeface="Arial"/>
                <a:ea typeface="Arial"/>
                <a:cs typeface="Arial"/>
                <a:sym typeface="Arial"/>
              </a:rPr>
              <a:t>Automate uniform remediation &amp; recovery across the organization</a:t>
            </a:r>
          </a:p>
        </p:txBody>
      </p:sp>
      <p:grpSp>
        <p:nvGrpSpPr>
          <p:cNvPr id="1765" name="Group 1764">
            <a:extLst>
              <a:ext uri="{FF2B5EF4-FFF2-40B4-BE49-F238E27FC236}">
                <a16:creationId xmlns:a16="http://schemas.microsoft.com/office/drawing/2014/main" id="{9EC8901B-A0C7-6331-4FD5-AE817A01F0E2}"/>
              </a:ext>
            </a:extLst>
          </p:cNvPr>
          <p:cNvGrpSpPr/>
          <p:nvPr/>
        </p:nvGrpSpPr>
        <p:grpSpPr>
          <a:xfrm>
            <a:off x="193235" y="5485731"/>
            <a:ext cx="1430536" cy="897591"/>
            <a:chOff x="100996" y="5235987"/>
            <a:chExt cx="1430536" cy="897591"/>
          </a:xfrm>
        </p:grpSpPr>
        <p:pic>
          <p:nvPicPr>
            <p:cNvPr id="1733" name="Picture 1732" descr="A screenshot of a computer&#10;&#10;Description automatically generated with medium confidence">
              <a:extLst>
                <a:ext uri="{FF2B5EF4-FFF2-40B4-BE49-F238E27FC236}">
                  <a16:creationId xmlns:a16="http://schemas.microsoft.com/office/drawing/2014/main" id="{EE44700B-39B2-D1A3-CC63-0611911D6857}"/>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0996" y="5235987"/>
              <a:ext cx="1430536" cy="897591"/>
            </a:xfrm>
            <a:prstGeom prst="rect">
              <a:avLst/>
            </a:prstGeom>
          </p:spPr>
        </p:pic>
        <p:sp>
          <p:nvSpPr>
            <p:cNvPr id="1734" name="Rectangle 1733">
              <a:extLst>
                <a:ext uri="{FF2B5EF4-FFF2-40B4-BE49-F238E27FC236}">
                  <a16:creationId xmlns:a16="http://schemas.microsoft.com/office/drawing/2014/main" id="{FD566891-3824-668F-186E-54445B5EC203}"/>
                </a:ext>
              </a:extLst>
            </p:cNvPr>
            <p:cNvSpPr/>
            <p:nvPr/>
          </p:nvSpPr>
          <p:spPr>
            <a:xfrm>
              <a:off x="300415" y="5326702"/>
              <a:ext cx="1035298" cy="566114"/>
            </a:xfrm>
            <a:prstGeom prst="rect">
              <a:avLst/>
            </a:prstGeom>
            <a:solidFill>
              <a:srgbClr val="00B05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35" name="Rectangle 1734">
              <a:extLst>
                <a:ext uri="{FF2B5EF4-FFF2-40B4-BE49-F238E27FC236}">
                  <a16:creationId xmlns:a16="http://schemas.microsoft.com/office/drawing/2014/main" id="{5C1DC05F-ECCF-363F-80B7-0D6C90F9BC7B}"/>
                </a:ext>
              </a:extLst>
            </p:cNvPr>
            <p:cNvSpPr/>
            <p:nvPr/>
          </p:nvSpPr>
          <p:spPr>
            <a:xfrm>
              <a:off x="310747" y="5486648"/>
              <a:ext cx="1024965"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NDR</a:t>
              </a:r>
            </a:p>
          </p:txBody>
        </p:sp>
      </p:grpSp>
      <p:grpSp>
        <p:nvGrpSpPr>
          <p:cNvPr id="1771" name="Group 1770">
            <a:extLst>
              <a:ext uri="{FF2B5EF4-FFF2-40B4-BE49-F238E27FC236}">
                <a16:creationId xmlns:a16="http://schemas.microsoft.com/office/drawing/2014/main" id="{39AF8F76-E0D6-F276-E1E0-3EBD84462006}"/>
              </a:ext>
            </a:extLst>
          </p:cNvPr>
          <p:cNvGrpSpPr/>
          <p:nvPr/>
        </p:nvGrpSpPr>
        <p:grpSpPr>
          <a:xfrm>
            <a:off x="10542956" y="5485731"/>
            <a:ext cx="1430536" cy="897591"/>
            <a:chOff x="10450717" y="5235987"/>
            <a:chExt cx="1430536" cy="897591"/>
          </a:xfrm>
        </p:grpSpPr>
        <p:pic>
          <p:nvPicPr>
            <p:cNvPr id="1737" name="Picture 1736" descr="A screenshot of a computer&#10;&#10;Description automatically generated with medium confidence">
              <a:extLst>
                <a:ext uri="{FF2B5EF4-FFF2-40B4-BE49-F238E27FC236}">
                  <a16:creationId xmlns:a16="http://schemas.microsoft.com/office/drawing/2014/main" id="{F9B35ADC-8516-AFBB-2376-BABE577C449F}"/>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450717" y="5235987"/>
              <a:ext cx="1430536" cy="897591"/>
            </a:xfrm>
            <a:prstGeom prst="rect">
              <a:avLst/>
            </a:prstGeom>
          </p:spPr>
        </p:pic>
        <p:sp>
          <p:nvSpPr>
            <p:cNvPr id="1764" name="Rectangle 1763">
              <a:extLst>
                <a:ext uri="{FF2B5EF4-FFF2-40B4-BE49-F238E27FC236}">
                  <a16:creationId xmlns:a16="http://schemas.microsoft.com/office/drawing/2014/main" id="{9C4C89C5-978A-0DE2-7F1C-9F1416021798}"/>
                </a:ext>
              </a:extLst>
            </p:cNvPr>
            <p:cNvSpPr/>
            <p:nvPr/>
          </p:nvSpPr>
          <p:spPr>
            <a:xfrm>
              <a:off x="10648336" y="5326702"/>
              <a:ext cx="1035298" cy="566114"/>
            </a:xfrm>
            <a:prstGeom prst="rect">
              <a:avLst/>
            </a:prstGeom>
            <a:solidFill>
              <a:srgbClr val="00B0F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39" name="Rectangle 1738">
              <a:extLst>
                <a:ext uri="{FF2B5EF4-FFF2-40B4-BE49-F238E27FC236}">
                  <a16:creationId xmlns:a16="http://schemas.microsoft.com/office/drawing/2014/main" id="{BFCC33AC-0A26-9264-D3B5-80CD5DC5F4B7}"/>
                </a:ext>
              </a:extLst>
            </p:cNvPr>
            <p:cNvSpPr/>
            <p:nvPr/>
          </p:nvSpPr>
          <p:spPr>
            <a:xfrm>
              <a:off x="10815765" y="5508319"/>
              <a:ext cx="704040"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SOAR</a:t>
              </a:r>
            </a:p>
          </p:txBody>
        </p:sp>
      </p:grpSp>
      <p:grpSp>
        <p:nvGrpSpPr>
          <p:cNvPr id="1770" name="Group 1769">
            <a:extLst>
              <a:ext uri="{FF2B5EF4-FFF2-40B4-BE49-F238E27FC236}">
                <a16:creationId xmlns:a16="http://schemas.microsoft.com/office/drawing/2014/main" id="{C5FDF748-0139-BFC2-AD99-2757A108536D}"/>
              </a:ext>
            </a:extLst>
          </p:cNvPr>
          <p:cNvGrpSpPr/>
          <p:nvPr/>
        </p:nvGrpSpPr>
        <p:grpSpPr>
          <a:xfrm>
            <a:off x="8818005" y="5485731"/>
            <a:ext cx="1430536" cy="897591"/>
            <a:chOff x="8725766" y="5235987"/>
            <a:chExt cx="1430536" cy="897591"/>
          </a:xfrm>
        </p:grpSpPr>
        <p:pic>
          <p:nvPicPr>
            <p:cNvPr id="1741" name="Picture 1740" descr="A screenshot of a computer&#10;&#10;Description automatically generated with medium confidence">
              <a:extLst>
                <a:ext uri="{FF2B5EF4-FFF2-40B4-BE49-F238E27FC236}">
                  <a16:creationId xmlns:a16="http://schemas.microsoft.com/office/drawing/2014/main" id="{C62F4201-7E6C-2424-B3FF-829CB224E494}"/>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725766" y="5235987"/>
              <a:ext cx="1430536" cy="897591"/>
            </a:xfrm>
            <a:prstGeom prst="rect">
              <a:avLst/>
            </a:prstGeom>
          </p:spPr>
        </p:pic>
        <p:sp>
          <p:nvSpPr>
            <p:cNvPr id="1742" name="Rectangle 1741">
              <a:extLst>
                <a:ext uri="{FF2B5EF4-FFF2-40B4-BE49-F238E27FC236}">
                  <a16:creationId xmlns:a16="http://schemas.microsoft.com/office/drawing/2014/main" id="{3F6A09CE-3A31-F969-3A37-0A6FD97F9BB0}"/>
                </a:ext>
              </a:extLst>
            </p:cNvPr>
            <p:cNvSpPr/>
            <p:nvPr/>
          </p:nvSpPr>
          <p:spPr>
            <a:xfrm>
              <a:off x="8925185" y="5326702"/>
              <a:ext cx="1035298" cy="566114"/>
            </a:xfrm>
            <a:prstGeom prst="rect">
              <a:avLst/>
            </a:prstGeom>
            <a:solidFill>
              <a:srgbClr val="00B0F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43" name="Rectangle 1742">
              <a:extLst>
                <a:ext uri="{FF2B5EF4-FFF2-40B4-BE49-F238E27FC236}">
                  <a16:creationId xmlns:a16="http://schemas.microsoft.com/office/drawing/2014/main" id="{FE226A86-08C1-A4A1-3B72-262AF96EFC65}"/>
                </a:ext>
              </a:extLst>
            </p:cNvPr>
            <p:cNvSpPr/>
            <p:nvPr/>
          </p:nvSpPr>
          <p:spPr>
            <a:xfrm>
              <a:off x="8816831" y="5486648"/>
              <a:ext cx="1252010"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Vulnerability</a:t>
              </a:r>
            </a:p>
          </p:txBody>
        </p:sp>
      </p:grpSp>
      <p:grpSp>
        <p:nvGrpSpPr>
          <p:cNvPr id="1769" name="Group 1768">
            <a:extLst>
              <a:ext uri="{FF2B5EF4-FFF2-40B4-BE49-F238E27FC236}">
                <a16:creationId xmlns:a16="http://schemas.microsoft.com/office/drawing/2014/main" id="{F2800371-2A81-E6D6-CF49-420FA71BADFC}"/>
              </a:ext>
            </a:extLst>
          </p:cNvPr>
          <p:cNvGrpSpPr/>
          <p:nvPr/>
        </p:nvGrpSpPr>
        <p:grpSpPr>
          <a:xfrm>
            <a:off x="7093051" y="5485731"/>
            <a:ext cx="1430536" cy="897591"/>
            <a:chOff x="7000812" y="5235987"/>
            <a:chExt cx="1430536" cy="897591"/>
          </a:xfrm>
        </p:grpSpPr>
        <p:pic>
          <p:nvPicPr>
            <p:cNvPr id="1745" name="Picture 1744" descr="A screenshot of a computer&#10;&#10;Description automatically generated with medium confidence">
              <a:extLst>
                <a:ext uri="{FF2B5EF4-FFF2-40B4-BE49-F238E27FC236}">
                  <a16:creationId xmlns:a16="http://schemas.microsoft.com/office/drawing/2014/main" id="{28F34862-B55E-B83A-39E0-B67A2A85034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000812" y="5235987"/>
              <a:ext cx="1430536" cy="897591"/>
            </a:xfrm>
            <a:prstGeom prst="rect">
              <a:avLst/>
            </a:prstGeom>
          </p:spPr>
        </p:pic>
        <p:sp>
          <p:nvSpPr>
            <p:cNvPr id="1746" name="Rectangle 1745">
              <a:extLst>
                <a:ext uri="{FF2B5EF4-FFF2-40B4-BE49-F238E27FC236}">
                  <a16:creationId xmlns:a16="http://schemas.microsoft.com/office/drawing/2014/main" id="{B79F82EC-F763-3EAF-86F4-1D6C8EF9CA8D}"/>
                </a:ext>
              </a:extLst>
            </p:cNvPr>
            <p:cNvSpPr/>
            <p:nvPr/>
          </p:nvSpPr>
          <p:spPr>
            <a:xfrm>
              <a:off x="7200231" y="5326702"/>
              <a:ext cx="1035298" cy="566114"/>
            </a:xfrm>
            <a:prstGeom prst="rect">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47" name="Rectangle 1746">
              <a:extLst>
                <a:ext uri="{FF2B5EF4-FFF2-40B4-BE49-F238E27FC236}">
                  <a16:creationId xmlns:a16="http://schemas.microsoft.com/office/drawing/2014/main" id="{C7A71AD8-51D7-8060-6AD5-581DF8CF4409}"/>
                </a:ext>
              </a:extLst>
            </p:cNvPr>
            <p:cNvSpPr/>
            <p:nvPr/>
          </p:nvSpPr>
          <p:spPr>
            <a:xfrm>
              <a:off x="7435591" y="5508319"/>
              <a:ext cx="564578"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EDR</a:t>
              </a:r>
            </a:p>
          </p:txBody>
        </p:sp>
      </p:grpSp>
      <p:grpSp>
        <p:nvGrpSpPr>
          <p:cNvPr id="1768" name="Group 1767">
            <a:extLst>
              <a:ext uri="{FF2B5EF4-FFF2-40B4-BE49-F238E27FC236}">
                <a16:creationId xmlns:a16="http://schemas.microsoft.com/office/drawing/2014/main" id="{1B9E9148-BA42-2798-9417-DD5595B1DED5}"/>
              </a:ext>
            </a:extLst>
          </p:cNvPr>
          <p:cNvGrpSpPr/>
          <p:nvPr/>
        </p:nvGrpSpPr>
        <p:grpSpPr>
          <a:xfrm>
            <a:off x="5368097" y="5485731"/>
            <a:ext cx="1430536" cy="897591"/>
            <a:chOff x="5275858" y="5235987"/>
            <a:chExt cx="1430536" cy="897591"/>
          </a:xfrm>
        </p:grpSpPr>
        <p:grpSp>
          <p:nvGrpSpPr>
            <p:cNvPr id="1752" name="Group 1751">
              <a:extLst>
                <a:ext uri="{FF2B5EF4-FFF2-40B4-BE49-F238E27FC236}">
                  <a16:creationId xmlns:a16="http://schemas.microsoft.com/office/drawing/2014/main" id="{33D8992D-CD6B-E11C-F8F5-F5EB79AD5EC4}"/>
                </a:ext>
              </a:extLst>
            </p:cNvPr>
            <p:cNvGrpSpPr/>
            <p:nvPr/>
          </p:nvGrpSpPr>
          <p:grpSpPr>
            <a:xfrm>
              <a:off x="5275858" y="5235987"/>
              <a:ext cx="1430536" cy="897591"/>
              <a:chOff x="4038551" y="3260023"/>
              <a:chExt cx="1665013" cy="1044714"/>
            </a:xfrm>
          </p:grpSpPr>
          <p:pic>
            <p:nvPicPr>
              <p:cNvPr id="1754" name="Picture 1753" descr="A screenshot of a computer&#10;&#10;Description automatically generated with medium confidence">
                <a:extLst>
                  <a:ext uri="{FF2B5EF4-FFF2-40B4-BE49-F238E27FC236}">
                    <a16:creationId xmlns:a16="http://schemas.microsoft.com/office/drawing/2014/main" id="{AA4A6135-4CCB-7F08-F6BE-6D7785FDEA9D}"/>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038551" y="3260023"/>
                <a:ext cx="1665013" cy="1044714"/>
              </a:xfrm>
              <a:prstGeom prst="rect">
                <a:avLst/>
              </a:prstGeom>
            </p:spPr>
          </p:pic>
          <p:sp>
            <p:nvSpPr>
              <p:cNvPr id="1755" name="Rectangle 1754">
                <a:extLst>
                  <a:ext uri="{FF2B5EF4-FFF2-40B4-BE49-F238E27FC236}">
                    <a16:creationId xmlns:a16="http://schemas.microsoft.com/office/drawing/2014/main" id="{2962A11F-36A0-19A2-2B73-40FB831CDFDB}"/>
                  </a:ext>
                </a:extLst>
              </p:cNvPr>
              <p:cNvSpPr/>
              <p:nvPr/>
            </p:nvSpPr>
            <p:spPr>
              <a:xfrm>
                <a:off x="4270656" y="3365607"/>
                <a:ext cx="1204992" cy="658905"/>
              </a:xfrm>
              <a:prstGeom prst="rect">
                <a:avLst/>
              </a:prstGeom>
              <a:solidFill>
                <a:schemeClr val="accent3">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sp>
          <p:nvSpPr>
            <p:cNvPr id="1753" name="Rectangle 1752">
              <a:extLst>
                <a:ext uri="{FF2B5EF4-FFF2-40B4-BE49-F238E27FC236}">
                  <a16:creationId xmlns:a16="http://schemas.microsoft.com/office/drawing/2014/main" id="{BCE94971-E62B-032A-5243-4136C7F601C8}"/>
                </a:ext>
              </a:extLst>
            </p:cNvPr>
            <p:cNvSpPr/>
            <p:nvPr/>
          </p:nvSpPr>
          <p:spPr>
            <a:xfrm>
              <a:off x="5453354" y="5508319"/>
              <a:ext cx="107914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Playbooks</a:t>
              </a:r>
            </a:p>
          </p:txBody>
        </p:sp>
      </p:grpSp>
      <p:grpSp>
        <p:nvGrpSpPr>
          <p:cNvPr id="1767" name="Group 1766">
            <a:extLst>
              <a:ext uri="{FF2B5EF4-FFF2-40B4-BE49-F238E27FC236}">
                <a16:creationId xmlns:a16="http://schemas.microsoft.com/office/drawing/2014/main" id="{D9C2BBA0-FB6F-0F8B-8EC7-E55C7330E797}"/>
              </a:ext>
            </a:extLst>
          </p:cNvPr>
          <p:cNvGrpSpPr/>
          <p:nvPr/>
        </p:nvGrpSpPr>
        <p:grpSpPr>
          <a:xfrm>
            <a:off x="3643143" y="5485731"/>
            <a:ext cx="1430536" cy="897591"/>
            <a:chOff x="3550904" y="5235987"/>
            <a:chExt cx="1430536" cy="897591"/>
          </a:xfrm>
        </p:grpSpPr>
        <p:pic>
          <p:nvPicPr>
            <p:cNvPr id="1757" name="Picture 1756" descr="A screenshot of a computer&#10;&#10;Description automatically generated with medium confidence">
              <a:extLst>
                <a:ext uri="{FF2B5EF4-FFF2-40B4-BE49-F238E27FC236}">
                  <a16:creationId xmlns:a16="http://schemas.microsoft.com/office/drawing/2014/main" id="{28FE7026-884D-FBAC-15A2-CEE37718114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550904" y="5235987"/>
              <a:ext cx="1430536" cy="897591"/>
            </a:xfrm>
            <a:prstGeom prst="rect">
              <a:avLst/>
            </a:prstGeom>
          </p:spPr>
        </p:pic>
        <p:sp>
          <p:nvSpPr>
            <p:cNvPr id="1758" name="Rectangle 1757">
              <a:extLst>
                <a:ext uri="{FF2B5EF4-FFF2-40B4-BE49-F238E27FC236}">
                  <a16:creationId xmlns:a16="http://schemas.microsoft.com/office/drawing/2014/main" id="{D0B5A560-8B01-DA24-3367-01D4F0166A85}"/>
                </a:ext>
              </a:extLst>
            </p:cNvPr>
            <p:cNvSpPr/>
            <p:nvPr/>
          </p:nvSpPr>
          <p:spPr>
            <a:xfrm>
              <a:off x="3750323" y="5326702"/>
              <a:ext cx="1035298" cy="566114"/>
            </a:xfrm>
            <a:prstGeom prst="rect">
              <a:avLst/>
            </a:prstGeom>
            <a:solidFill>
              <a:schemeClr val="accent3">
                <a:lumMod val="40000"/>
                <a:lumOff val="6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759" name="Rectangle 1758">
              <a:extLst>
                <a:ext uri="{FF2B5EF4-FFF2-40B4-BE49-F238E27FC236}">
                  <a16:creationId xmlns:a16="http://schemas.microsoft.com/office/drawing/2014/main" id="{7290B073-85FE-2FD6-F625-EBB97C8F54F7}"/>
                </a:ext>
              </a:extLst>
            </p:cNvPr>
            <p:cNvSpPr/>
            <p:nvPr/>
          </p:nvSpPr>
          <p:spPr>
            <a:xfrm>
              <a:off x="3750323" y="5378926"/>
              <a:ext cx="1035298"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Threat Hunting</a:t>
              </a:r>
            </a:p>
          </p:txBody>
        </p:sp>
      </p:grpSp>
      <p:grpSp>
        <p:nvGrpSpPr>
          <p:cNvPr id="1766" name="Group 1765">
            <a:extLst>
              <a:ext uri="{FF2B5EF4-FFF2-40B4-BE49-F238E27FC236}">
                <a16:creationId xmlns:a16="http://schemas.microsoft.com/office/drawing/2014/main" id="{AA431B95-AC06-E54F-63CE-83D4378CF974}"/>
              </a:ext>
            </a:extLst>
          </p:cNvPr>
          <p:cNvGrpSpPr/>
          <p:nvPr/>
        </p:nvGrpSpPr>
        <p:grpSpPr>
          <a:xfrm>
            <a:off x="1918189" y="5485731"/>
            <a:ext cx="1430536" cy="897591"/>
            <a:chOff x="1825950" y="5235987"/>
            <a:chExt cx="1430536" cy="897591"/>
          </a:xfrm>
        </p:grpSpPr>
        <p:pic>
          <p:nvPicPr>
            <p:cNvPr id="1761" name="Picture 1760" descr="A screenshot of a computer&#10;&#10;Description automatically generated with medium confidence">
              <a:extLst>
                <a:ext uri="{FF2B5EF4-FFF2-40B4-BE49-F238E27FC236}">
                  <a16:creationId xmlns:a16="http://schemas.microsoft.com/office/drawing/2014/main" id="{A30243F0-6F7F-5D22-A798-49BCD8E7E7B3}"/>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825950" y="5235987"/>
              <a:ext cx="1430536" cy="897591"/>
            </a:xfrm>
            <a:prstGeom prst="rect">
              <a:avLst/>
            </a:prstGeom>
          </p:spPr>
        </p:pic>
        <p:sp>
          <p:nvSpPr>
            <p:cNvPr id="1762" name="Rectangle 1761">
              <a:extLst>
                <a:ext uri="{FF2B5EF4-FFF2-40B4-BE49-F238E27FC236}">
                  <a16:creationId xmlns:a16="http://schemas.microsoft.com/office/drawing/2014/main" id="{632651E0-48A1-16FA-BA54-FEE0BA0F93A8}"/>
                </a:ext>
              </a:extLst>
            </p:cNvPr>
            <p:cNvSpPr/>
            <p:nvPr/>
          </p:nvSpPr>
          <p:spPr>
            <a:xfrm>
              <a:off x="2025369" y="5326702"/>
              <a:ext cx="1035298" cy="566114"/>
            </a:xfrm>
            <a:prstGeom prst="rect">
              <a:avLst/>
            </a:prstGeom>
            <a:solidFill>
              <a:srgbClr val="00B05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63" name="Rectangle 1762">
              <a:extLst>
                <a:ext uri="{FF2B5EF4-FFF2-40B4-BE49-F238E27FC236}">
                  <a16:creationId xmlns:a16="http://schemas.microsoft.com/office/drawing/2014/main" id="{706A7EF6-D353-6A98-5B21-D1AB954E5DF1}"/>
                </a:ext>
              </a:extLst>
            </p:cNvPr>
            <p:cNvSpPr/>
            <p:nvPr/>
          </p:nvSpPr>
          <p:spPr>
            <a:xfrm>
              <a:off x="2035698" y="5378926"/>
              <a:ext cx="1024969"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NG </a:t>
              </a:r>
              <a:b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b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SIEM</a:t>
              </a:r>
            </a:p>
          </p:txBody>
        </p:sp>
      </p:grpSp>
      <p:grpSp>
        <p:nvGrpSpPr>
          <p:cNvPr id="1622" name="Group 1621">
            <a:extLst>
              <a:ext uri="{FF2B5EF4-FFF2-40B4-BE49-F238E27FC236}">
                <a16:creationId xmlns:a16="http://schemas.microsoft.com/office/drawing/2014/main" id="{C67B356A-BB55-5EE1-CFCE-925EE0CFE841}"/>
              </a:ext>
            </a:extLst>
          </p:cNvPr>
          <p:cNvGrpSpPr/>
          <p:nvPr/>
        </p:nvGrpSpPr>
        <p:grpSpPr>
          <a:xfrm>
            <a:off x="342217" y="2318174"/>
            <a:ext cx="6400358" cy="2877051"/>
            <a:chOff x="5910837" y="1560512"/>
            <a:chExt cx="6254592" cy="2811527"/>
          </a:xfrm>
        </p:grpSpPr>
        <p:sp>
          <p:nvSpPr>
            <p:cNvPr id="3" name="Rectangle 2">
              <a:extLst>
                <a:ext uri="{FF2B5EF4-FFF2-40B4-BE49-F238E27FC236}">
                  <a16:creationId xmlns:a16="http://schemas.microsoft.com/office/drawing/2014/main" id="{FA22EE95-DF63-AFE8-8F5B-2F49D6690BB0}"/>
                </a:ext>
              </a:extLst>
            </p:cNvPr>
            <p:cNvSpPr/>
            <p:nvPr/>
          </p:nvSpPr>
          <p:spPr>
            <a:xfrm>
              <a:off x="6259606" y="1681242"/>
              <a:ext cx="1465870" cy="2503839"/>
            </a:xfrm>
            <a:prstGeom prst="rect">
              <a:avLst/>
            </a:prstGeom>
            <a:solidFill>
              <a:srgbClr val="63666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3550E4BC-9007-107C-2BDE-144226809337}"/>
                </a:ext>
              </a:extLst>
            </p:cNvPr>
            <p:cNvSpPr txBox="1"/>
            <p:nvPr/>
          </p:nvSpPr>
          <p:spPr>
            <a:xfrm rot="16200000">
              <a:off x="5609736" y="1861613"/>
              <a:ext cx="848424" cy="246221"/>
            </a:xfrm>
            <a:prstGeom prst="rect">
              <a:avLst/>
            </a:prstGeom>
            <a:noFill/>
            <a:extLst>
              <a:ext uri="{909E8E84-426E-40DD-AFC4-6F175D3DCCD1}">
                <a14:hiddenFill xmlns:a14="http://schemas.microsoft.com/office/drawing/2010/main">
                  <a:solidFill>
                    <a:srgbClr val="63666A"/>
                  </a:solidFill>
                </a14:hiddenFill>
              </a:ext>
            </a:ex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all" spc="0" normalizeH="0" baseline="0" noProof="0">
                  <a:ln>
                    <a:noFill/>
                  </a:ln>
                  <a:solidFill>
                    <a:srgbClr val="00B0F0"/>
                  </a:solidFill>
                  <a:effectLst/>
                  <a:uLnTx/>
                  <a:uFillTx/>
                  <a:latin typeface="Arial" panose="020B0604020202020204" pitchFamily="34" charset="0"/>
                  <a:ea typeface="+mn-ea"/>
                  <a:cs typeface="+mn-cs"/>
                </a:rPr>
                <a:t>MATURITY </a:t>
              </a:r>
            </a:p>
          </p:txBody>
        </p:sp>
        <p:grpSp>
          <p:nvGrpSpPr>
            <p:cNvPr id="6" name="Group 5">
              <a:extLst>
                <a:ext uri="{FF2B5EF4-FFF2-40B4-BE49-F238E27FC236}">
                  <a16:creationId xmlns:a16="http://schemas.microsoft.com/office/drawing/2014/main" id="{9BDFAEB3-3AFC-FAC6-233D-747138BAB05A}"/>
                </a:ext>
              </a:extLst>
            </p:cNvPr>
            <p:cNvGrpSpPr/>
            <p:nvPr/>
          </p:nvGrpSpPr>
          <p:grpSpPr>
            <a:xfrm>
              <a:off x="6630516" y="2526025"/>
              <a:ext cx="719021" cy="389750"/>
              <a:chOff x="1341748" y="3892200"/>
              <a:chExt cx="799851" cy="433565"/>
            </a:xfrm>
          </p:grpSpPr>
          <p:pic>
            <p:nvPicPr>
              <p:cNvPr id="1620" name="Picture 32">
                <a:extLst>
                  <a:ext uri="{FF2B5EF4-FFF2-40B4-BE49-F238E27FC236}">
                    <a16:creationId xmlns:a16="http://schemas.microsoft.com/office/drawing/2014/main" id="{36EFB1DE-8155-27CE-46BF-FC22BEDFB092}"/>
                  </a:ext>
                </a:extLst>
              </p:cNvPr>
              <p:cNvPicPr>
                <a:picLocks noChangeAspect="1"/>
              </p:cNvPicPr>
              <p:nvPr/>
            </p:nvPicPr>
            <p:blipFill>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609903" y="3892200"/>
                <a:ext cx="263542" cy="175092"/>
              </a:xfrm>
              <a:prstGeom prst="rect">
                <a:avLst/>
              </a:prstGeom>
            </p:spPr>
          </p:pic>
          <p:sp>
            <p:nvSpPr>
              <p:cNvPr id="1621" name="TextBox 1620">
                <a:extLst>
                  <a:ext uri="{FF2B5EF4-FFF2-40B4-BE49-F238E27FC236}">
                    <a16:creationId xmlns:a16="http://schemas.microsoft.com/office/drawing/2014/main" id="{9933B0CD-FF24-FB9A-5693-5AE28C589E3F}"/>
                  </a:ext>
                </a:extLst>
              </p:cNvPr>
              <p:cNvSpPr txBox="1"/>
              <p:nvPr/>
            </p:nvSpPr>
            <p:spPr>
              <a:xfrm>
                <a:off x="1341748" y="4086101"/>
                <a:ext cx="799851" cy="239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Arial" panose="020B0604020202020204" pitchFamily="34" charset="0"/>
                    <a:ea typeface="+mn-ea"/>
                    <a:cs typeface="+mn-cs"/>
                  </a:rPr>
                  <a:t>FIREWALL</a:t>
                </a:r>
              </a:p>
            </p:txBody>
          </p:sp>
        </p:grpSp>
        <p:sp>
          <p:nvSpPr>
            <p:cNvPr id="7" name="Rectangle 6">
              <a:extLst>
                <a:ext uri="{FF2B5EF4-FFF2-40B4-BE49-F238E27FC236}">
                  <a16:creationId xmlns:a16="http://schemas.microsoft.com/office/drawing/2014/main" id="{3BE4B02B-06CA-83BA-7596-936CF7C6EB11}"/>
                </a:ext>
              </a:extLst>
            </p:cNvPr>
            <p:cNvSpPr/>
            <p:nvPr/>
          </p:nvSpPr>
          <p:spPr>
            <a:xfrm>
              <a:off x="7922139" y="1676680"/>
              <a:ext cx="1731845" cy="2503839"/>
            </a:xfrm>
            <a:prstGeom prst="rect">
              <a:avLst/>
            </a:prstGeom>
            <a:solidFill>
              <a:srgbClr val="63666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6C28018E-B61A-BD00-C062-94B9938CEF6A}"/>
                </a:ext>
              </a:extLst>
            </p:cNvPr>
            <p:cNvSpPr/>
            <p:nvPr/>
          </p:nvSpPr>
          <p:spPr>
            <a:xfrm>
              <a:off x="9821658" y="1681242"/>
              <a:ext cx="1959155" cy="2503839"/>
            </a:xfrm>
            <a:prstGeom prst="rect">
              <a:avLst/>
            </a:prstGeom>
            <a:solidFill>
              <a:srgbClr val="63666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9" name="Group 8">
              <a:extLst>
                <a:ext uri="{FF2B5EF4-FFF2-40B4-BE49-F238E27FC236}">
                  <a16:creationId xmlns:a16="http://schemas.microsoft.com/office/drawing/2014/main" id="{988490D0-750C-F73D-E2F3-29A3D43F55E1}"/>
                </a:ext>
              </a:extLst>
            </p:cNvPr>
            <p:cNvGrpSpPr/>
            <p:nvPr/>
          </p:nvGrpSpPr>
          <p:grpSpPr>
            <a:xfrm>
              <a:off x="9071686" y="2902404"/>
              <a:ext cx="563034" cy="406975"/>
              <a:chOff x="4103275" y="4522461"/>
              <a:chExt cx="626328" cy="452725"/>
            </a:xfrm>
          </p:grpSpPr>
          <p:sp>
            <p:nvSpPr>
              <p:cNvPr id="1618" name="TextBox 1617">
                <a:extLst>
                  <a:ext uri="{FF2B5EF4-FFF2-40B4-BE49-F238E27FC236}">
                    <a16:creationId xmlns:a16="http://schemas.microsoft.com/office/drawing/2014/main" id="{A6B5C80B-CD36-BEC1-20BA-F05E84D6C47E}"/>
                  </a:ext>
                </a:extLst>
              </p:cNvPr>
              <p:cNvSpPr txBox="1"/>
              <p:nvPr/>
            </p:nvSpPr>
            <p:spPr>
              <a:xfrm>
                <a:off x="4103275" y="4667048"/>
                <a:ext cx="626328" cy="308138"/>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Arial" panose="020B0604020202020204" pitchFamily="34" charset="0"/>
                    <a:ea typeface="+mn-ea"/>
                    <a:cs typeface="+mn-cs"/>
                  </a:rPr>
                  <a:t> THREAT HUNTING</a:t>
                </a:r>
              </a:p>
            </p:txBody>
          </p:sp>
          <p:pic>
            <p:nvPicPr>
              <p:cNvPr id="1619" name="Graphic 1618">
                <a:extLst>
                  <a:ext uri="{FF2B5EF4-FFF2-40B4-BE49-F238E27FC236}">
                    <a16:creationId xmlns:a16="http://schemas.microsoft.com/office/drawing/2014/main" id="{38C4F0C9-817A-6444-44D0-2DB6DDAD6690}"/>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43210" y="4522461"/>
                <a:ext cx="159075" cy="173676"/>
              </a:xfrm>
              <a:prstGeom prst="rect">
                <a:avLst/>
              </a:prstGeom>
            </p:spPr>
          </p:pic>
        </p:grpSp>
        <p:sp>
          <p:nvSpPr>
            <p:cNvPr id="10" name="TextBox 9">
              <a:extLst>
                <a:ext uri="{FF2B5EF4-FFF2-40B4-BE49-F238E27FC236}">
                  <a16:creationId xmlns:a16="http://schemas.microsoft.com/office/drawing/2014/main" id="{CF9A48E5-2BDB-5B25-B017-44D2D90B93B5}"/>
                </a:ext>
              </a:extLst>
            </p:cNvPr>
            <p:cNvSpPr txBox="1"/>
            <p:nvPr/>
          </p:nvSpPr>
          <p:spPr>
            <a:xfrm>
              <a:off x="9882565" y="2397771"/>
              <a:ext cx="184726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Single Platform, Detect, </a:t>
              </a:r>
              <a:br>
                <a:rPr kumimoji="0" lang="en-US" sz="11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br>
              <a:r>
                <a:rPr kumimoji="0" lang="en-US" sz="11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Correlate, &amp; Respond</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grpSp>
          <p:nvGrpSpPr>
            <p:cNvPr id="11" name="Group 10">
              <a:extLst>
                <a:ext uri="{FF2B5EF4-FFF2-40B4-BE49-F238E27FC236}">
                  <a16:creationId xmlns:a16="http://schemas.microsoft.com/office/drawing/2014/main" id="{9BF44EB7-D854-854F-319A-87CC35CAE9A4}"/>
                </a:ext>
              </a:extLst>
            </p:cNvPr>
            <p:cNvGrpSpPr/>
            <p:nvPr/>
          </p:nvGrpSpPr>
          <p:grpSpPr>
            <a:xfrm>
              <a:off x="8543722" y="2437595"/>
              <a:ext cx="470627" cy="359321"/>
              <a:chOff x="4002307" y="3392682"/>
              <a:chExt cx="523533" cy="399715"/>
            </a:xfrm>
          </p:grpSpPr>
          <p:pic>
            <p:nvPicPr>
              <p:cNvPr id="1616" name="Picture 2">
                <a:extLst>
                  <a:ext uri="{FF2B5EF4-FFF2-40B4-BE49-F238E27FC236}">
                    <a16:creationId xmlns:a16="http://schemas.microsoft.com/office/drawing/2014/main" id="{441D53CB-73B3-7D4B-6CBE-9E9CBD1CAC05}"/>
                  </a:ext>
                </a:extLst>
              </p:cNvPr>
              <p:cNvPicPr>
                <a:picLocks noChangeAspect="1" noChangeArrowheads="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bwMode="auto">
              <a:xfrm>
                <a:off x="4112720" y="3392682"/>
                <a:ext cx="302707" cy="192235"/>
              </a:xfrm>
              <a:prstGeom prst="rect">
                <a:avLst/>
              </a:prstGeom>
              <a:noFill/>
              <a:extLst>
                <a:ext uri="{909E8E84-426E-40DD-AFC4-6F175D3DCCD1}">
                  <a14:hiddenFill xmlns:a14="http://schemas.microsoft.com/office/drawing/2010/main">
                    <a:solidFill>
                      <a:srgbClr val="FFFFFF"/>
                    </a:solidFill>
                  </a14:hiddenFill>
                </a:ext>
              </a:extLst>
            </p:spPr>
          </p:pic>
          <p:sp>
            <p:nvSpPr>
              <p:cNvPr id="1617" name="TextBox 1616">
                <a:extLst>
                  <a:ext uri="{FF2B5EF4-FFF2-40B4-BE49-F238E27FC236}">
                    <a16:creationId xmlns:a16="http://schemas.microsoft.com/office/drawing/2014/main" id="{B6B6EE6A-006F-D2D5-690A-74BB17818484}"/>
                  </a:ext>
                </a:extLst>
              </p:cNvPr>
              <p:cNvSpPr txBox="1"/>
              <p:nvPr/>
            </p:nvSpPr>
            <p:spPr>
              <a:xfrm>
                <a:off x="4002307" y="3586971"/>
                <a:ext cx="523533" cy="20542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Arial" panose="020B0604020202020204" pitchFamily="34" charset="0"/>
                    <a:ea typeface="+mn-ea"/>
                    <a:cs typeface="+mn-cs"/>
                  </a:rPr>
                  <a:t>SIEM</a:t>
                </a:r>
              </a:p>
            </p:txBody>
          </p:sp>
        </p:grpSp>
        <p:grpSp>
          <p:nvGrpSpPr>
            <p:cNvPr id="12" name="Group 11">
              <a:extLst>
                <a:ext uri="{FF2B5EF4-FFF2-40B4-BE49-F238E27FC236}">
                  <a16:creationId xmlns:a16="http://schemas.microsoft.com/office/drawing/2014/main" id="{9C52A2A5-7380-A708-3F1D-F7BF8664E181}"/>
                </a:ext>
              </a:extLst>
            </p:cNvPr>
            <p:cNvGrpSpPr/>
            <p:nvPr/>
          </p:nvGrpSpPr>
          <p:grpSpPr>
            <a:xfrm>
              <a:off x="9021213" y="2430580"/>
              <a:ext cx="636402" cy="373351"/>
              <a:chOff x="4057060" y="3854039"/>
              <a:chExt cx="707944" cy="415322"/>
            </a:xfrm>
          </p:grpSpPr>
          <p:sp>
            <p:nvSpPr>
              <p:cNvPr id="1614" name="TextBox 1613">
                <a:extLst>
                  <a:ext uri="{FF2B5EF4-FFF2-40B4-BE49-F238E27FC236}">
                    <a16:creationId xmlns:a16="http://schemas.microsoft.com/office/drawing/2014/main" id="{9AB8AE0B-EF00-3E5D-C479-C75CB60BADEC}"/>
                  </a:ext>
                </a:extLst>
              </p:cNvPr>
              <p:cNvSpPr txBox="1"/>
              <p:nvPr/>
            </p:nvSpPr>
            <p:spPr>
              <a:xfrm>
                <a:off x="4057060" y="4063935"/>
                <a:ext cx="707944" cy="20542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Arial" panose="020B0604020202020204" pitchFamily="34" charset="0"/>
                    <a:ea typeface="+mn-ea"/>
                    <a:cs typeface="+mn-cs"/>
                  </a:rPr>
                  <a:t>ENDPOINTS </a:t>
                </a:r>
              </a:p>
            </p:txBody>
          </p:sp>
          <p:pic>
            <p:nvPicPr>
              <p:cNvPr id="1615" name="Picture 40">
                <a:extLst>
                  <a:ext uri="{FF2B5EF4-FFF2-40B4-BE49-F238E27FC236}">
                    <a16:creationId xmlns:a16="http://schemas.microsoft.com/office/drawing/2014/main" id="{95EC83BB-915B-6E27-AA51-9942E6FE47EB}"/>
                  </a:ext>
                </a:extLst>
              </p:cNvPr>
              <p:cNvPicPr>
                <a:picLocks noChangeAspect="1"/>
              </p:cNvPicPr>
              <p:nvPr/>
            </p:nvPicPr>
            <p:blipFill>
              <a:blip r:embed="rId10" cstate="email">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4332579" y="3854039"/>
                <a:ext cx="222062" cy="210467"/>
              </a:xfrm>
              <a:prstGeom prst="rect">
                <a:avLst/>
              </a:prstGeom>
            </p:spPr>
          </p:pic>
        </p:grpSp>
        <p:sp>
          <p:nvSpPr>
            <p:cNvPr id="13" name="Arrow: Right 22">
              <a:extLst>
                <a:ext uri="{FF2B5EF4-FFF2-40B4-BE49-F238E27FC236}">
                  <a16:creationId xmlns:a16="http://schemas.microsoft.com/office/drawing/2014/main" id="{CC1C11F4-7079-9471-7876-533A59FCF8C5}"/>
                </a:ext>
              </a:extLst>
            </p:cNvPr>
            <p:cNvSpPr/>
            <p:nvPr/>
          </p:nvSpPr>
          <p:spPr>
            <a:xfrm>
              <a:off x="6257720" y="3883690"/>
              <a:ext cx="5724237" cy="382863"/>
            </a:xfrm>
            <a:prstGeom prst="rightArrow">
              <a:avLst>
                <a:gd name="adj1" fmla="val 73660"/>
                <a:gd name="adj2" fmla="val 47217"/>
              </a:avLst>
            </a:prstGeom>
            <a:solidFill>
              <a:srgbClr val="34A79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5428A7C-3467-5A1D-CAEF-EFBAAF5217FC}"/>
                </a:ext>
              </a:extLst>
            </p:cNvPr>
            <p:cNvSpPr/>
            <p:nvPr/>
          </p:nvSpPr>
          <p:spPr>
            <a:xfrm>
              <a:off x="6278843" y="3921240"/>
              <a:ext cx="101556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Arial" panose="020B0604020202020204" pitchFamily="34" charset="0"/>
                  <a:ea typeface="+mn-ea"/>
                  <a:cs typeface="Calibri" panose="020F0502020204030204" pitchFamily="34" charset="0"/>
                </a:rPr>
                <a:t>Network &amp; Endpoints</a:t>
              </a:r>
            </a:p>
          </p:txBody>
        </p:sp>
        <p:sp>
          <p:nvSpPr>
            <p:cNvPr id="15" name="Rectangle 14">
              <a:extLst>
                <a:ext uri="{FF2B5EF4-FFF2-40B4-BE49-F238E27FC236}">
                  <a16:creationId xmlns:a16="http://schemas.microsoft.com/office/drawing/2014/main" id="{F6300CFF-E0B8-8057-16EE-B2AB33627D9B}"/>
                </a:ext>
              </a:extLst>
            </p:cNvPr>
            <p:cNvSpPr/>
            <p:nvPr/>
          </p:nvSpPr>
          <p:spPr>
            <a:xfrm>
              <a:off x="7527032" y="3921240"/>
              <a:ext cx="100195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Arial" panose="020B0604020202020204" pitchFamily="34" charset="0"/>
                  <a:ea typeface="+mn-ea"/>
                  <a:cs typeface="Calibri" panose="020F0502020204030204" pitchFamily="34" charset="0"/>
                </a:rPr>
                <a:t>Application &amp; Cloud</a:t>
              </a:r>
            </a:p>
          </p:txBody>
        </p:sp>
        <p:sp>
          <p:nvSpPr>
            <p:cNvPr id="16" name="TextBox 15">
              <a:extLst>
                <a:ext uri="{FF2B5EF4-FFF2-40B4-BE49-F238E27FC236}">
                  <a16:creationId xmlns:a16="http://schemas.microsoft.com/office/drawing/2014/main" id="{0FA1A8ED-93BC-D6C3-86FC-F89E23CAEAD4}"/>
                </a:ext>
              </a:extLst>
            </p:cNvPr>
            <p:cNvSpPr txBox="1"/>
            <p:nvPr/>
          </p:nvSpPr>
          <p:spPr>
            <a:xfrm>
              <a:off x="6265343" y="3691170"/>
              <a:ext cx="1444326" cy="293607"/>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pitchFamily="34" charset="0"/>
                  <a:ea typeface="+mn-ea"/>
                  <a:cs typeface="Calibri" panose="020F0502020204030204" pitchFamily="34" charset="0"/>
                </a:rPr>
                <a:t>RISE OF DATA</a:t>
              </a:r>
            </a:p>
          </p:txBody>
        </p:sp>
        <p:sp>
          <p:nvSpPr>
            <p:cNvPr id="17" name="Arrow: Right 22">
              <a:extLst>
                <a:ext uri="{FF2B5EF4-FFF2-40B4-BE49-F238E27FC236}">
                  <a16:creationId xmlns:a16="http://schemas.microsoft.com/office/drawing/2014/main" id="{D46155A8-F8F2-C2A5-6D63-45C32B6309BA}"/>
                </a:ext>
              </a:extLst>
            </p:cNvPr>
            <p:cNvSpPr/>
            <p:nvPr/>
          </p:nvSpPr>
          <p:spPr>
            <a:xfrm>
              <a:off x="7922138" y="3496303"/>
              <a:ext cx="4070432" cy="382863"/>
            </a:xfrm>
            <a:prstGeom prst="rightArrow">
              <a:avLst>
                <a:gd name="adj1" fmla="val 73660"/>
                <a:gd name="adj2" fmla="val 50000"/>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81178174-42F3-741F-B1CE-AAE482E77302}"/>
                </a:ext>
              </a:extLst>
            </p:cNvPr>
            <p:cNvSpPr txBox="1"/>
            <p:nvPr/>
          </p:nvSpPr>
          <p:spPr>
            <a:xfrm>
              <a:off x="7904766" y="3299027"/>
              <a:ext cx="1754406" cy="293607"/>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B0F0"/>
                  </a:solidFill>
                  <a:effectLst/>
                  <a:uLnTx/>
                  <a:uFillTx/>
                  <a:latin typeface="Arial" panose="020B0604020202020204" pitchFamily="34" charset="0"/>
                  <a:ea typeface="+mn-ea"/>
                  <a:cs typeface="Calibri" panose="020F0502020204030204" pitchFamily="34" charset="0"/>
                </a:rPr>
                <a:t>RISE OF AI</a:t>
              </a:r>
            </a:p>
          </p:txBody>
        </p:sp>
        <p:sp>
          <p:nvSpPr>
            <p:cNvPr id="19" name="Rectangle 18">
              <a:extLst>
                <a:ext uri="{FF2B5EF4-FFF2-40B4-BE49-F238E27FC236}">
                  <a16:creationId xmlns:a16="http://schemas.microsoft.com/office/drawing/2014/main" id="{A0719590-75D9-5029-CB3D-D41B73E4C860}"/>
                </a:ext>
              </a:extLst>
            </p:cNvPr>
            <p:cNvSpPr/>
            <p:nvPr/>
          </p:nvSpPr>
          <p:spPr>
            <a:xfrm>
              <a:off x="9500905" y="3525595"/>
              <a:ext cx="1082344"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pitchFamily="34" charset="0"/>
                  <a:ea typeface="+mn-ea"/>
                  <a:cs typeface="+mn-cs"/>
                </a:rPr>
                <a:t>Autom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pitchFamily="34" charset="0"/>
                  <a:ea typeface="+mn-ea"/>
                  <a:cs typeface="+mn-cs"/>
                </a:rPr>
                <a:t>Response</a:t>
              </a:r>
            </a:p>
          </p:txBody>
        </p:sp>
        <p:sp>
          <p:nvSpPr>
            <p:cNvPr id="20" name="Rectangle 19">
              <a:extLst>
                <a:ext uri="{FF2B5EF4-FFF2-40B4-BE49-F238E27FC236}">
                  <a16:creationId xmlns:a16="http://schemas.microsoft.com/office/drawing/2014/main" id="{F2189DFC-BB0A-52B3-4B09-9B9F62C2C278}"/>
                </a:ext>
              </a:extLst>
            </p:cNvPr>
            <p:cNvSpPr/>
            <p:nvPr/>
          </p:nvSpPr>
          <p:spPr>
            <a:xfrm>
              <a:off x="8078006" y="3539924"/>
              <a:ext cx="140067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pitchFamily="34" charset="0"/>
                  <a:ea typeface="+mn-ea"/>
                  <a:cs typeface="+mn-cs"/>
                </a:rPr>
                <a:t>Machine Driv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pitchFamily="34" charset="0"/>
                  <a:ea typeface="+mn-ea"/>
                  <a:cs typeface="+mn-cs"/>
                </a:rPr>
                <a:t>Detections</a:t>
              </a:r>
            </a:p>
          </p:txBody>
        </p:sp>
        <p:sp>
          <p:nvSpPr>
            <p:cNvPr id="21" name="Rectangle 20">
              <a:extLst>
                <a:ext uri="{FF2B5EF4-FFF2-40B4-BE49-F238E27FC236}">
                  <a16:creationId xmlns:a16="http://schemas.microsoft.com/office/drawing/2014/main" id="{77F039CF-ACAC-4B67-559B-98F5370F518B}"/>
                </a:ext>
              </a:extLst>
            </p:cNvPr>
            <p:cNvSpPr/>
            <p:nvPr/>
          </p:nvSpPr>
          <p:spPr>
            <a:xfrm>
              <a:off x="10507770" y="3533578"/>
              <a:ext cx="1413740"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pitchFamily="34" charset="0"/>
                  <a:ea typeface="+mn-ea"/>
                  <a:cs typeface="+mn-cs"/>
                </a:rPr>
                <a:t>Detect Attacks Across the Attack Surface</a:t>
              </a:r>
            </a:p>
          </p:txBody>
        </p:sp>
        <p:sp>
          <p:nvSpPr>
            <p:cNvPr id="22" name="Arrow: Right 22">
              <a:extLst>
                <a:ext uri="{FF2B5EF4-FFF2-40B4-BE49-F238E27FC236}">
                  <a16:creationId xmlns:a16="http://schemas.microsoft.com/office/drawing/2014/main" id="{21CA838F-03F9-38AC-EFE3-F702B377B061}"/>
                </a:ext>
              </a:extLst>
            </p:cNvPr>
            <p:cNvSpPr/>
            <p:nvPr/>
          </p:nvSpPr>
          <p:spPr>
            <a:xfrm>
              <a:off x="9870511" y="3108399"/>
              <a:ext cx="2111446" cy="382863"/>
            </a:xfrm>
            <a:prstGeom prst="rightArrow">
              <a:avLst>
                <a:gd name="adj1" fmla="val 73660"/>
                <a:gd name="adj2" fmla="val 46876"/>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A571C2FF-DDFA-37BE-EA0B-ECAB6AFDA2BB}"/>
                </a:ext>
              </a:extLst>
            </p:cNvPr>
            <p:cNvSpPr/>
            <p:nvPr/>
          </p:nvSpPr>
          <p:spPr>
            <a:xfrm>
              <a:off x="9816470" y="3187397"/>
              <a:ext cx="2088027"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panose="020B0604020202020204" pitchFamily="34" charset="0"/>
                  <a:ea typeface="+mn-ea"/>
                  <a:cs typeface="+mn-cs"/>
                </a:rPr>
                <a:t>Machine Driven Auto Correlations</a:t>
              </a:r>
            </a:p>
          </p:txBody>
        </p:sp>
        <p:sp>
          <p:nvSpPr>
            <p:cNvPr id="24" name="TextBox 23">
              <a:extLst>
                <a:ext uri="{FF2B5EF4-FFF2-40B4-BE49-F238E27FC236}">
                  <a16:creationId xmlns:a16="http://schemas.microsoft.com/office/drawing/2014/main" id="{390AFC75-8420-DF2D-1793-F286E4758A25}"/>
                </a:ext>
              </a:extLst>
            </p:cNvPr>
            <p:cNvSpPr txBox="1"/>
            <p:nvPr/>
          </p:nvSpPr>
          <p:spPr>
            <a:xfrm>
              <a:off x="8400216" y="3921240"/>
              <a:ext cx="8841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Arial" panose="020B0604020202020204" pitchFamily="34" charset="0"/>
                  <a:ea typeface="+mn-ea"/>
                  <a:cs typeface="Calibri" panose="020F0502020204030204" pitchFamily="34" charset="0"/>
                </a:rPr>
                <a:t>Siloed Data Lakes</a:t>
              </a:r>
            </a:p>
          </p:txBody>
        </p:sp>
        <p:sp>
          <p:nvSpPr>
            <p:cNvPr id="25" name="TextBox 24">
              <a:extLst>
                <a:ext uri="{FF2B5EF4-FFF2-40B4-BE49-F238E27FC236}">
                  <a16:creationId xmlns:a16="http://schemas.microsoft.com/office/drawing/2014/main" id="{2FD8320D-6730-FFFE-0258-B73DD0C0D199}"/>
                </a:ext>
              </a:extLst>
            </p:cNvPr>
            <p:cNvSpPr txBox="1"/>
            <p:nvPr/>
          </p:nvSpPr>
          <p:spPr>
            <a:xfrm>
              <a:off x="10315069" y="3975101"/>
              <a:ext cx="1060239"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Arial" panose="020B0604020202020204" pitchFamily="34" charset="0"/>
                  <a:ea typeface="+mn-ea"/>
                  <a:cs typeface="Calibri" panose="020F0502020204030204" pitchFamily="34" charset="0"/>
                </a:rPr>
                <a:t>Single Data Lake</a:t>
              </a:r>
            </a:p>
          </p:txBody>
        </p:sp>
        <p:sp>
          <p:nvSpPr>
            <p:cNvPr id="26" name="TextBox 25">
              <a:extLst>
                <a:ext uri="{FF2B5EF4-FFF2-40B4-BE49-F238E27FC236}">
                  <a16:creationId xmlns:a16="http://schemas.microsoft.com/office/drawing/2014/main" id="{BBBC446B-5053-C372-AE83-8B699EF3F23C}"/>
                </a:ext>
              </a:extLst>
            </p:cNvPr>
            <p:cNvSpPr txBox="1"/>
            <p:nvPr/>
          </p:nvSpPr>
          <p:spPr>
            <a:xfrm>
              <a:off x="9141098" y="3921240"/>
              <a:ext cx="8162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Arial" panose="020B0604020202020204" pitchFamily="34" charset="0"/>
                  <a:ea typeface="+mn-ea"/>
                  <a:cs typeface="Calibri" panose="020F0502020204030204" pitchFamily="34" charset="0"/>
                </a:rPr>
                <a:t> Data Duplication</a:t>
              </a:r>
            </a:p>
          </p:txBody>
        </p:sp>
        <p:sp>
          <p:nvSpPr>
            <p:cNvPr id="27" name="TextBox 26">
              <a:extLst>
                <a:ext uri="{FF2B5EF4-FFF2-40B4-BE49-F238E27FC236}">
                  <a16:creationId xmlns:a16="http://schemas.microsoft.com/office/drawing/2014/main" id="{E95CA363-8E22-3116-CBBD-4125A36C824E}"/>
                </a:ext>
              </a:extLst>
            </p:cNvPr>
            <p:cNvSpPr txBox="1"/>
            <p:nvPr/>
          </p:nvSpPr>
          <p:spPr>
            <a:xfrm>
              <a:off x="9778700" y="2911507"/>
              <a:ext cx="2386729" cy="293607"/>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B050"/>
                  </a:solidFill>
                  <a:effectLst/>
                  <a:uLnTx/>
                  <a:uFillTx/>
                  <a:latin typeface="Arial" panose="020B0604020202020204" pitchFamily="34" charset="0"/>
                  <a:ea typeface="+mn-ea"/>
                  <a:cs typeface="Calibri" panose="020F0502020204030204" pitchFamily="34" charset="0"/>
                </a:rPr>
                <a:t>RISE OF CORRELATIONS</a:t>
              </a:r>
            </a:p>
          </p:txBody>
        </p:sp>
        <p:sp>
          <p:nvSpPr>
            <p:cNvPr id="28" name="TextBox 27">
              <a:extLst>
                <a:ext uri="{FF2B5EF4-FFF2-40B4-BE49-F238E27FC236}">
                  <a16:creationId xmlns:a16="http://schemas.microsoft.com/office/drawing/2014/main" id="{CA025225-6305-D644-9EEE-05B70DF6860C}"/>
                </a:ext>
              </a:extLst>
            </p:cNvPr>
            <p:cNvSpPr txBox="1"/>
            <p:nvPr/>
          </p:nvSpPr>
          <p:spPr>
            <a:xfrm rot="16200000">
              <a:off x="5025579" y="3232720"/>
              <a:ext cx="2032417" cy="246221"/>
            </a:xfrm>
            <a:prstGeom prst="rect">
              <a:avLst/>
            </a:prstGeom>
            <a:noFill/>
            <a:extLst>
              <a:ext uri="{909E8E84-426E-40DD-AFC4-6F175D3DCCD1}">
                <a14:hiddenFill xmlns:a14="http://schemas.microsoft.com/office/drawing/2010/main">
                  <a:solidFill>
                    <a:srgbClr val="63666A"/>
                  </a:solidFill>
                </a14:hiddenFill>
              </a:ext>
            </a:ex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all" spc="0" normalizeH="0" baseline="0" noProof="0" dirty="0">
                  <a:ln>
                    <a:noFill/>
                  </a:ln>
                  <a:solidFill>
                    <a:srgbClr val="00B0F0"/>
                  </a:solidFill>
                  <a:effectLst/>
                  <a:uLnTx/>
                  <a:uFillTx/>
                  <a:latin typeface="Arial" panose="020B0604020202020204" pitchFamily="34" charset="0"/>
                  <a:ea typeface="+mn-ea"/>
                  <a:cs typeface="+mn-cs"/>
                </a:rPr>
                <a:t>ENABLING TECHNOLOGY</a:t>
              </a:r>
            </a:p>
          </p:txBody>
        </p:sp>
        <p:sp>
          <p:nvSpPr>
            <p:cNvPr id="29" name="TextBox 28">
              <a:extLst>
                <a:ext uri="{FF2B5EF4-FFF2-40B4-BE49-F238E27FC236}">
                  <a16:creationId xmlns:a16="http://schemas.microsoft.com/office/drawing/2014/main" id="{8525DAA4-371E-746C-5954-4C8B5E4570D9}"/>
                </a:ext>
              </a:extLst>
            </p:cNvPr>
            <p:cNvSpPr txBox="1"/>
            <p:nvPr/>
          </p:nvSpPr>
          <p:spPr>
            <a:xfrm>
              <a:off x="7920452" y="1672157"/>
              <a:ext cx="1726666" cy="657637"/>
            </a:xfrm>
            <a:prstGeom prst="rect">
              <a:avLst/>
            </a:prstGeom>
            <a:noFill/>
          </p:spPr>
          <p:txBody>
            <a:bodyPr wrap="square" rtlCol="0" anchor="ctr">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panose="020B0604020202020204" pitchFamily="34" charset="0"/>
                  <a:ea typeface="+mn-ea"/>
                  <a:cs typeface="+mn-cs"/>
                </a:rPr>
                <a:t>DEFENSE IN DEPTH</a:t>
              </a:r>
            </a:p>
          </p:txBody>
        </p:sp>
        <p:sp>
          <p:nvSpPr>
            <p:cNvPr id="30" name="TextBox 29">
              <a:extLst>
                <a:ext uri="{FF2B5EF4-FFF2-40B4-BE49-F238E27FC236}">
                  <a16:creationId xmlns:a16="http://schemas.microsoft.com/office/drawing/2014/main" id="{DC3DBAF2-6AEF-9086-735C-FF7E7C53C820}"/>
                </a:ext>
              </a:extLst>
            </p:cNvPr>
            <p:cNvSpPr txBox="1"/>
            <p:nvPr/>
          </p:nvSpPr>
          <p:spPr>
            <a:xfrm>
              <a:off x="9868834" y="1690843"/>
              <a:ext cx="1854127" cy="646331"/>
            </a:xfrm>
            <a:prstGeom prst="rect">
              <a:avLst/>
            </a:prstGeom>
            <a:noFill/>
          </p:spPr>
          <p:txBody>
            <a:bodyPr wrap="square" rtlCol="0" anchor="ctr">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009CDE"/>
                  </a:solidFill>
                  <a:effectLst/>
                  <a:uLnTx/>
                  <a:uFillTx/>
                  <a:latin typeface="Arial" panose="020B0604020202020204" pitchFamily="34" charset="0"/>
                  <a:ea typeface="+mn-ea"/>
                  <a:cs typeface="+mn-cs"/>
                </a:rPr>
                <a:t>XDR</a:t>
              </a:r>
            </a:p>
          </p:txBody>
        </p:sp>
        <p:sp>
          <p:nvSpPr>
            <p:cNvPr id="31" name="TextBox 30">
              <a:extLst>
                <a:ext uri="{FF2B5EF4-FFF2-40B4-BE49-F238E27FC236}">
                  <a16:creationId xmlns:a16="http://schemas.microsoft.com/office/drawing/2014/main" id="{AFFC1EF4-86E1-6347-D18F-9952C2D0B862}"/>
                </a:ext>
              </a:extLst>
            </p:cNvPr>
            <p:cNvSpPr txBox="1"/>
            <p:nvPr/>
          </p:nvSpPr>
          <p:spPr>
            <a:xfrm>
              <a:off x="6265343" y="1676680"/>
              <a:ext cx="1460132" cy="662939"/>
            </a:xfrm>
            <a:prstGeom prst="rect">
              <a:avLst/>
            </a:prstGeom>
            <a:noFill/>
          </p:spPr>
          <p:txBody>
            <a:bodyPr wrap="square" rtlCol="0" anchor="ctr">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panose="020B0604020202020204" pitchFamily="34" charset="0"/>
                  <a:ea typeface="+mn-ea"/>
                  <a:cs typeface="+mn-cs"/>
                </a:rPr>
                <a:t>SIMPLE FIREWALL</a:t>
              </a:r>
            </a:p>
          </p:txBody>
        </p:sp>
        <p:grpSp>
          <p:nvGrpSpPr>
            <p:cNvPr id="1600" name="Group 1599">
              <a:extLst>
                <a:ext uri="{FF2B5EF4-FFF2-40B4-BE49-F238E27FC236}">
                  <a16:creationId xmlns:a16="http://schemas.microsoft.com/office/drawing/2014/main" id="{EEF35FAB-3F6E-92C5-13CE-A9A02A170596}"/>
                </a:ext>
              </a:extLst>
            </p:cNvPr>
            <p:cNvGrpSpPr/>
            <p:nvPr/>
          </p:nvGrpSpPr>
          <p:grpSpPr>
            <a:xfrm>
              <a:off x="6733487" y="3007463"/>
              <a:ext cx="508038" cy="456137"/>
              <a:chOff x="1513360" y="4385963"/>
              <a:chExt cx="565150" cy="507414"/>
            </a:xfrm>
          </p:grpSpPr>
          <p:sp>
            <p:nvSpPr>
              <p:cNvPr id="1612" name="TextBox 1611">
                <a:extLst>
                  <a:ext uri="{FF2B5EF4-FFF2-40B4-BE49-F238E27FC236}">
                    <a16:creationId xmlns:a16="http://schemas.microsoft.com/office/drawing/2014/main" id="{70F69A6B-F05A-5C3F-B9A8-3FB223DF72AE}"/>
                  </a:ext>
                </a:extLst>
              </p:cNvPr>
              <p:cNvSpPr txBox="1"/>
              <p:nvPr/>
            </p:nvSpPr>
            <p:spPr>
              <a:xfrm>
                <a:off x="1513360" y="4641446"/>
                <a:ext cx="565150" cy="251931"/>
              </a:xfrm>
              <a:prstGeom prst="rect">
                <a:avLst/>
              </a:prstGeom>
              <a:noFill/>
            </p:spPr>
            <p:txBody>
              <a:bodyPr wrap="square" rtlCol="0">
                <a:spAutoFit/>
              </a:bodyPr>
              <a:lstStyle/>
              <a:p>
                <a:pPr marL="0" marR="0" lvl="0" indent="0" algn="ctr" defTabSz="914217" rtl="0" eaLnBrk="1" fontAlgn="auto" latinLnBrk="0" hangingPunct="1">
                  <a:lnSpc>
                    <a:spcPct val="12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Arial" panose="020B0604020202020204" pitchFamily="34" charset="0"/>
                    <a:ea typeface="+mn-ea"/>
                    <a:cs typeface="+mn-cs"/>
                  </a:rPr>
                  <a:t>IDS</a:t>
                </a:r>
              </a:p>
            </p:txBody>
          </p:sp>
          <p:pic>
            <p:nvPicPr>
              <p:cNvPr id="1613" name="Graphic 1612">
                <a:extLst>
                  <a:ext uri="{FF2B5EF4-FFF2-40B4-BE49-F238E27FC236}">
                    <a16:creationId xmlns:a16="http://schemas.microsoft.com/office/drawing/2014/main" id="{68C1F665-BFC9-9D96-5F48-7080504FFAD2}"/>
                  </a:ext>
                </a:extLst>
              </p:cNvPr>
              <p:cNvPicPr>
                <a:picLocks noChangeAspect="1"/>
              </p:cNvPicPr>
              <p:nvPr/>
            </p:nvPicPr>
            <p:blipFill>
              <a:blip r:embed="rId12" cstate="email">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65683" y="4385963"/>
                <a:ext cx="260504" cy="247662"/>
              </a:xfrm>
              <a:prstGeom prst="rect">
                <a:avLst/>
              </a:prstGeom>
            </p:spPr>
          </p:pic>
        </p:grpSp>
        <p:grpSp>
          <p:nvGrpSpPr>
            <p:cNvPr id="1601" name="Group 1600">
              <a:extLst>
                <a:ext uri="{FF2B5EF4-FFF2-40B4-BE49-F238E27FC236}">
                  <a16:creationId xmlns:a16="http://schemas.microsoft.com/office/drawing/2014/main" id="{34AB791C-07B5-62BC-ED29-7D4938EC5C42}"/>
                </a:ext>
              </a:extLst>
            </p:cNvPr>
            <p:cNvGrpSpPr/>
            <p:nvPr/>
          </p:nvGrpSpPr>
          <p:grpSpPr>
            <a:xfrm>
              <a:off x="8366101" y="2910555"/>
              <a:ext cx="825868" cy="386910"/>
              <a:chOff x="2871751" y="3366593"/>
              <a:chExt cx="918709" cy="430405"/>
            </a:xfrm>
          </p:grpSpPr>
          <p:sp>
            <p:nvSpPr>
              <p:cNvPr id="1610" name="TextBox 1609">
                <a:extLst>
                  <a:ext uri="{FF2B5EF4-FFF2-40B4-BE49-F238E27FC236}">
                    <a16:creationId xmlns:a16="http://schemas.microsoft.com/office/drawing/2014/main" id="{8C8F0AA2-23E0-683C-F117-8400F5B1F2BD}"/>
                  </a:ext>
                </a:extLst>
              </p:cNvPr>
              <p:cNvSpPr txBox="1"/>
              <p:nvPr/>
            </p:nvSpPr>
            <p:spPr>
              <a:xfrm>
                <a:off x="2871751" y="3582371"/>
                <a:ext cx="918709" cy="214627"/>
              </a:xfrm>
              <a:prstGeom prst="rect">
                <a:avLst/>
              </a:prstGeom>
              <a:noFill/>
            </p:spPr>
            <p:txBody>
              <a:bodyPr wrap="none" rtlCol="0" anchor="ctr">
                <a:spAutoFit/>
              </a:bodyPr>
              <a:lstStyle/>
              <a:p>
                <a:pPr marL="0" marR="0" lvl="0" indent="0" algn="ctr" defTabSz="914217" rtl="0" eaLnBrk="1" fontAlgn="auto" latinLnBrk="0" hangingPunct="1">
                  <a:lnSpc>
                    <a:spcPct val="12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Arial" panose="020B0604020202020204" pitchFamily="34" charset="0"/>
                    <a:ea typeface="+mn-ea"/>
                    <a:cs typeface="+mn-cs"/>
                  </a:rPr>
                  <a:t>EMAIL SECURITY</a:t>
                </a:r>
              </a:p>
            </p:txBody>
          </p:sp>
          <p:pic>
            <p:nvPicPr>
              <p:cNvPr id="1611" name="Graphic 1610">
                <a:extLst>
                  <a:ext uri="{FF2B5EF4-FFF2-40B4-BE49-F238E27FC236}">
                    <a16:creationId xmlns:a16="http://schemas.microsoft.com/office/drawing/2014/main" id="{3ADC3241-5012-BF3F-0A7B-E76BB8F68F97}"/>
                  </a:ext>
                </a:extLst>
              </p:cNvPr>
              <p:cNvPicPr>
                <a:picLocks noChangeAspect="1"/>
              </p:cNvPicPr>
              <p:nvPr/>
            </p:nvPicPr>
            <p:blipFill>
              <a:blip r:embed="rId14" cstate="email">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231384" y="3366593"/>
                <a:ext cx="173786" cy="229301"/>
              </a:xfrm>
              <a:prstGeom prst="rect">
                <a:avLst/>
              </a:prstGeom>
            </p:spPr>
          </p:pic>
        </p:grpSp>
        <p:grpSp>
          <p:nvGrpSpPr>
            <p:cNvPr id="1602" name="Group 1601">
              <a:extLst>
                <a:ext uri="{FF2B5EF4-FFF2-40B4-BE49-F238E27FC236}">
                  <a16:creationId xmlns:a16="http://schemas.microsoft.com/office/drawing/2014/main" id="{13FC6C96-1EDD-6F55-0B1E-7854789BE019}"/>
                </a:ext>
              </a:extLst>
            </p:cNvPr>
            <p:cNvGrpSpPr/>
            <p:nvPr/>
          </p:nvGrpSpPr>
          <p:grpSpPr>
            <a:xfrm>
              <a:off x="7944016" y="2907217"/>
              <a:ext cx="416326" cy="393586"/>
              <a:chOff x="3115074" y="4349702"/>
              <a:chExt cx="463128" cy="437831"/>
            </a:xfrm>
          </p:grpSpPr>
          <p:sp>
            <p:nvSpPr>
              <p:cNvPr id="1607" name="TextBox 1606">
                <a:extLst>
                  <a:ext uri="{FF2B5EF4-FFF2-40B4-BE49-F238E27FC236}">
                    <a16:creationId xmlns:a16="http://schemas.microsoft.com/office/drawing/2014/main" id="{DF649872-C108-D1DD-109D-73CE4CE9E632}"/>
                  </a:ext>
                </a:extLst>
              </p:cNvPr>
              <p:cNvSpPr txBox="1"/>
              <p:nvPr/>
            </p:nvSpPr>
            <p:spPr>
              <a:xfrm>
                <a:off x="3115074" y="4572906"/>
                <a:ext cx="463128" cy="214627"/>
              </a:xfrm>
              <a:prstGeom prst="rect">
                <a:avLst/>
              </a:prstGeom>
              <a:noFill/>
            </p:spPr>
            <p:txBody>
              <a:bodyPr wrap="square" rtlCol="0" anchor="ctr">
                <a:spAutoFit/>
              </a:bodyPr>
              <a:lstStyle/>
              <a:p>
                <a:pPr marL="0" marR="0" lvl="0" indent="0" algn="ctr" defTabSz="914217" rtl="0" eaLnBrk="1" fontAlgn="auto" latinLnBrk="0" hangingPunct="1">
                  <a:lnSpc>
                    <a:spcPct val="12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Arial" panose="020B0604020202020204" pitchFamily="34" charset="0"/>
                    <a:ea typeface="+mn-ea"/>
                    <a:cs typeface="+mn-cs"/>
                  </a:rPr>
                  <a:t>CASB</a:t>
                </a:r>
              </a:p>
            </p:txBody>
          </p:sp>
          <p:pic>
            <p:nvPicPr>
              <p:cNvPr id="1608" name="Graphic 1607">
                <a:extLst>
                  <a:ext uri="{FF2B5EF4-FFF2-40B4-BE49-F238E27FC236}">
                    <a16:creationId xmlns:a16="http://schemas.microsoft.com/office/drawing/2014/main" id="{6E8E3906-E1FB-1DBD-3539-4DD288353F6F}"/>
                  </a:ext>
                </a:extLst>
              </p:cNvPr>
              <p:cNvPicPr>
                <a:picLocks noChangeAspect="1"/>
              </p:cNvPicPr>
              <p:nvPr/>
            </p:nvPicPr>
            <p:blipFill>
              <a:blip r:embed="rId16" cstate="email">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179431" y="4349702"/>
                <a:ext cx="321065" cy="220502"/>
              </a:xfrm>
              <a:prstGeom prst="rect">
                <a:avLst/>
              </a:prstGeom>
            </p:spPr>
          </p:pic>
        </p:grpSp>
        <p:grpSp>
          <p:nvGrpSpPr>
            <p:cNvPr id="1603" name="Group 1602">
              <a:extLst>
                <a:ext uri="{FF2B5EF4-FFF2-40B4-BE49-F238E27FC236}">
                  <a16:creationId xmlns:a16="http://schemas.microsoft.com/office/drawing/2014/main" id="{8AC38A00-FE3D-70D7-49BD-2DD5D34E88C6}"/>
                </a:ext>
              </a:extLst>
            </p:cNvPr>
            <p:cNvGrpSpPr/>
            <p:nvPr/>
          </p:nvGrpSpPr>
          <p:grpSpPr>
            <a:xfrm>
              <a:off x="7988514" y="2408936"/>
              <a:ext cx="320922" cy="417548"/>
              <a:chOff x="3168139" y="3816085"/>
              <a:chExt cx="356999" cy="464487"/>
            </a:xfrm>
          </p:grpSpPr>
          <p:sp>
            <p:nvSpPr>
              <p:cNvPr id="1605" name="TextBox 1604">
                <a:extLst>
                  <a:ext uri="{FF2B5EF4-FFF2-40B4-BE49-F238E27FC236}">
                    <a16:creationId xmlns:a16="http://schemas.microsoft.com/office/drawing/2014/main" id="{8FBD0B03-1E13-3F91-42BB-7FE5B9D99A30}"/>
                  </a:ext>
                </a:extLst>
              </p:cNvPr>
              <p:cNvSpPr txBox="1"/>
              <p:nvPr/>
            </p:nvSpPr>
            <p:spPr>
              <a:xfrm>
                <a:off x="3168139" y="4065945"/>
                <a:ext cx="356999" cy="214627"/>
              </a:xfrm>
              <a:prstGeom prst="rect">
                <a:avLst/>
              </a:prstGeom>
              <a:noFill/>
            </p:spPr>
            <p:txBody>
              <a:bodyPr wrap="none" rtlCol="0" anchor="ctr">
                <a:spAutoFit/>
              </a:bodyPr>
              <a:lstStyle/>
              <a:p>
                <a:pPr marL="0" marR="0" lvl="0" indent="0" algn="ctr" defTabSz="914217" rtl="0" eaLnBrk="1" fontAlgn="auto" latinLnBrk="0" hangingPunct="1">
                  <a:lnSpc>
                    <a:spcPct val="12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Arial" panose="020B0604020202020204" pitchFamily="34" charset="0"/>
                    <a:ea typeface="+mn-ea"/>
                    <a:cs typeface="+mn-cs"/>
                  </a:rPr>
                  <a:t>IAM</a:t>
                </a:r>
              </a:p>
            </p:txBody>
          </p:sp>
          <p:pic>
            <p:nvPicPr>
              <p:cNvPr id="1606" name="Graphic 1605">
                <a:extLst>
                  <a:ext uri="{FF2B5EF4-FFF2-40B4-BE49-F238E27FC236}">
                    <a16:creationId xmlns:a16="http://schemas.microsoft.com/office/drawing/2014/main" id="{C37CFEC6-E106-4840-1724-FF240D3F189D}"/>
                  </a:ext>
                </a:extLst>
              </p:cNvPr>
              <p:cNvPicPr>
                <a:picLocks noChangeAspect="1"/>
              </p:cNvPicPr>
              <p:nvPr/>
            </p:nvPicPr>
            <p:blipFill>
              <a:blip r:embed="rId18" cstate="email">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214309" y="3816085"/>
                <a:ext cx="305533" cy="291792"/>
              </a:xfrm>
              <a:prstGeom prst="rect">
                <a:avLst/>
              </a:prstGeom>
            </p:spPr>
          </p:pic>
        </p:grpSp>
        <p:cxnSp>
          <p:nvCxnSpPr>
            <p:cNvPr id="1604" name="Straight Connector 1603">
              <a:extLst>
                <a:ext uri="{FF2B5EF4-FFF2-40B4-BE49-F238E27FC236}">
                  <a16:creationId xmlns:a16="http://schemas.microsoft.com/office/drawing/2014/main" id="{C0C7A9B4-18FA-E44B-3FDA-89B4223E4738}"/>
                </a:ext>
              </a:extLst>
            </p:cNvPr>
            <p:cNvCxnSpPr>
              <a:cxnSpLocks/>
            </p:cNvCxnSpPr>
            <p:nvPr/>
          </p:nvCxnSpPr>
          <p:spPr>
            <a:xfrm>
              <a:off x="5910837" y="2350797"/>
              <a:ext cx="5812124"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592818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World Map">
            <a:extLst>
              <a:ext uri="{FF2B5EF4-FFF2-40B4-BE49-F238E27FC236}">
                <a16:creationId xmlns:a16="http://schemas.microsoft.com/office/drawing/2014/main" id="{DEAA2CED-0258-CBA0-7D07-C5B6D76219A0}"/>
              </a:ext>
            </a:extLst>
          </p:cNvPr>
          <p:cNvGrpSpPr>
            <a:grpSpLocks noGrp="1" noUngrp="1" noRot="1" noMove="1" noResize="1"/>
          </p:cNvGrpSpPr>
          <p:nvPr>
            <p:custDataLst>
              <p:tags r:id="rId2"/>
            </p:custDataLst>
          </p:nvPr>
        </p:nvGrpSpPr>
        <p:grpSpPr>
          <a:xfrm>
            <a:off x="1063703" y="1058849"/>
            <a:ext cx="10064594" cy="5430851"/>
            <a:chOff x="-3956539" y="487056"/>
            <a:chExt cx="17797154" cy="9603334"/>
          </a:xfrm>
          <a:noFill/>
        </p:grpSpPr>
        <p:grpSp>
          <p:nvGrpSpPr>
            <p:cNvPr id="4" name="South America">
              <a:extLst>
                <a:ext uri="{FF2B5EF4-FFF2-40B4-BE49-F238E27FC236}">
                  <a16:creationId xmlns:a16="http://schemas.microsoft.com/office/drawing/2014/main" id="{9A78ABC3-3ED2-2B7B-B3C2-17B3EA2B7D60}"/>
                </a:ext>
              </a:extLst>
            </p:cNvPr>
            <p:cNvGrpSpPr>
              <a:grpSpLocks noGrp="1" noUngrp="1" noRot="1" noMove="1" noResize="1"/>
            </p:cNvGrpSpPr>
            <p:nvPr/>
          </p:nvGrpSpPr>
          <p:grpSpPr>
            <a:xfrm>
              <a:off x="332730" y="6000744"/>
              <a:ext cx="2307626" cy="4089646"/>
              <a:chOff x="2725589" y="4334992"/>
              <a:chExt cx="1153628" cy="2044823"/>
            </a:xfrm>
            <a:grpFill/>
          </p:grpSpPr>
          <p:sp>
            <p:nvSpPr>
              <p:cNvPr id="262" name="Venezuela">
                <a:extLst>
                  <a:ext uri="{FF2B5EF4-FFF2-40B4-BE49-F238E27FC236}">
                    <a16:creationId xmlns:a16="http://schemas.microsoft.com/office/drawing/2014/main" id="{B87A295E-5E17-843D-2631-9F06BA80D136}"/>
                  </a:ext>
                </a:extLst>
              </p:cNvPr>
              <p:cNvSpPr>
                <a:spLocks noGrp="1" noRot="1" noMove="1" noResize="1" noEditPoints="1" noAdjustHandles="1" noChangeArrowheads="1" noChangeShapeType="1"/>
              </p:cNvSpPr>
              <p:nvPr/>
            </p:nvSpPr>
            <p:spPr bwMode="gray">
              <a:xfrm>
                <a:off x="2927151" y="4339428"/>
                <a:ext cx="334510" cy="317147"/>
              </a:xfrm>
              <a:custGeom>
                <a:avLst/>
                <a:gdLst/>
                <a:ahLst/>
                <a:cxnLst>
                  <a:cxn ang="0">
                    <a:pos x="0" y="38"/>
                  </a:cxn>
                  <a:cxn ang="0">
                    <a:pos x="0" y="38"/>
                  </a:cxn>
                  <a:cxn ang="0">
                    <a:pos x="17" y="62"/>
                  </a:cxn>
                  <a:cxn ang="0">
                    <a:pos x="44" y="65"/>
                  </a:cxn>
                  <a:cxn ang="0">
                    <a:pos x="52" y="75"/>
                  </a:cxn>
                  <a:cxn ang="0">
                    <a:pos x="79" y="73"/>
                  </a:cxn>
                  <a:cxn ang="0">
                    <a:pos x="75" y="116"/>
                  </a:cxn>
                  <a:cxn ang="0">
                    <a:pos x="87" y="133"/>
                  </a:cxn>
                  <a:cxn ang="0">
                    <a:pos x="103" y="139"/>
                  </a:cxn>
                  <a:cxn ang="0">
                    <a:pos x="135" y="122"/>
                  </a:cxn>
                  <a:cxn ang="0">
                    <a:pos x="122" y="119"/>
                  </a:cxn>
                  <a:cxn ang="0">
                    <a:pos x="116" y="97"/>
                  </a:cxn>
                  <a:cxn ang="0">
                    <a:pos x="139" y="101"/>
                  </a:cxn>
                  <a:cxn ang="0">
                    <a:pos x="173" y="86"/>
                  </a:cxn>
                  <a:cxn ang="0">
                    <a:pos x="163" y="75"/>
                  </a:cxn>
                  <a:cxn ang="0">
                    <a:pos x="175" y="64"/>
                  </a:cxn>
                  <a:cxn ang="0">
                    <a:pos x="170" y="56"/>
                  </a:cxn>
                  <a:cxn ang="0">
                    <a:pos x="183" y="48"/>
                  </a:cxn>
                  <a:cxn ang="0">
                    <a:pos x="167" y="45"/>
                  </a:cxn>
                  <a:cxn ang="0">
                    <a:pos x="167" y="35"/>
                  </a:cxn>
                  <a:cxn ang="0">
                    <a:pos x="140" y="23"/>
                  </a:cxn>
                  <a:cxn ang="0">
                    <a:pos x="152" y="19"/>
                  </a:cxn>
                  <a:cxn ang="0">
                    <a:pos x="72" y="21"/>
                  </a:cxn>
                  <a:cxn ang="0">
                    <a:pos x="45" y="0"/>
                  </a:cxn>
                  <a:cxn ang="0">
                    <a:pos x="46" y="10"/>
                  </a:cxn>
                  <a:cxn ang="0">
                    <a:pos x="24" y="18"/>
                  </a:cxn>
                  <a:cxn ang="0">
                    <a:pos x="31" y="35"/>
                  </a:cxn>
                  <a:cxn ang="0">
                    <a:pos x="22" y="40"/>
                  </a:cxn>
                  <a:cxn ang="0">
                    <a:pos x="17" y="26"/>
                  </a:cxn>
                  <a:cxn ang="0">
                    <a:pos x="26" y="6"/>
                  </a:cxn>
                  <a:cxn ang="0">
                    <a:pos x="0" y="38"/>
                  </a:cxn>
                  <a:cxn ang="0">
                    <a:pos x="0" y="38"/>
                  </a:cxn>
                </a:cxnLst>
                <a:rect l="0" t="0" r="r" b="b"/>
                <a:pathLst>
                  <a:path w="184" h="140">
                    <a:moveTo>
                      <a:pt x="0" y="38"/>
                    </a:moveTo>
                    <a:lnTo>
                      <a:pt x="0" y="38"/>
                    </a:lnTo>
                    <a:lnTo>
                      <a:pt x="17" y="62"/>
                    </a:lnTo>
                    <a:lnTo>
                      <a:pt x="44" y="65"/>
                    </a:lnTo>
                    <a:lnTo>
                      <a:pt x="52" y="75"/>
                    </a:lnTo>
                    <a:lnTo>
                      <a:pt x="79" y="73"/>
                    </a:lnTo>
                    <a:lnTo>
                      <a:pt x="75" y="116"/>
                    </a:lnTo>
                    <a:lnTo>
                      <a:pt x="87" y="133"/>
                    </a:lnTo>
                    <a:lnTo>
                      <a:pt x="103" y="139"/>
                    </a:lnTo>
                    <a:lnTo>
                      <a:pt x="135" y="122"/>
                    </a:lnTo>
                    <a:lnTo>
                      <a:pt x="122" y="119"/>
                    </a:lnTo>
                    <a:lnTo>
                      <a:pt x="116" y="97"/>
                    </a:lnTo>
                    <a:lnTo>
                      <a:pt x="139" y="101"/>
                    </a:lnTo>
                    <a:lnTo>
                      <a:pt x="173" y="86"/>
                    </a:lnTo>
                    <a:lnTo>
                      <a:pt x="163" y="75"/>
                    </a:lnTo>
                    <a:lnTo>
                      <a:pt x="175" y="64"/>
                    </a:lnTo>
                    <a:lnTo>
                      <a:pt x="170" y="56"/>
                    </a:lnTo>
                    <a:lnTo>
                      <a:pt x="183" y="48"/>
                    </a:lnTo>
                    <a:lnTo>
                      <a:pt x="167" y="45"/>
                    </a:lnTo>
                    <a:lnTo>
                      <a:pt x="167" y="35"/>
                    </a:lnTo>
                    <a:lnTo>
                      <a:pt x="140" y="23"/>
                    </a:lnTo>
                    <a:lnTo>
                      <a:pt x="152" y="19"/>
                    </a:lnTo>
                    <a:lnTo>
                      <a:pt x="72" y="21"/>
                    </a:lnTo>
                    <a:lnTo>
                      <a:pt x="45" y="0"/>
                    </a:lnTo>
                    <a:lnTo>
                      <a:pt x="46" y="10"/>
                    </a:lnTo>
                    <a:lnTo>
                      <a:pt x="24" y="18"/>
                    </a:lnTo>
                    <a:lnTo>
                      <a:pt x="31" y="35"/>
                    </a:lnTo>
                    <a:lnTo>
                      <a:pt x="22" y="40"/>
                    </a:lnTo>
                    <a:lnTo>
                      <a:pt x="17" y="26"/>
                    </a:lnTo>
                    <a:lnTo>
                      <a:pt x="26" y="6"/>
                    </a:lnTo>
                    <a:lnTo>
                      <a:pt x="0" y="38"/>
                    </a:lnTo>
                    <a:lnTo>
                      <a:pt x="0" y="3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3" name="Uruguay">
                <a:extLst>
                  <a:ext uri="{FF2B5EF4-FFF2-40B4-BE49-F238E27FC236}">
                    <a16:creationId xmlns:a16="http://schemas.microsoft.com/office/drawing/2014/main" id="{15EFC88E-741D-D41E-F681-E1ABF32CC4AE}"/>
                  </a:ext>
                </a:extLst>
              </p:cNvPr>
              <p:cNvSpPr>
                <a:spLocks noGrp="1" noRot="1" noMove="1" noResize="1" noEditPoints="1" noAdjustHandles="1" noChangeArrowheads="1" noChangeShapeType="1"/>
              </p:cNvSpPr>
              <p:nvPr/>
            </p:nvSpPr>
            <p:spPr bwMode="gray">
              <a:xfrm>
                <a:off x="3293825" y="5521522"/>
                <a:ext cx="130802" cy="148593"/>
              </a:xfrm>
              <a:custGeom>
                <a:avLst/>
                <a:gdLst/>
                <a:ahLst/>
                <a:cxnLst>
                  <a:cxn ang="0">
                    <a:pos x="0" y="53"/>
                  </a:cxn>
                  <a:cxn ang="0">
                    <a:pos x="0" y="53"/>
                  </a:cxn>
                  <a:cxn ang="0">
                    <a:pos x="11" y="2"/>
                  </a:cxn>
                  <a:cxn ang="0">
                    <a:pos x="21" y="0"/>
                  </a:cxn>
                  <a:cxn ang="0">
                    <a:pos x="62" y="26"/>
                  </a:cxn>
                  <a:cxn ang="0">
                    <a:pos x="71" y="36"/>
                  </a:cxn>
                  <a:cxn ang="0">
                    <a:pos x="67" y="49"/>
                  </a:cxn>
                  <a:cxn ang="0">
                    <a:pos x="48" y="65"/>
                  </a:cxn>
                  <a:cxn ang="0">
                    <a:pos x="0" y="53"/>
                  </a:cxn>
                  <a:cxn ang="0">
                    <a:pos x="0" y="53"/>
                  </a:cxn>
                </a:cxnLst>
                <a:rect l="0" t="0" r="r" b="b"/>
                <a:pathLst>
                  <a:path w="72" h="66">
                    <a:moveTo>
                      <a:pt x="0" y="53"/>
                    </a:moveTo>
                    <a:lnTo>
                      <a:pt x="0" y="53"/>
                    </a:lnTo>
                    <a:lnTo>
                      <a:pt x="11" y="2"/>
                    </a:lnTo>
                    <a:lnTo>
                      <a:pt x="21" y="0"/>
                    </a:lnTo>
                    <a:lnTo>
                      <a:pt x="62" y="26"/>
                    </a:lnTo>
                    <a:lnTo>
                      <a:pt x="71" y="36"/>
                    </a:lnTo>
                    <a:lnTo>
                      <a:pt x="67" y="49"/>
                    </a:lnTo>
                    <a:lnTo>
                      <a:pt x="48" y="65"/>
                    </a:lnTo>
                    <a:lnTo>
                      <a:pt x="0" y="53"/>
                    </a:lnTo>
                    <a:lnTo>
                      <a:pt x="0" y="53"/>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4" name="Suriname">
                <a:extLst>
                  <a:ext uri="{FF2B5EF4-FFF2-40B4-BE49-F238E27FC236}">
                    <a16:creationId xmlns:a16="http://schemas.microsoft.com/office/drawing/2014/main" id="{1176727E-230F-B03C-DFD4-AF5FE863C430}"/>
                  </a:ext>
                </a:extLst>
              </p:cNvPr>
              <p:cNvSpPr>
                <a:spLocks noGrp="1" noRot="1" noMove="1" noResize="1" noEditPoints="1" noAdjustHandles="1" noChangeArrowheads="1" noChangeShapeType="1"/>
              </p:cNvSpPr>
              <p:nvPr/>
            </p:nvSpPr>
            <p:spPr bwMode="gray">
              <a:xfrm>
                <a:off x="3302402" y="4514635"/>
                <a:ext cx="105071" cy="110890"/>
              </a:xfrm>
              <a:custGeom>
                <a:avLst/>
                <a:gdLst/>
                <a:ahLst/>
                <a:cxnLst>
                  <a:cxn ang="0">
                    <a:pos x="0" y="23"/>
                  </a:cxn>
                  <a:cxn ang="0">
                    <a:pos x="0" y="23"/>
                  </a:cxn>
                  <a:cxn ang="0">
                    <a:pos x="15" y="0"/>
                  </a:cxn>
                  <a:cxn ang="0">
                    <a:pos x="56" y="5"/>
                  </a:cxn>
                  <a:cxn ang="0">
                    <a:pos x="50" y="45"/>
                  </a:cxn>
                  <a:cxn ang="0">
                    <a:pos x="21" y="49"/>
                  </a:cxn>
                  <a:cxn ang="0">
                    <a:pos x="0" y="23"/>
                  </a:cxn>
                  <a:cxn ang="0">
                    <a:pos x="0" y="23"/>
                  </a:cxn>
                </a:cxnLst>
                <a:rect l="0" t="0" r="r" b="b"/>
                <a:pathLst>
                  <a:path w="57" h="50">
                    <a:moveTo>
                      <a:pt x="0" y="23"/>
                    </a:moveTo>
                    <a:lnTo>
                      <a:pt x="0" y="23"/>
                    </a:lnTo>
                    <a:lnTo>
                      <a:pt x="15" y="0"/>
                    </a:lnTo>
                    <a:lnTo>
                      <a:pt x="56" y="5"/>
                    </a:lnTo>
                    <a:lnTo>
                      <a:pt x="50" y="45"/>
                    </a:lnTo>
                    <a:lnTo>
                      <a:pt x="21" y="49"/>
                    </a:lnTo>
                    <a:lnTo>
                      <a:pt x="0" y="23"/>
                    </a:lnTo>
                    <a:lnTo>
                      <a:pt x="0" y="23"/>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5" name="Peru">
                <a:extLst>
                  <a:ext uri="{FF2B5EF4-FFF2-40B4-BE49-F238E27FC236}">
                    <a16:creationId xmlns:a16="http://schemas.microsoft.com/office/drawing/2014/main" id="{F43DFFC9-97DE-2FE5-36D5-7A0E6510B398}"/>
                  </a:ext>
                </a:extLst>
              </p:cNvPr>
              <p:cNvSpPr>
                <a:spLocks noGrp="1" noRot="1" noMove="1" noResize="1" noEditPoints="1" noAdjustHandles="1" noChangeArrowheads="1" noChangeShapeType="1"/>
              </p:cNvSpPr>
              <p:nvPr/>
            </p:nvSpPr>
            <p:spPr bwMode="gray">
              <a:xfrm>
                <a:off x="2725589" y="4678753"/>
                <a:ext cx="315212" cy="501225"/>
              </a:xfrm>
              <a:custGeom>
                <a:avLst/>
                <a:gdLst/>
                <a:ahLst/>
                <a:cxnLst>
                  <a:cxn ang="0">
                    <a:pos x="0" y="52"/>
                  </a:cxn>
                  <a:cxn ang="0">
                    <a:pos x="0" y="52"/>
                  </a:cxn>
                  <a:cxn ang="0">
                    <a:pos x="4" y="70"/>
                  </a:cxn>
                  <a:cxn ang="0">
                    <a:pos x="34" y="100"/>
                  </a:cxn>
                  <a:cxn ang="0">
                    <a:pos x="69" y="174"/>
                  </a:cxn>
                  <a:cxn ang="0">
                    <a:pos x="147" y="222"/>
                  </a:cxn>
                  <a:cxn ang="0">
                    <a:pos x="160" y="213"/>
                  </a:cxn>
                  <a:cxn ang="0">
                    <a:pos x="168" y="198"/>
                  </a:cxn>
                  <a:cxn ang="0">
                    <a:pos x="156" y="192"/>
                  </a:cxn>
                  <a:cxn ang="0">
                    <a:pos x="163" y="188"/>
                  </a:cxn>
                  <a:cxn ang="0">
                    <a:pos x="172" y="150"/>
                  </a:cxn>
                  <a:cxn ang="0">
                    <a:pos x="159" y="132"/>
                  </a:cxn>
                  <a:cxn ang="0">
                    <a:pos x="147" y="132"/>
                  </a:cxn>
                  <a:cxn ang="0">
                    <a:pos x="147" y="113"/>
                  </a:cxn>
                  <a:cxn ang="0">
                    <a:pos x="133" y="121"/>
                  </a:cxn>
                  <a:cxn ang="0">
                    <a:pos x="114" y="113"/>
                  </a:cxn>
                  <a:cxn ang="0">
                    <a:pos x="102" y="91"/>
                  </a:cxn>
                  <a:cxn ang="0">
                    <a:pos x="121" y="62"/>
                  </a:cxn>
                  <a:cxn ang="0">
                    <a:pos x="156" y="50"/>
                  </a:cxn>
                  <a:cxn ang="0">
                    <a:pos x="146" y="45"/>
                  </a:cxn>
                  <a:cxn ang="0">
                    <a:pos x="152" y="30"/>
                  </a:cxn>
                  <a:cxn ang="0">
                    <a:pos x="113" y="27"/>
                  </a:cxn>
                  <a:cxn ang="0">
                    <a:pos x="83" y="0"/>
                  </a:cxn>
                  <a:cxn ang="0">
                    <a:pos x="76" y="21"/>
                  </a:cxn>
                  <a:cxn ang="0">
                    <a:pos x="46" y="37"/>
                  </a:cxn>
                  <a:cxn ang="0">
                    <a:pos x="30" y="59"/>
                  </a:cxn>
                  <a:cxn ang="0">
                    <a:pos x="12" y="55"/>
                  </a:cxn>
                  <a:cxn ang="0">
                    <a:pos x="14" y="42"/>
                  </a:cxn>
                  <a:cxn ang="0">
                    <a:pos x="0" y="52"/>
                  </a:cxn>
                  <a:cxn ang="0">
                    <a:pos x="0" y="52"/>
                  </a:cxn>
                </a:cxnLst>
                <a:rect l="0" t="0" r="r" b="b"/>
                <a:pathLst>
                  <a:path w="173" h="223">
                    <a:moveTo>
                      <a:pt x="0" y="52"/>
                    </a:moveTo>
                    <a:lnTo>
                      <a:pt x="0" y="52"/>
                    </a:lnTo>
                    <a:lnTo>
                      <a:pt x="4" y="70"/>
                    </a:lnTo>
                    <a:lnTo>
                      <a:pt x="34" y="100"/>
                    </a:lnTo>
                    <a:lnTo>
                      <a:pt x="69" y="174"/>
                    </a:lnTo>
                    <a:lnTo>
                      <a:pt x="147" y="222"/>
                    </a:lnTo>
                    <a:lnTo>
                      <a:pt x="160" y="213"/>
                    </a:lnTo>
                    <a:lnTo>
                      <a:pt x="168" y="198"/>
                    </a:lnTo>
                    <a:lnTo>
                      <a:pt x="156" y="192"/>
                    </a:lnTo>
                    <a:lnTo>
                      <a:pt x="163" y="188"/>
                    </a:lnTo>
                    <a:lnTo>
                      <a:pt x="172" y="150"/>
                    </a:lnTo>
                    <a:lnTo>
                      <a:pt x="159" y="132"/>
                    </a:lnTo>
                    <a:lnTo>
                      <a:pt x="147" y="132"/>
                    </a:lnTo>
                    <a:lnTo>
                      <a:pt x="147" y="113"/>
                    </a:lnTo>
                    <a:lnTo>
                      <a:pt x="133" y="121"/>
                    </a:lnTo>
                    <a:lnTo>
                      <a:pt x="114" y="113"/>
                    </a:lnTo>
                    <a:lnTo>
                      <a:pt x="102" y="91"/>
                    </a:lnTo>
                    <a:lnTo>
                      <a:pt x="121" y="62"/>
                    </a:lnTo>
                    <a:lnTo>
                      <a:pt x="156" y="50"/>
                    </a:lnTo>
                    <a:lnTo>
                      <a:pt x="146" y="45"/>
                    </a:lnTo>
                    <a:lnTo>
                      <a:pt x="152" y="30"/>
                    </a:lnTo>
                    <a:lnTo>
                      <a:pt x="113" y="27"/>
                    </a:lnTo>
                    <a:lnTo>
                      <a:pt x="83" y="0"/>
                    </a:lnTo>
                    <a:lnTo>
                      <a:pt x="76" y="21"/>
                    </a:lnTo>
                    <a:lnTo>
                      <a:pt x="46" y="37"/>
                    </a:lnTo>
                    <a:lnTo>
                      <a:pt x="30" y="59"/>
                    </a:lnTo>
                    <a:lnTo>
                      <a:pt x="12" y="55"/>
                    </a:lnTo>
                    <a:lnTo>
                      <a:pt x="14" y="42"/>
                    </a:lnTo>
                    <a:lnTo>
                      <a:pt x="0" y="52"/>
                    </a:lnTo>
                    <a:lnTo>
                      <a:pt x="0" y="52"/>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6" name="Paraguay">
                <a:extLst>
                  <a:ext uri="{FF2B5EF4-FFF2-40B4-BE49-F238E27FC236}">
                    <a16:creationId xmlns:a16="http://schemas.microsoft.com/office/drawing/2014/main" id="{CD5C3229-3714-12D3-EA7D-C6B3C31F7B91}"/>
                  </a:ext>
                </a:extLst>
              </p:cNvPr>
              <p:cNvSpPr>
                <a:spLocks noGrp="1" noRot="1" noMove="1" noResize="1" noEditPoints="1" noAdjustHandles="1" noChangeArrowheads="1" noChangeShapeType="1"/>
              </p:cNvSpPr>
              <p:nvPr/>
            </p:nvSpPr>
            <p:spPr bwMode="gray">
              <a:xfrm>
                <a:off x="3190900" y="5206592"/>
                <a:ext cx="203707" cy="237306"/>
              </a:xfrm>
              <a:custGeom>
                <a:avLst/>
                <a:gdLst/>
                <a:ahLst/>
                <a:cxnLst>
                  <a:cxn ang="0">
                    <a:pos x="0" y="39"/>
                  </a:cxn>
                  <a:cxn ang="0">
                    <a:pos x="0" y="39"/>
                  </a:cxn>
                  <a:cxn ang="0">
                    <a:pos x="8" y="6"/>
                  </a:cxn>
                  <a:cxn ang="0">
                    <a:pos x="48" y="0"/>
                  </a:cxn>
                  <a:cxn ang="0">
                    <a:pos x="62" y="11"/>
                  </a:cxn>
                  <a:cxn ang="0">
                    <a:pos x="65" y="36"/>
                  </a:cxn>
                  <a:cxn ang="0">
                    <a:pos x="93" y="40"/>
                  </a:cxn>
                  <a:cxn ang="0">
                    <a:pos x="97" y="57"/>
                  </a:cxn>
                  <a:cxn ang="0">
                    <a:pos x="111" y="60"/>
                  </a:cxn>
                  <a:cxn ang="0">
                    <a:pos x="109" y="82"/>
                  </a:cxn>
                  <a:cxn ang="0">
                    <a:pos x="95" y="104"/>
                  </a:cxn>
                  <a:cxn ang="0">
                    <a:pos x="58" y="102"/>
                  </a:cxn>
                  <a:cxn ang="0">
                    <a:pos x="66" y="78"/>
                  </a:cxn>
                  <a:cxn ang="0">
                    <a:pos x="0" y="39"/>
                  </a:cxn>
                  <a:cxn ang="0">
                    <a:pos x="0" y="39"/>
                  </a:cxn>
                </a:cxnLst>
                <a:rect l="0" t="0" r="r" b="b"/>
                <a:pathLst>
                  <a:path w="112" h="105">
                    <a:moveTo>
                      <a:pt x="0" y="39"/>
                    </a:moveTo>
                    <a:lnTo>
                      <a:pt x="0" y="39"/>
                    </a:lnTo>
                    <a:lnTo>
                      <a:pt x="8" y="6"/>
                    </a:lnTo>
                    <a:lnTo>
                      <a:pt x="48" y="0"/>
                    </a:lnTo>
                    <a:lnTo>
                      <a:pt x="62" y="11"/>
                    </a:lnTo>
                    <a:lnTo>
                      <a:pt x="65" y="36"/>
                    </a:lnTo>
                    <a:lnTo>
                      <a:pt x="93" y="40"/>
                    </a:lnTo>
                    <a:lnTo>
                      <a:pt x="97" y="57"/>
                    </a:lnTo>
                    <a:lnTo>
                      <a:pt x="111" y="60"/>
                    </a:lnTo>
                    <a:lnTo>
                      <a:pt x="109" y="82"/>
                    </a:lnTo>
                    <a:lnTo>
                      <a:pt x="95" y="104"/>
                    </a:lnTo>
                    <a:lnTo>
                      <a:pt x="58" y="102"/>
                    </a:lnTo>
                    <a:lnTo>
                      <a:pt x="66" y="78"/>
                    </a:lnTo>
                    <a:lnTo>
                      <a:pt x="0" y="39"/>
                    </a:lnTo>
                    <a:lnTo>
                      <a:pt x="0" y="39"/>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7" name="Guyana">
                <a:extLst>
                  <a:ext uri="{FF2B5EF4-FFF2-40B4-BE49-F238E27FC236}">
                    <a16:creationId xmlns:a16="http://schemas.microsoft.com/office/drawing/2014/main" id="{B353B087-CA54-D1BC-084C-43A28270A6C9}"/>
                  </a:ext>
                </a:extLst>
              </p:cNvPr>
              <p:cNvSpPr>
                <a:spLocks noGrp="1" noRot="1" noMove="1" noResize="1" noEditPoints="1" noAdjustHandles="1" noChangeArrowheads="1" noChangeShapeType="1"/>
              </p:cNvSpPr>
              <p:nvPr/>
            </p:nvSpPr>
            <p:spPr bwMode="gray">
              <a:xfrm>
                <a:off x="3223064" y="4448100"/>
                <a:ext cx="120080" cy="188514"/>
              </a:xfrm>
              <a:custGeom>
                <a:avLst/>
                <a:gdLst/>
                <a:ahLst/>
                <a:cxnLst>
                  <a:cxn ang="0">
                    <a:pos x="0" y="27"/>
                  </a:cxn>
                  <a:cxn ang="0">
                    <a:pos x="0" y="27"/>
                  </a:cxn>
                  <a:cxn ang="0">
                    <a:pos x="10" y="38"/>
                  </a:cxn>
                  <a:cxn ang="0">
                    <a:pos x="22" y="47"/>
                  </a:cxn>
                  <a:cxn ang="0">
                    <a:pos x="20" y="70"/>
                  </a:cxn>
                  <a:cxn ang="0">
                    <a:pos x="27" y="83"/>
                  </a:cxn>
                  <a:cxn ang="0">
                    <a:pos x="65" y="78"/>
                  </a:cxn>
                  <a:cxn ang="0">
                    <a:pos x="44" y="52"/>
                  </a:cxn>
                  <a:cxn ang="0">
                    <a:pos x="59" y="29"/>
                  </a:cxn>
                  <a:cxn ang="0">
                    <a:pos x="20" y="0"/>
                  </a:cxn>
                  <a:cxn ang="0">
                    <a:pos x="7" y="8"/>
                  </a:cxn>
                  <a:cxn ang="0">
                    <a:pos x="12" y="16"/>
                  </a:cxn>
                  <a:cxn ang="0">
                    <a:pos x="0" y="27"/>
                  </a:cxn>
                  <a:cxn ang="0">
                    <a:pos x="0" y="27"/>
                  </a:cxn>
                </a:cxnLst>
                <a:rect l="0" t="0" r="r" b="b"/>
                <a:pathLst>
                  <a:path w="66" h="84">
                    <a:moveTo>
                      <a:pt x="0" y="27"/>
                    </a:moveTo>
                    <a:lnTo>
                      <a:pt x="0" y="27"/>
                    </a:lnTo>
                    <a:lnTo>
                      <a:pt x="10" y="38"/>
                    </a:lnTo>
                    <a:lnTo>
                      <a:pt x="22" y="47"/>
                    </a:lnTo>
                    <a:lnTo>
                      <a:pt x="20" y="70"/>
                    </a:lnTo>
                    <a:lnTo>
                      <a:pt x="27" y="83"/>
                    </a:lnTo>
                    <a:lnTo>
                      <a:pt x="65" y="78"/>
                    </a:lnTo>
                    <a:lnTo>
                      <a:pt x="44" y="52"/>
                    </a:lnTo>
                    <a:lnTo>
                      <a:pt x="59" y="29"/>
                    </a:lnTo>
                    <a:lnTo>
                      <a:pt x="20" y="0"/>
                    </a:lnTo>
                    <a:lnTo>
                      <a:pt x="7" y="8"/>
                    </a:lnTo>
                    <a:lnTo>
                      <a:pt x="12" y="16"/>
                    </a:lnTo>
                    <a:lnTo>
                      <a:pt x="0" y="27"/>
                    </a:lnTo>
                    <a:lnTo>
                      <a:pt x="0" y="27"/>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8" name="French Guiana (France)">
                <a:extLst>
                  <a:ext uri="{FF2B5EF4-FFF2-40B4-BE49-F238E27FC236}">
                    <a16:creationId xmlns:a16="http://schemas.microsoft.com/office/drawing/2014/main" id="{15B12F53-2BF8-05DA-6542-BAE245241C6C}"/>
                  </a:ext>
                </a:extLst>
              </p:cNvPr>
              <p:cNvSpPr>
                <a:spLocks noGrp="1" noRot="1" noMove="1" noResize="1" noEditPoints="1" noAdjustHandles="1" noChangeArrowheads="1" noChangeShapeType="1"/>
              </p:cNvSpPr>
              <p:nvPr/>
            </p:nvSpPr>
            <p:spPr bwMode="gray">
              <a:xfrm>
                <a:off x="3394607" y="4525724"/>
                <a:ext cx="70762" cy="93149"/>
              </a:xfrm>
              <a:custGeom>
                <a:avLst/>
                <a:gdLst/>
                <a:ahLst/>
                <a:cxnLst>
                  <a:cxn ang="0">
                    <a:pos x="0" y="40"/>
                  </a:cxn>
                  <a:cxn ang="0">
                    <a:pos x="0" y="40"/>
                  </a:cxn>
                  <a:cxn ang="0">
                    <a:pos x="6" y="0"/>
                  </a:cxn>
                  <a:cxn ang="0">
                    <a:pos x="39" y="18"/>
                  </a:cxn>
                  <a:cxn ang="0">
                    <a:pos x="19" y="41"/>
                  </a:cxn>
                  <a:cxn ang="0">
                    <a:pos x="0" y="40"/>
                  </a:cxn>
                  <a:cxn ang="0">
                    <a:pos x="0" y="40"/>
                  </a:cxn>
                </a:cxnLst>
                <a:rect l="0" t="0" r="r" b="b"/>
                <a:pathLst>
                  <a:path w="40" h="42">
                    <a:moveTo>
                      <a:pt x="0" y="40"/>
                    </a:moveTo>
                    <a:lnTo>
                      <a:pt x="0" y="40"/>
                    </a:lnTo>
                    <a:lnTo>
                      <a:pt x="6" y="0"/>
                    </a:lnTo>
                    <a:lnTo>
                      <a:pt x="39" y="18"/>
                    </a:lnTo>
                    <a:lnTo>
                      <a:pt x="19" y="41"/>
                    </a:lnTo>
                    <a:lnTo>
                      <a:pt x="0" y="40"/>
                    </a:lnTo>
                    <a:lnTo>
                      <a:pt x="0" y="4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269" name="Falkland Islands (U.K.)">
                <a:extLst>
                  <a:ext uri="{FF2B5EF4-FFF2-40B4-BE49-F238E27FC236}">
                    <a16:creationId xmlns:a16="http://schemas.microsoft.com/office/drawing/2014/main" id="{F9246AD7-9DF0-E57F-DA56-AACCF5161436}"/>
                  </a:ext>
                </a:extLst>
              </p:cNvPr>
              <p:cNvGrpSpPr>
                <a:grpSpLocks noGrp="1" noUngrp="1" noRot="1" noMove="1" noResize="1"/>
              </p:cNvGrpSpPr>
              <p:nvPr/>
            </p:nvGrpSpPr>
            <p:grpSpPr>
              <a:xfrm>
                <a:off x="3233786" y="6215697"/>
                <a:ext cx="75354" cy="28833"/>
                <a:chOff x="3233786" y="6215697"/>
                <a:chExt cx="75354" cy="28833"/>
              </a:xfrm>
              <a:grpFill/>
            </p:grpSpPr>
            <p:sp>
              <p:nvSpPr>
                <p:cNvPr id="287" name="Falkland Islands (U.K.)">
                  <a:extLst>
                    <a:ext uri="{FF2B5EF4-FFF2-40B4-BE49-F238E27FC236}">
                      <a16:creationId xmlns:a16="http://schemas.microsoft.com/office/drawing/2014/main" id="{5A8CA093-E3B7-B6FF-8A9F-66E9E1846F66}"/>
                    </a:ext>
                  </a:extLst>
                </p:cNvPr>
                <p:cNvSpPr>
                  <a:spLocks noGrp="1" noRot="1" noMove="1" noResize="1" noEditPoints="1" noAdjustHandles="1" noChangeArrowheads="1" noChangeShapeType="1"/>
                </p:cNvSpPr>
                <p:nvPr/>
              </p:nvSpPr>
              <p:spPr bwMode="gray">
                <a:xfrm>
                  <a:off x="3233786" y="6220133"/>
                  <a:ext cx="36761" cy="22178"/>
                </a:xfrm>
                <a:custGeom>
                  <a:avLst/>
                  <a:gdLst>
                    <a:gd name="connsiteX0" fmla="*/ 0 w 9524"/>
                    <a:gd name="connsiteY0" fmla="*/ 9091 h 9091"/>
                    <a:gd name="connsiteX1" fmla="*/ 0 w 9524"/>
                    <a:gd name="connsiteY1" fmla="*/ 9091 h 9091"/>
                    <a:gd name="connsiteX2" fmla="*/ 5714 w 9524"/>
                    <a:gd name="connsiteY2" fmla="*/ 3636 h 9091"/>
                    <a:gd name="connsiteX3" fmla="*/ 2857 w 9524"/>
                    <a:gd name="connsiteY3" fmla="*/ 0 h 9091"/>
                    <a:gd name="connsiteX4" fmla="*/ 9524 w 9524"/>
                    <a:gd name="connsiteY4" fmla="*/ 0 h 9091"/>
                    <a:gd name="connsiteX5" fmla="*/ 0 w 9524"/>
                    <a:gd name="connsiteY5" fmla="*/ 9091 h 9091"/>
                    <a:gd name="connsiteX6" fmla="*/ 0 w 9524"/>
                    <a:gd name="connsiteY6" fmla="*/ 9091 h 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4" h="9091">
                      <a:moveTo>
                        <a:pt x="0" y="9091"/>
                      </a:moveTo>
                      <a:lnTo>
                        <a:pt x="0" y="9091"/>
                      </a:lnTo>
                      <a:lnTo>
                        <a:pt x="5714" y="3636"/>
                      </a:lnTo>
                      <a:lnTo>
                        <a:pt x="2857" y="0"/>
                      </a:lnTo>
                      <a:lnTo>
                        <a:pt x="9524" y="0"/>
                      </a:lnTo>
                      <a:lnTo>
                        <a:pt x="0" y="9091"/>
                      </a:lnTo>
                      <a:lnTo>
                        <a:pt x="0" y="9091"/>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88" name="Falkland Islands (U.K.)">
                  <a:extLst>
                    <a:ext uri="{FF2B5EF4-FFF2-40B4-BE49-F238E27FC236}">
                      <a16:creationId xmlns:a16="http://schemas.microsoft.com/office/drawing/2014/main" id="{8B61D7EE-5428-B426-976C-675B585ADA83}"/>
                    </a:ext>
                  </a:extLst>
                </p:cNvPr>
                <p:cNvSpPr>
                  <a:spLocks noGrp="1" noRot="1" noMove="1" noResize="1" noEditPoints="1" noAdjustHandles="1" noChangeArrowheads="1" noChangeShapeType="1"/>
                </p:cNvSpPr>
                <p:nvPr/>
              </p:nvSpPr>
              <p:spPr bwMode="gray">
                <a:xfrm>
                  <a:off x="3263193" y="6215697"/>
                  <a:ext cx="45947" cy="28833"/>
                </a:xfrm>
                <a:custGeom>
                  <a:avLst/>
                  <a:gdLst>
                    <a:gd name="connsiteX0" fmla="*/ 0 w 9615"/>
                    <a:gd name="connsiteY0" fmla="*/ 9286 h 9286"/>
                    <a:gd name="connsiteX1" fmla="*/ 0 w 9615"/>
                    <a:gd name="connsiteY1" fmla="*/ 9286 h 9286"/>
                    <a:gd name="connsiteX2" fmla="*/ 4615 w 9615"/>
                    <a:gd name="connsiteY2" fmla="*/ 0 h 9286"/>
                    <a:gd name="connsiteX3" fmla="*/ 9615 w 9615"/>
                    <a:gd name="connsiteY3" fmla="*/ 3571 h 9286"/>
                    <a:gd name="connsiteX4" fmla="*/ 0 w 9615"/>
                    <a:gd name="connsiteY4" fmla="*/ 9286 h 9286"/>
                    <a:gd name="connsiteX5" fmla="*/ 0 w 9615"/>
                    <a:gd name="connsiteY5" fmla="*/ 9286 h 9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15" h="9286">
                      <a:moveTo>
                        <a:pt x="0" y="9286"/>
                      </a:moveTo>
                      <a:lnTo>
                        <a:pt x="0" y="9286"/>
                      </a:lnTo>
                      <a:lnTo>
                        <a:pt x="4615" y="0"/>
                      </a:lnTo>
                      <a:lnTo>
                        <a:pt x="9615" y="3571"/>
                      </a:lnTo>
                      <a:lnTo>
                        <a:pt x="0" y="9286"/>
                      </a:lnTo>
                      <a:lnTo>
                        <a:pt x="0" y="9286"/>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270" name="Ecuador">
                <a:extLst>
                  <a:ext uri="{FF2B5EF4-FFF2-40B4-BE49-F238E27FC236}">
                    <a16:creationId xmlns:a16="http://schemas.microsoft.com/office/drawing/2014/main" id="{B02D3265-D48A-05DA-B147-C15C894CEE71}"/>
                  </a:ext>
                </a:extLst>
              </p:cNvPr>
              <p:cNvSpPr>
                <a:spLocks noGrp="1" noRot="1" noMove="1" noResize="1" noEditPoints="1" noAdjustHandles="1" noChangeArrowheads="1" noChangeShapeType="1"/>
              </p:cNvSpPr>
              <p:nvPr/>
            </p:nvSpPr>
            <p:spPr bwMode="gray">
              <a:xfrm>
                <a:off x="2740599" y="4636614"/>
                <a:ext cx="137234" cy="177425"/>
              </a:xfrm>
              <a:custGeom>
                <a:avLst/>
                <a:gdLst/>
                <a:ahLst/>
                <a:cxnLst>
                  <a:cxn ang="0">
                    <a:pos x="0" y="30"/>
                  </a:cxn>
                  <a:cxn ang="0">
                    <a:pos x="0" y="30"/>
                  </a:cxn>
                  <a:cxn ang="0">
                    <a:pos x="0" y="45"/>
                  </a:cxn>
                  <a:cxn ang="0">
                    <a:pos x="14" y="48"/>
                  </a:cxn>
                  <a:cxn ang="0">
                    <a:pos x="6" y="60"/>
                  </a:cxn>
                  <a:cxn ang="0">
                    <a:pos x="4" y="73"/>
                  </a:cxn>
                  <a:cxn ang="0">
                    <a:pos x="22" y="77"/>
                  </a:cxn>
                  <a:cxn ang="0">
                    <a:pos x="38" y="55"/>
                  </a:cxn>
                  <a:cxn ang="0">
                    <a:pos x="68" y="39"/>
                  </a:cxn>
                  <a:cxn ang="0">
                    <a:pos x="75" y="18"/>
                  </a:cxn>
                  <a:cxn ang="0">
                    <a:pos x="47" y="15"/>
                  </a:cxn>
                  <a:cxn ang="0">
                    <a:pos x="26" y="0"/>
                  </a:cxn>
                  <a:cxn ang="0">
                    <a:pos x="9" y="8"/>
                  </a:cxn>
                  <a:cxn ang="0">
                    <a:pos x="0" y="30"/>
                  </a:cxn>
                  <a:cxn ang="0">
                    <a:pos x="0" y="30"/>
                  </a:cxn>
                </a:cxnLst>
                <a:rect l="0" t="0" r="r" b="b"/>
                <a:pathLst>
                  <a:path w="76" h="78">
                    <a:moveTo>
                      <a:pt x="0" y="30"/>
                    </a:moveTo>
                    <a:lnTo>
                      <a:pt x="0" y="30"/>
                    </a:lnTo>
                    <a:lnTo>
                      <a:pt x="0" y="45"/>
                    </a:lnTo>
                    <a:lnTo>
                      <a:pt x="14" y="48"/>
                    </a:lnTo>
                    <a:lnTo>
                      <a:pt x="6" y="60"/>
                    </a:lnTo>
                    <a:lnTo>
                      <a:pt x="4" y="73"/>
                    </a:lnTo>
                    <a:lnTo>
                      <a:pt x="22" y="77"/>
                    </a:lnTo>
                    <a:lnTo>
                      <a:pt x="38" y="55"/>
                    </a:lnTo>
                    <a:lnTo>
                      <a:pt x="68" y="39"/>
                    </a:lnTo>
                    <a:lnTo>
                      <a:pt x="75" y="18"/>
                    </a:lnTo>
                    <a:lnTo>
                      <a:pt x="47" y="15"/>
                    </a:lnTo>
                    <a:lnTo>
                      <a:pt x="26" y="0"/>
                    </a:lnTo>
                    <a:lnTo>
                      <a:pt x="9" y="8"/>
                    </a:lnTo>
                    <a:lnTo>
                      <a:pt x="0" y="30"/>
                    </a:lnTo>
                    <a:lnTo>
                      <a:pt x="0" y="3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1" name="Colombia">
                <a:extLst>
                  <a:ext uri="{FF2B5EF4-FFF2-40B4-BE49-F238E27FC236}">
                    <a16:creationId xmlns:a16="http://schemas.microsoft.com/office/drawing/2014/main" id="{1886FEDC-44C6-7AC4-F8E2-DCF6A0D7534C}"/>
                  </a:ext>
                </a:extLst>
              </p:cNvPr>
              <p:cNvSpPr>
                <a:spLocks noGrp="1" noRot="1" noMove="1" noResize="1" noEditPoints="1" noAdjustHandles="1" noChangeArrowheads="1" noChangeShapeType="1"/>
              </p:cNvSpPr>
              <p:nvPr/>
            </p:nvSpPr>
            <p:spPr bwMode="gray">
              <a:xfrm>
                <a:off x="2787773" y="4334992"/>
                <a:ext cx="300201" cy="456870"/>
              </a:xfrm>
              <a:custGeom>
                <a:avLst/>
                <a:gdLst/>
                <a:ahLst/>
                <a:cxnLst>
                  <a:cxn ang="0">
                    <a:pos x="0" y="134"/>
                  </a:cxn>
                  <a:cxn ang="0">
                    <a:pos x="0" y="134"/>
                  </a:cxn>
                  <a:cxn ang="0">
                    <a:pos x="21" y="149"/>
                  </a:cxn>
                  <a:cxn ang="0">
                    <a:pos x="49" y="152"/>
                  </a:cxn>
                  <a:cxn ang="0">
                    <a:pos x="79" y="179"/>
                  </a:cxn>
                  <a:cxn ang="0">
                    <a:pos x="118" y="182"/>
                  </a:cxn>
                  <a:cxn ang="0">
                    <a:pos x="112" y="197"/>
                  </a:cxn>
                  <a:cxn ang="0">
                    <a:pos x="122" y="202"/>
                  </a:cxn>
                  <a:cxn ang="0">
                    <a:pos x="128" y="166"/>
                  </a:cxn>
                  <a:cxn ang="0">
                    <a:pos x="121" y="145"/>
                  </a:cxn>
                  <a:cxn ang="0">
                    <a:pos x="134" y="143"/>
                  </a:cxn>
                  <a:cxn ang="0">
                    <a:pos x="123" y="131"/>
                  </a:cxn>
                  <a:cxn ang="0">
                    <a:pos x="156" y="127"/>
                  </a:cxn>
                  <a:cxn ang="0">
                    <a:pos x="164" y="135"/>
                  </a:cxn>
                  <a:cxn ang="0">
                    <a:pos x="152" y="118"/>
                  </a:cxn>
                  <a:cxn ang="0">
                    <a:pos x="156" y="75"/>
                  </a:cxn>
                  <a:cxn ang="0">
                    <a:pos x="129" y="77"/>
                  </a:cxn>
                  <a:cxn ang="0">
                    <a:pos x="121" y="67"/>
                  </a:cxn>
                  <a:cxn ang="0">
                    <a:pos x="94" y="64"/>
                  </a:cxn>
                  <a:cxn ang="0">
                    <a:pos x="77" y="40"/>
                  </a:cxn>
                  <a:cxn ang="0">
                    <a:pos x="103" y="8"/>
                  </a:cxn>
                  <a:cxn ang="0">
                    <a:pos x="99" y="0"/>
                  </a:cxn>
                  <a:cxn ang="0">
                    <a:pos x="53" y="18"/>
                  </a:cxn>
                  <a:cxn ang="0">
                    <a:pos x="28" y="54"/>
                  </a:cxn>
                  <a:cxn ang="0">
                    <a:pos x="20" y="45"/>
                  </a:cxn>
                  <a:cxn ang="0">
                    <a:pos x="13" y="63"/>
                  </a:cxn>
                  <a:cxn ang="0">
                    <a:pos x="20" y="103"/>
                  </a:cxn>
                  <a:cxn ang="0">
                    <a:pos x="26" y="103"/>
                  </a:cxn>
                  <a:cxn ang="0">
                    <a:pos x="0" y="134"/>
                  </a:cxn>
                  <a:cxn ang="0">
                    <a:pos x="0" y="134"/>
                  </a:cxn>
                </a:cxnLst>
                <a:rect l="0" t="0" r="r" b="b"/>
                <a:pathLst>
                  <a:path w="165" h="203">
                    <a:moveTo>
                      <a:pt x="0" y="134"/>
                    </a:moveTo>
                    <a:lnTo>
                      <a:pt x="0" y="134"/>
                    </a:lnTo>
                    <a:lnTo>
                      <a:pt x="21" y="149"/>
                    </a:lnTo>
                    <a:lnTo>
                      <a:pt x="49" y="152"/>
                    </a:lnTo>
                    <a:lnTo>
                      <a:pt x="79" y="179"/>
                    </a:lnTo>
                    <a:lnTo>
                      <a:pt x="118" y="182"/>
                    </a:lnTo>
                    <a:lnTo>
                      <a:pt x="112" y="197"/>
                    </a:lnTo>
                    <a:lnTo>
                      <a:pt x="122" y="202"/>
                    </a:lnTo>
                    <a:lnTo>
                      <a:pt x="128" y="166"/>
                    </a:lnTo>
                    <a:lnTo>
                      <a:pt x="121" y="145"/>
                    </a:lnTo>
                    <a:lnTo>
                      <a:pt x="134" y="143"/>
                    </a:lnTo>
                    <a:lnTo>
                      <a:pt x="123" y="131"/>
                    </a:lnTo>
                    <a:lnTo>
                      <a:pt x="156" y="127"/>
                    </a:lnTo>
                    <a:lnTo>
                      <a:pt x="164" y="135"/>
                    </a:lnTo>
                    <a:lnTo>
                      <a:pt x="152" y="118"/>
                    </a:lnTo>
                    <a:lnTo>
                      <a:pt x="156" y="75"/>
                    </a:lnTo>
                    <a:lnTo>
                      <a:pt x="129" y="77"/>
                    </a:lnTo>
                    <a:lnTo>
                      <a:pt x="121" y="67"/>
                    </a:lnTo>
                    <a:lnTo>
                      <a:pt x="94" y="64"/>
                    </a:lnTo>
                    <a:lnTo>
                      <a:pt x="77" y="40"/>
                    </a:lnTo>
                    <a:lnTo>
                      <a:pt x="103" y="8"/>
                    </a:lnTo>
                    <a:lnTo>
                      <a:pt x="99" y="0"/>
                    </a:lnTo>
                    <a:lnTo>
                      <a:pt x="53" y="18"/>
                    </a:lnTo>
                    <a:lnTo>
                      <a:pt x="28" y="54"/>
                    </a:lnTo>
                    <a:lnTo>
                      <a:pt x="20" y="45"/>
                    </a:lnTo>
                    <a:lnTo>
                      <a:pt x="13" y="63"/>
                    </a:lnTo>
                    <a:lnTo>
                      <a:pt x="20" y="103"/>
                    </a:lnTo>
                    <a:lnTo>
                      <a:pt x="26" y="103"/>
                    </a:lnTo>
                    <a:lnTo>
                      <a:pt x="0" y="134"/>
                    </a:lnTo>
                    <a:lnTo>
                      <a:pt x="0" y="134"/>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272" name="Chile">
                <a:extLst>
                  <a:ext uri="{FF2B5EF4-FFF2-40B4-BE49-F238E27FC236}">
                    <a16:creationId xmlns:a16="http://schemas.microsoft.com/office/drawing/2014/main" id="{D8B9D6B1-D643-D4B3-EBC9-DBBBD9C3EBBC}"/>
                  </a:ext>
                </a:extLst>
              </p:cNvPr>
              <p:cNvGrpSpPr>
                <a:grpSpLocks noGrp="1" noUngrp="1" noRot="1" noMove="1" noResize="1"/>
              </p:cNvGrpSpPr>
              <p:nvPr/>
            </p:nvGrpSpPr>
            <p:grpSpPr>
              <a:xfrm>
                <a:off x="2869256" y="5157801"/>
                <a:ext cx="214430" cy="1222014"/>
                <a:chOff x="2869256" y="5157801"/>
                <a:chExt cx="214430" cy="1222014"/>
              </a:xfrm>
              <a:grpFill/>
            </p:grpSpPr>
            <p:sp>
              <p:nvSpPr>
                <p:cNvPr id="278" name="Chile">
                  <a:extLst>
                    <a:ext uri="{FF2B5EF4-FFF2-40B4-BE49-F238E27FC236}">
                      <a16:creationId xmlns:a16="http://schemas.microsoft.com/office/drawing/2014/main" id="{DE6AA0F9-0550-E20E-5A8E-9BD466D8CE78}"/>
                    </a:ext>
                  </a:extLst>
                </p:cNvPr>
                <p:cNvSpPr>
                  <a:spLocks noGrp="1" noRot="1" noMove="1" noResize="1" noEditPoints="1" noAdjustHandles="1" noChangeArrowheads="1" noChangeShapeType="1"/>
                </p:cNvSpPr>
                <p:nvPr/>
              </p:nvSpPr>
              <p:spPr bwMode="gray">
                <a:xfrm>
                  <a:off x="2869256" y="5157801"/>
                  <a:ext cx="207162" cy="1152249"/>
                </a:xfrm>
                <a:custGeom>
                  <a:avLst/>
                  <a:gdLst/>
                  <a:ahLst/>
                  <a:cxnLst>
                    <a:cxn ang="0">
                      <a:pos x="0" y="400"/>
                    </a:cxn>
                    <a:cxn ang="0">
                      <a:pos x="0" y="400"/>
                    </a:cxn>
                    <a:cxn ang="0">
                      <a:pos x="9" y="386"/>
                    </a:cxn>
                    <a:cxn ang="0">
                      <a:pos x="24" y="396"/>
                    </a:cxn>
                    <a:cxn ang="0">
                      <a:pos x="39" y="370"/>
                    </a:cxn>
                    <a:cxn ang="0">
                      <a:pos x="33" y="360"/>
                    </a:cxn>
                    <a:cxn ang="0">
                      <a:pos x="45" y="323"/>
                    </a:cxn>
                    <a:cxn ang="0">
                      <a:pos x="23" y="320"/>
                    </a:cxn>
                    <a:cxn ang="0">
                      <a:pos x="27" y="261"/>
                    </a:cxn>
                    <a:cxn ang="0">
                      <a:pos x="55" y="200"/>
                    </a:cxn>
                    <a:cxn ang="0">
                      <a:pos x="54" y="150"/>
                    </a:cxn>
                    <a:cxn ang="0">
                      <a:pos x="74" y="52"/>
                    </a:cxn>
                    <a:cxn ang="0">
                      <a:pos x="68" y="9"/>
                    </a:cxn>
                    <a:cxn ang="0">
                      <a:pos x="81" y="0"/>
                    </a:cxn>
                    <a:cxn ang="0">
                      <a:pos x="95" y="22"/>
                    </a:cxn>
                    <a:cxn ang="0">
                      <a:pos x="104" y="68"/>
                    </a:cxn>
                    <a:cxn ang="0">
                      <a:pos x="113" y="69"/>
                    </a:cxn>
                    <a:cxn ang="0">
                      <a:pos x="112" y="84"/>
                    </a:cxn>
                    <a:cxn ang="0">
                      <a:pos x="97" y="90"/>
                    </a:cxn>
                    <a:cxn ang="0">
                      <a:pos x="98" y="120"/>
                    </a:cxn>
                    <a:cxn ang="0">
                      <a:pos x="81" y="137"/>
                    </a:cxn>
                    <a:cxn ang="0">
                      <a:pos x="68" y="178"/>
                    </a:cxn>
                    <a:cxn ang="0">
                      <a:pos x="78" y="218"/>
                    </a:cxn>
                    <a:cxn ang="0">
                      <a:pos x="60" y="252"/>
                    </a:cxn>
                    <a:cxn ang="0">
                      <a:pos x="48" y="336"/>
                    </a:cxn>
                    <a:cxn ang="0">
                      <a:pos x="58" y="367"/>
                    </a:cxn>
                    <a:cxn ang="0">
                      <a:pos x="49" y="370"/>
                    </a:cxn>
                    <a:cxn ang="0">
                      <a:pos x="53" y="397"/>
                    </a:cxn>
                    <a:cxn ang="0">
                      <a:pos x="30" y="453"/>
                    </a:cxn>
                    <a:cxn ang="0">
                      <a:pos x="32" y="463"/>
                    </a:cxn>
                    <a:cxn ang="0">
                      <a:pos x="44" y="459"/>
                    </a:cxn>
                    <a:cxn ang="0">
                      <a:pos x="48" y="481"/>
                    </a:cxn>
                    <a:cxn ang="0">
                      <a:pos x="98" y="485"/>
                    </a:cxn>
                    <a:cxn ang="0">
                      <a:pos x="64" y="494"/>
                    </a:cxn>
                    <a:cxn ang="0">
                      <a:pos x="60" y="511"/>
                    </a:cxn>
                    <a:cxn ang="0">
                      <a:pos x="46" y="506"/>
                    </a:cxn>
                    <a:cxn ang="0">
                      <a:pos x="62" y="495"/>
                    </a:cxn>
                    <a:cxn ang="0">
                      <a:pos x="38" y="492"/>
                    </a:cxn>
                    <a:cxn ang="0">
                      <a:pos x="35" y="473"/>
                    </a:cxn>
                    <a:cxn ang="0">
                      <a:pos x="29" y="482"/>
                    </a:cxn>
                    <a:cxn ang="0">
                      <a:pos x="20" y="465"/>
                    </a:cxn>
                    <a:cxn ang="0">
                      <a:pos x="24" y="459"/>
                    </a:cxn>
                    <a:cxn ang="0">
                      <a:pos x="14" y="453"/>
                    </a:cxn>
                    <a:cxn ang="0">
                      <a:pos x="23" y="443"/>
                    </a:cxn>
                    <a:cxn ang="0">
                      <a:pos x="14" y="418"/>
                    </a:cxn>
                    <a:cxn ang="0">
                      <a:pos x="32" y="421"/>
                    </a:cxn>
                    <a:cxn ang="0">
                      <a:pos x="14" y="409"/>
                    </a:cxn>
                    <a:cxn ang="0">
                      <a:pos x="18" y="399"/>
                    </a:cxn>
                    <a:cxn ang="0">
                      <a:pos x="0" y="400"/>
                    </a:cxn>
                    <a:cxn ang="0">
                      <a:pos x="0" y="400"/>
                    </a:cxn>
                  </a:cxnLst>
                  <a:rect l="0" t="0" r="r" b="b"/>
                  <a:pathLst>
                    <a:path w="114" h="512">
                      <a:moveTo>
                        <a:pt x="0" y="400"/>
                      </a:moveTo>
                      <a:lnTo>
                        <a:pt x="0" y="400"/>
                      </a:lnTo>
                      <a:lnTo>
                        <a:pt x="9" y="386"/>
                      </a:lnTo>
                      <a:lnTo>
                        <a:pt x="24" y="396"/>
                      </a:lnTo>
                      <a:lnTo>
                        <a:pt x="39" y="370"/>
                      </a:lnTo>
                      <a:lnTo>
                        <a:pt x="33" y="360"/>
                      </a:lnTo>
                      <a:lnTo>
                        <a:pt x="45" y="323"/>
                      </a:lnTo>
                      <a:lnTo>
                        <a:pt x="23" y="320"/>
                      </a:lnTo>
                      <a:lnTo>
                        <a:pt x="27" y="261"/>
                      </a:lnTo>
                      <a:lnTo>
                        <a:pt x="55" y="200"/>
                      </a:lnTo>
                      <a:lnTo>
                        <a:pt x="54" y="150"/>
                      </a:lnTo>
                      <a:lnTo>
                        <a:pt x="74" y="52"/>
                      </a:lnTo>
                      <a:lnTo>
                        <a:pt x="68" y="9"/>
                      </a:lnTo>
                      <a:lnTo>
                        <a:pt x="81" y="0"/>
                      </a:lnTo>
                      <a:lnTo>
                        <a:pt x="95" y="22"/>
                      </a:lnTo>
                      <a:lnTo>
                        <a:pt x="104" y="68"/>
                      </a:lnTo>
                      <a:lnTo>
                        <a:pt x="113" y="69"/>
                      </a:lnTo>
                      <a:lnTo>
                        <a:pt x="112" y="84"/>
                      </a:lnTo>
                      <a:lnTo>
                        <a:pt x="97" y="90"/>
                      </a:lnTo>
                      <a:lnTo>
                        <a:pt x="98" y="120"/>
                      </a:lnTo>
                      <a:lnTo>
                        <a:pt x="81" y="137"/>
                      </a:lnTo>
                      <a:lnTo>
                        <a:pt x="68" y="178"/>
                      </a:lnTo>
                      <a:lnTo>
                        <a:pt x="78" y="218"/>
                      </a:lnTo>
                      <a:lnTo>
                        <a:pt x="60" y="252"/>
                      </a:lnTo>
                      <a:lnTo>
                        <a:pt x="48" y="336"/>
                      </a:lnTo>
                      <a:lnTo>
                        <a:pt x="58" y="367"/>
                      </a:lnTo>
                      <a:lnTo>
                        <a:pt x="49" y="370"/>
                      </a:lnTo>
                      <a:lnTo>
                        <a:pt x="53" y="397"/>
                      </a:lnTo>
                      <a:lnTo>
                        <a:pt x="30" y="453"/>
                      </a:lnTo>
                      <a:lnTo>
                        <a:pt x="32" y="463"/>
                      </a:lnTo>
                      <a:lnTo>
                        <a:pt x="44" y="459"/>
                      </a:lnTo>
                      <a:lnTo>
                        <a:pt x="48" y="481"/>
                      </a:lnTo>
                      <a:lnTo>
                        <a:pt x="98" y="485"/>
                      </a:lnTo>
                      <a:lnTo>
                        <a:pt x="64" y="494"/>
                      </a:lnTo>
                      <a:lnTo>
                        <a:pt x="60" y="511"/>
                      </a:lnTo>
                      <a:lnTo>
                        <a:pt x="46" y="506"/>
                      </a:lnTo>
                      <a:lnTo>
                        <a:pt x="62" y="495"/>
                      </a:lnTo>
                      <a:lnTo>
                        <a:pt x="38" y="492"/>
                      </a:lnTo>
                      <a:lnTo>
                        <a:pt x="35" y="473"/>
                      </a:lnTo>
                      <a:lnTo>
                        <a:pt x="29" y="482"/>
                      </a:lnTo>
                      <a:lnTo>
                        <a:pt x="20" y="465"/>
                      </a:lnTo>
                      <a:lnTo>
                        <a:pt x="24" y="459"/>
                      </a:lnTo>
                      <a:lnTo>
                        <a:pt x="14" y="453"/>
                      </a:lnTo>
                      <a:lnTo>
                        <a:pt x="23" y="443"/>
                      </a:lnTo>
                      <a:lnTo>
                        <a:pt x="14" y="418"/>
                      </a:lnTo>
                      <a:lnTo>
                        <a:pt x="32" y="421"/>
                      </a:lnTo>
                      <a:lnTo>
                        <a:pt x="14" y="409"/>
                      </a:lnTo>
                      <a:lnTo>
                        <a:pt x="18" y="399"/>
                      </a:lnTo>
                      <a:lnTo>
                        <a:pt x="0" y="400"/>
                      </a:lnTo>
                      <a:lnTo>
                        <a:pt x="0" y="40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9" name="Chile">
                  <a:extLst>
                    <a:ext uri="{FF2B5EF4-FFF2-40B4-BE49-F238E27FC236}">
                      <a16:creationId xmlns:a16="http://schemas.microsoft.com/office/drawing/2014/main" id="{A8924124-F146-C09F-D40D-E5FB41BA1E82}"/>
                    </a:ext>
                  </a:extLst>
                </p:cNvPr>
                <p:cNvSpPr>
                  <a:spLocks noGrp="1" noRot="1" noMove="1" noResize="1" noEditPoints="1" noAdjustHandles="1" noChangeArrowheads="1" noChangeShapeType="1"/>
                </p:cNvSpPr>
                <p:nvPr/>
              </p:nvSpPr>
              <p:spPr bwMode="gray">
                <a:xfrm>
                  <a:off x="2880159" y="6123259"/>
                  <a:ext cx="18172" cy="42759"/>
                </a:xfrm>
                <a:custGeom>
                  <a:avLst/>
                  <a:gdLst/>
                  <a:ahLst/>
                  <a:cxnLst>
                    <a:cxn ang="0">
                      <a:pos x="0" y="8"/>
                    </a:cxn>
                    <a:cxn ang="0">
                      <a:pos x="0" y="8"/>
                    </a:cxn>
                    <a:cxn ang="0">
                      <a:pos x="3" y="0"/>
                    </a:cxn>
                    <a:cxn ang="0">
                      <a:pos x="9" y="18"/>
                    </a:cxn>
                    <a:cxn ang="0">
                      <a:pos x="0" y="8"/>
                    </a:cxn>
                    <a:cxn ang="0">
                      <a:pos x="0" y="8"/>
                    </a:cxn>
                  </a:cxnLst>
                  <a:rect l="0" t="0" r="r" b="b"/>
                  <a:pathLst>
                    <a:path w="10" h="19">
                      <a:moveTo>
                        <a:pt x="0" y="8"/>
                      </a:moveTo>
                      <a:lnTo>
                        <a:pt x="0" y="8"/>
                      </a:lnTo>
                      <a:lnTo>
                        <a:pt x="3" y="0"/>
                      </a:lnTo>
                      <a:lnTo>
                        <a:pt x="9" y="18"/>
                      </a:lnTo>
                      <a:lnTo>
                        <a:pt x="0" y="8"/>
                      </a:lnTo>
                      <a:lnTo>
                        <a:pt x="0" y="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80" name="Chile">
                  <a:extLst>
                    <a:ext uri="{FF2B5EF4-FFF2-40B4-BE49-F238E27FC236}">
                      <a16:creationId xmlns:a16="http://schemas.microsoft.com/office/drawing/2014/main" id="{C5BB8604-F354-12FF-D18B-42D63B6D5EB6}"/>
                    </a:ext>
                  </a:extLst>
                </p:cNvPr>
                <p:cNvSpPr>
                  <a:spLocks noGrp="1" noRot="1" noMove="1" noResize="1" noEditPoints="1" noAdjustHandles="1" noChangeArrowheads="1" noChangeShapeType="1"/>
                </p:cNvSpPr>
                <p:nvPr/>
              </p:nvSpPr>
              <p:spPr bwMode="gray">
                <a:xfrm>
                  <a:off x="2896514" y="5891460"/>
                  <a:ext cx="16355" cy="54012"/>
                </a:xfrm>
                <a:custGeom>
                  <a:avLst/>
                  <a:gdLst/>
                  <a:ahLst/>
                  <a:cxnLst>
                    <a:cxn ang="0">
                      <a:pos x="0" y="20"/>
                    </a:cxn>
                    <a:cxn ang="0">
                      <a:pos x="0" y="20"/>
                    </a:cxn>
                    <a:cxn ang="0">
                      <a:pos x="8" y="0"/>
                    </a:cxn>
                    <a:cxn ang="0">
                      <a:pos x="8" y="23"/>
                    </a:cxn>
                    <a:cxn ang="0">
                      <a:pos x="0" y="20"/>
                    </a:cxn>
                    <a:cxn ang="0">
                      <a:pos x="0" y="20"/>
                    </a:cxn>
                  </a:cxnLst>
                  <a:rect l="0" t="0" r="r" b="b"/>
                  <a:pathLst>
                    <a:path w="9" h="24">
                      <a:moveTo>
                        <a:pt x="0" y="20"/>
                      </a:moveTo>
                      <a:lnTo>
                        <a:pt x="0" y="20"/>
                      </a:lnTo>
                      <a:lnTo>
                        <a:pt x="8" y="0"/>
                      </a:lnTo>
                      <a:lnTo>
                        <a:pt x="8" y="23"/>
                      </a:lnTo>
                      <a:lnTo>
                        <a:pt x="0" y="20"/>
                      </a:lnTo>
                      <a:lnTo>
                        <a:pt x="0" y="2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81" name="Chile">
                  <a:extLst>
                    <a:ext uri="{FF2B5EF4-FFF2-40B4-BE49-F238E27FC236}">
                      <a16:creationId xmlns:a16="http://schemas.microsoft.com/office/drawing/2014/main" id="{9C9BD471-475B-D3D5-C3CC-E49370F605B0}"/>
                    </a:ext>
                  </a:extLst>
                </p:cNvPr>
                <p:cNvSpPr>
                  <a:spLocks noGrp="1" noRot="1" noMove="1" noResize="1" noEditPoints="1" noAdjustHandles="1" noChangeArrowheads="1" noChangeShapeType="1"/>
                </p:cNvSpPr>
                <p:nvPr/>
              </p:nvSpPr>
              <p:spPr bwMode="gray">
                <a:xfrm>
                  <a:off x="2914686" y="6292046"/>
                  <a:ext cx="34527" cy="27005"/>
                </a:xfrm>
                <a:custGeom>
                  <a:avLst/>
                  <a:gdLst/>
                  <a:ahLst/>
                  <a:cxnLst>
                    <a:cxn ang="0">
                      <a:pos x="0" y="0"/>
                    </a:cxn>
                    <a:cxn ang="0">
                      <a:pos x="0" y="0"/>
                    </a:cxn>
                    <a:cxn ang="0">
                      <a:pos x="17" y="4"/>
                    </a:cxn>
                    <a:cxn ang="0">
                      <a:pos x="18" y="11"/>
                    </a:cxn>
                    <a:cxn ang="0">
                      <a:pos x="0" y="0"/>
                    </a:cxn>
                    <a:cxn ang="0">
                      <a:pos x="0" y="0"/>
                    </a:cxn>
                  </a:cxnLst>
                  <a:rect l="0" t="0" r="r" b="b"/>
                  <a:pathLst>
                    <a:path w="19" h="12">
                      <a:moveTo>
                        <a:pt x="0" y="0"/>
                      </a:moveTo>
                      <a:lnTo>
                        <a:pt x="0" y="0"/>
                      </a:lnTo>
                      <a:lnTo>
                        <a:pt x="17" y="4"/>
                      </a:lnTo>
                      <a:lnTo>
                        <a:pt x="18" y="11"/>
                      </a:lnTo>
                      <a:lnTo>
                        <a:pt x="0" y="0"/>
                      </a:lnTo>
                      <a:lnTo>
                        <a:pt x="0" y="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82" name="Chile">
                  <a:extLst>
                    <a:ext uri="{FF2B5EF4-FFF2-40B4-BE49-F238E27FC236}">
                      <a16:creationId xmlns:a16="http://schemas.microsoft.com/office/drawing/2014/main" id="{E7F5F8FD-F2B2-3CB5-B4E9-08873C5129E7}"/>
                    </a:ext>
                  </a:extLst>
                </p:cNvPr>
                <p:cNvSpPr>
                  <a:spLocks noGrp="1" noRot="1" noMove="1" noResize="1" noEditPoints="1" noAdjustHandles="1" noChangeArrowheads="1" noChangeShapeType="1"/>
                </p:cNvSpPr>
                <p:nvPr/>
              </p:nvSpPr>
              <p:spPr bwMode="gray">
                <a:xfrm>
                  <a:off x="2920137" y="6240284"/>
                  <a:ext cx="50881" cy="56263"/>
                </a:xfrm>
                <a:custGeom>
                  <a:avLst/>
                  <a:gdLst/>
                  <a:ahLst/>
                  <a:cxnLst>
                    <a:cxn ang="0">
                      <a:pos x="0" y="4"/>
                    </a:cxn>
                    <a:cxn ang="0">
                      <a:pos x="0" y="4"/>
                    </a:cxn>
                    <a:cxn ang="0">
                      <a:pos x="8" y="0"/>
                    </a:cxn>
                    <a:cxn ang="0">
                      <a:pos x="7" y="11"/>
                    </a:cxn>
                    <a:cxn ang="0">
                      <a:pos x="27" y="15"/>
                    </a:cxn>
                    <a:cxn ang="0">
                      <a:pos x="14" y="24"/>
                    </a:cxn>
                    <a:cxn ang="0">
                      <a:pos x="0" y="4"/>
                    </a:cxn>
                    <a:cxn ang="0">
                      <a:pos x="0" y="4"/>
                    </a:cxn>
                  </a:cxnLst>
                  <a:rect l="0" t="0" r="r" b="b"/>
                  <a:pathLst>
                    <a:path w="28" h="25">
                      <a:moveTo>
                        <a:pt x="0" y="4"/>
                      </a:moveTo>
                      <a:lnTo>
                        <a:pt x="0" y="4"/>
                      </a:lnTo>
                      <a:lnTo>
                        <a:pt x="8" y="0"/>
                      </a:lnTo>
                      <a:lnTo>
                        <a:pt x="7" y="11"/>
                      </a:lnTo>
                      <a:lnTo>
                        <a:pt x="27" y="15"/>
                      </a:lnTo>
                      <a:lnTo>
                        <a:pt x="14" y="24"/>
                      </a:lnTo>
                      <a:lnTo>
                        <a:pt x="0" y="4"/>
                      </a:lnTo>
                      <a:lnTo>
                        <a:pt x="0" y="4"/>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83" name="Chile">
                  <a:extLst>
                    <a:ext uri="{FF2B5EF4-FFF2-40B4-BE49-F238E27FC236}">
                      <a16:creationId xmlns:a16="http://schemas.microsoft.com/office/drawing/2014/main" id="{C6AB2ABA-03BC-A5C4-E2F8-9A1183A6AF4C}"/>
                    </a:ext>
                  </a:extLst>
                </p:cNvPr>
                <p:cNvSpPr>
                  <a:spLocks noGrp="1" noRot="1" noMove="1" noResize="1" noEditPoints="1" noAdjustHandles="1" noChangeArrowheads="1" noChangeShapeType="1"/>
                </p:cNvSpPr>
                <p:nvPr/>
              </p:nvSpPr>
              <p:spPr bwMode="gray">
                <a:xfrm>
                  <a:off x="2956482" y="6312301"/>
                  <a:ext cx="29075" cy="15754"/>
                </a:xfrm>
                <a:custGeom>
                  <a:avLst/>
                  <a:gdLst/>
                  <a:ahLst/>
                  <a:cxnLst>
                    <a:cxn ang="0">
                      <a:pos x="0" y="4"/>
                    </a:cxn>
                    <a:cxn ang="0">
                      <a:pos x="0" y="4"/>
                    </a:cxn>
                    <a:cxn ang="0">
                      <a:pos x="4" y="0"/>
                    </a:cxn>
                    <a:cxn ang="0">
                      <a:pos x="15" y="6"/>
                    </a:cxn>
                    <a:cxn ang="0">
                      <a:pos x="0" y="4"/>
                    </a:cxn>
                    <a:cxn ang="0">
                      <a:pos x="0" y="4"/>
                    </a:cxn>
                  </a:cxnLst>
                  <a:rect l="0" t="0" r="r" b="b"/>
                  <a:pathLst>
                    <a:path w="16" h="7">
                      <a:moveTo>
                        <a:pt x="0" y="4"/>
                      </a:moveTo>
                      <a:lnTo>
                        <a:pt x="0" y="4"/>
                      </a:lnTo>
                      <a:lnTo>
                        <a:pt x="4" y="0"/>
                      </a:lnTo>
                      <a:lnTo>
                        <a:pt x="15" y="6"/>
                      </a:lnTo>
                      <a:lnTo>
                        <a:pt x="0" y="4"/>
                      </a:lnTo>
                      <a:lnTo>
                        <a:pt x="0" y="4"/>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84" name="Chile">
                  <a:extLst>
                    <a:ext uri="{FF2B5EF4-FFF2-40B4-BE49-F238E27FC236}">
                      <a16:creationId xmlns:a16="http://schemas.microsoft.com/office/drawing/2014/main" id="{3D1ECA44-7857-E318-8D27-913E74190466}"/>
                    </a:ext>
                  </a:extLst>
                </p:cNvPr>
                <p:cNvSpPr>
                  <a:spLocks noGrp="1" noRot="1" noMove="1" noResize="1" noEditPoints="1" noAdjustHandles="1" noChangeArrowheads="1" noChangeShapeType="1"/>
                </p:cNvSpPr>
                <p:nvPr/>
              </p:nvSpPr>
              <p:spPr bwMode="gray">
                <a:xfrm>
                  <a:off x="2974654" y="6265040"/>
                  <a:ext cx="69054" cy="87769"/>
                </a:xfrm>
                <a:custGeom>
                  <a:avLst/>
                  <a:gdLst/>
                  <a:ahLst/>
                  <a:cxnLst>
                    <a:cxn ang="0">
                      <a:pos x="0" y="30"/>
                    </a:cxn>
                    <a:cxn ang="0">
                      <a:pos x="0" y="30"/>
                    </a:cxn>
                    <a:cxn ang="0">
                      <a:pos x="6" y="25"/>
                    </a:cxn>
                    <a:cxn ang="0">
                      <a:pos x="26" y="28"/>
                    </a:cxn>
                    <a:cxn ang="0">
                      <a:pos x="17" y="19"/>
                    </a:cxn>
                    <a:cxn ang="0">
                      <a:pos x="27" y="12"/>
                    </a:cxn>
                    <a:cxn ang="0">
                      <a:pos x="12" y="11"/>
                    </a:cxn>
                    <a:cxn ang="0">
                      <a:pos x="12" y="2"/>
                    </a:cxn>
                    <a:cxn ang="0">
                      <a:pos x="36" y="0"/>
                    </a:cxn>
                    <a:cxn ang="0">
                      <a:pos x="37" y="38"/>
                    </a:cxn>
                    <a:cxn ang="0">
                      <a:pos x="0" y="30"/>
                    </a:cxn>
                    <a:cxn ang="0">
                      <a:pos x="0" y="30"/>
                    </a:cxn>
                  </a:cxnLst>
                  <a:rect l="0" t="0" r="r" b="b"/>
                  <a:pathLst>
                    <a:path w="38" h="39">
                      <a:moveTo>
                        <a:pt x="0" y="30"/>
                      </a:moveTo>
                      <a:lnTo>
                        <a:pt x="0" y="30"/>
                      </a:lnTo>
                      <a:lnTo>
                        <a:pt x="6" y="25"/>
                      </a:lnTo>
                      <a:lnTo>
                        <a:pt x="26" y="28"/>
                      </a:lnTo>
                      <a:lnTo>
                        <a:pt x="17" y="19"/>
                      </a:lnTo>
                      <a:lnTo>
                        <a:pt x="27" y="12"/>
                      </a:lnTo>
                      <a:lnTo>
                        <a:pt x="12" y="11"/>
                      </a:lnTo>
                      <a:lnTo>
                        <a:pt x="12" y="2"/>
                      </a:lnTo>
                      <a:lnTo>
                        <a:pt x="36" y="0"/>
                      </a:lnTo>
                      <a:lnTo>
                        <a:pt x="37" y="38"/>
                      </a:lnTo>
                      <a:lnTo>
                        <a:pt x="0" y="30"/>
                      </a:lnTo>
                      <a:lnTo>
                        <a:pt x="0" y="3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85" name="Chile">
                  <a:extLst>
                    <a:ext uri="{FF2B5EF4-FFF2-40B4-BE49-F238E27FC236}">
                      <a16:creationId xmlns:a16="http://schemas.microsoft.com/office/drawing/2014/main" id="{FC5A427E-B55D-7F68-5D19-2822794774C2}"/>
                    </a:ext>
                  </a:extLst>
                </p:cNvPr>
                <p:cNvSpPr>
                  <a:spLocks noGrp="1" noRot="1" noMove="1" noResize="1" noEditPoints="1" noAdjustHandles="1" noChangeArrowheads="1" noChangeShapeType="1"/>
                </p:cNvSpPr>
                <p:nvPr/>
              </p:nvSpPr>
              <p:spPr bwMode="gray">
                <a:xfrm>
                  <a:off x="3009180" y="6361811"/>
                  <a:ext cx="52698" cy="18004"/>
                </a:xfrm>
                <a:custGeom>
                  <a:avLst/>
                  <a:gdLst/>
                  <a:ahLst/>
                  <a:cxnLst>
                    <a:cxn ang="0">
                      <a:pos x="0" y="0"/>
                    </a:cxn>
                    <a:cxn ang="0">
                      <a:pos x="0" y="0"/>
                    </a:cxn>
                    <a:cxn ang="0">
                      <a:pos x="25" y="2"/>
                    </a:cxn>
                    <a:cxn ang="0">
                      <a:pos x="28" y="7"/>
                    </a:cxn>
                    <a:cxn ang="0">
                      <a:pos x="0" y="0"/>
                    </a:cxn>
                    <a:cxn ang="0">
                      <a:pos x="0" y="0"/>
                    </a:cxn>
                  </a:cxnLst>
                  <a:rect l="0" t="0" r="r" b="b"/>
                  <a:pathLst>
                    <a:path w="29" h="8">
                      <a:moveTo>
                        <a:pt x="0" y="0"/>
                      </a:moveTo>
                      <a:lnTo>
                        <a:pt x="0" y="0"/>
                      </a:lnTo>
                      <a:lnTo>
                        <a:pt x="25" y="2"/>
                      </a:lnTo>
                      <a:lnTo>
                        <a:pt x="28" y="7"/>
                      </a:lnTo>
                      <a:lnTo>
                        <a:pt x="0" y="0"/>
                      </a:lnTo>
                      <a:lnTo>
                        <a:pt x="0" y="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86" name="Chile">
                  <a:extLst>
                    <a:ext uri="{FF2B5EF4-FFF2-40B4-BE49-F238E27FC236}">
                      <a16:creationId xmlns:a16="http://schemas.microsoft.com/office/drawing/2014/main" id="{2DDE9260-8941-2B50-1EB0-52DD496EFEDA}"/>
                    </a:ext>
                  </a:extLst>
                </p:cNvPr>
                <p:cNvSpPr>
                  <a:spLocks noGrp="1" noRot="1" noMove="1" noResize="1" noEditPoints="1" noAdjustHandles="1" noChangeArrowheads="1" noChangeShapeType="1"/>
                </p:cNvSpPr>
                <p:nvPr/>
              </p:nvSpPr>
              <p:spPr bwMode="gray">
                <a:xfrm>
                  <a:off x="3058245" y="6350559"/>
                  <a:ext cx="25441" cy="13503"/>
                </a:xfrm>
                <a:custGeom>
                  <a:avLst/>
                  <a:gdLst/>
                  <a:ahLst/>
                  <a:cxnLst>
                    <a:cxn ang="0">
                      <a:pos x="0" y="5"/>
                    </a:cxn>
                    <a:cxn ang="0">
                      <a:pos x="0" y="5"/>
                    </a:cxn>
                    <a:cxn ang="0">
                      <a:pos x="3" y="0"/>
                    </a:cxn>
                    <a:cxn ang="0">
                      <a:pos x="13" y="5"/>
                    </a:cxn>
                    <a:cxn ang="0">
                      <a:pos x="0" y="5"/>
                    </a:cxn>
                    <a:cxn ang="0">
                      <a:pos x="0" y="5"/>
                    </a:cxn>
                  </a:cxnLst>
                  <a:rect l="0" t="0" r="r" b="b"/>
                  <a:pathLst>
                    <a:path w="14" h="6">
                      <a:moveTo>
                        <a:pt x="0" y="5"/>
                      </a:moveTo>
                      <a:lnTo>
                        <a:pt x="0" y="5"/>
                      </a:lnTo>
                      <a:lnTo>
                        <a:pt x="3" y="0"/>
                      </a:lnTo>
                      <a:lnTo>
                        <a:pt x="13" y="5"/>
                      </a:lnTo>
                      <a:lnTo>
                        <a:pt x="0" y="5"/>
                      </a:lnTo>
                      <a:lnTo>
                        <a:pt x="0" y="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273" name="Brazil">
                <a:extLst>
                  <a:ext uri="{FF2B5EF4-FFF2-40B4-BE49-F238E27FC236}">
                    <a16:creationId xmlns:a16="http://schemas.microsoft.com/office/drawing/2014/main" id="{D5FC0289-E7D8-04B3-C020-42B96FD9FF1E}"/>
                  </a:ext>
                </a:extLst>
              </p:cNvPr>
              <p:cNvSpPr>
                <a:spLocks noGrp="1" noRot="1" noMove="1" noResize="1" noEditPoints="1" noAdjustHandles="1" noChangeArrowheads="1" noChangeShapeType="1"/>
              </p:cNvSpPr>
              <p:nvPr/>
            </p:nvSpPr>
            <p:spPr bwMode="gray">
              <a:xfrm>
                <a:off x="2912142" y="4534595"/>
                <a:ext cx="967075" cy="1100035"/>
              </a:xfrm>
              <a:custGeom>
                <a:avLst/>
                <a:gdLst/>
                <a:ahLst/>
                <a:cxnLst>
                  <a:cxn ang="0">
                    <a:pos x="0" y="155"/>
                  </a:cxn>
                  <a:cxn ang="0">
                    <a:pos x="31" y="185"/>
                  </a:cxn>
                  <a:cxn ang="0">
                    <a:pos x="45" y="196"/>
                  </a:cxn>
                  <a:cxn ang="0">
                    <a:pos x="74" y="198"/>
                  </a:cxn>
                  <a:cxn ang="0">
                    <a:pos x="118" y="208"/>
                  </a:cxn>
                  <a:cxn ang="0">
                    <a:pos x="189" y="262"/>
                  </a:cxn>
                  <a:cxn ang="0">
                    <a:pos x="221" y="285"/>
                  </a:cxn>
                  <a:cxn ang="0">
                    <a:pos x="219" y="335"/>
                  </a:cxn>
                  <a:cxn ang="0">
                    <a:pos x="251" y="356"/>
                  </a:cxn>
                  <a:cxn ang="0">
                    <a:pos x="263" y="381"/>
                  </a:cxn>
                  <a:cxn ang="0">
                    <a:pos x="276" y="400"/>
                  </a:cxn>
                  <a:cxn ang="0">
                    <a:pos x="232" y="439"/>
                  </a:cxn>
                  <a:cxn ang="0">
                    <a:pos x="282" y="475"/>
                  </a:cxn>
                  <a:cxn ang="0">
                    <a:pos x="343" y="416"/>
                  </a:cxn>
                  <a:cxn ang="0">
                    <a:pos x="400" y="346"/>
                  </a:cxn>
                  <a:cxn ang="0">
                    <a:pos x="446" y="334"/>
                  </a:cxn>
                  <a:cxn ang="0">
                    <a:pos x="476" y="225"/>
                  </a:cxn>
                  <a:cxn ang="0">
                    <a:pos x="533" y="150"/>
                  </a:cxn>
                  <a:cxn ang="0">
                    <a:pos x="503" y="124"/>
                  </a:cxn>
                  <a:cxn ang="0">
                    <a:pos x="402" y="96"/>
                  </a:cxn>
                  <a:cxn ang="0">
                    <a:pos x="365" y="71"/>
                  </a:cxn>
                  <a:cxn ang="0">
                    <a:pos x="335" y="92"/>
                  </a:cxn>
                  <a:cxn ang="0">
                    <a:pos x="306" y="88"/>
                  </a:cxn>
                  <a:cxn ang="0">
                    <a:pos x="306" y="68"/>
                  </a:cxn>
                  <a:cxn ang="0">
                    <a:pos x="305" y="14"/>
                  </a:cxn>
                  <a:cxn ang="0">
                    <a:pos x="266" y="36"/>
                  </a:cxn>
                  <a:cxn ang="0">
                    <a:pos x="199" y="45"/>
                  </a:cxn>
                  <a:cxn ang="0">
                    <a:pos x="194" y="9"/>
                  </a:cxn>
                  <a:cxn ang="0">
                    <a:pos x="148" y="15"/>
                  </a:cxn>
                  <a:cxn ang="0">
                    <a:pos x="131" y="33"/>
                  </a:cxn>
                  <a:cxn ang="0">
                    <a:pos x="112" y="53"/>
                  </a:cxn>
                  <a:cxn ang="0">
                    <a:pos x="88" y="39"/>
                  </a:cxn>
                  <a:cxn ang="0">
                    <a:pos x="66" y="55"/>
                  </a:cxn>
                  <a:cxn ang="0">
                    <a:pos x="60" y="78"/>
                  </a:cxn>
                  <a:cxn ang="0">
                    <a:pos x="19" y="126"/>
                  </a:cxn>
                  <a:cxn ang="0">
                    <a:pos x="0" y="155"/>
                  </a:cxn>
                </a:cxnLst>
                <a:rect l="0" t="0" r="r" b="b"/>
                <a:pathLst>
                  <a:path w="534" h="489">
                    <a:moveTo>
                      <a:pt x="0" y="155"/>
                    </a:moveTo>
                    <a:lnTo>
                      <a:pt x="0" y="155"/>
                    </a:lnTo>
                    <a:lnTo>
                      <a:pt x="12" y="177"/>
                    </a:lnTo>
                    <a:lnTo>
                      <a:pt x="31" y="185"/>
                    </a:lnTo>
                    <a:lnTo>
                      <a:pt x="45" y="177"/>
                    </a:lnTo>
                    <a:lnTo>
                      <a:pt x="45" y="196"/>
                    </a:lnTo>
                    <a:lnTo>
                      <a:pt x="57" y="196"/>
                    </a:lnTo>
                    <a:lnTo>
                      <a:pt x="74" y="198"/>
                    </a:lnTo>
                    <a:lnTo>
                      <a:pt x="115" y="180"/>
                    </a:lnTo>
                    <a:lnTo>
                      <a:pt x="118" y="208"/>
                    </a:lnTo>
                    <a:lnTo>
                      <a:pt x="179" y="229"/>
                    </a:lnTo>
                    <a:lnTo>
                      <a:pt x="189" y="262"/>
                    </a:lnTo>
                    <a:lnTo>
                      <a:pt x="212" y="263"/>
                    </a:lnTo>
                    <a:lnTo>
                      <a:pt x="221" y="285"/>
                    </a:lnTo>
                    <a:lnTo>
                      <a:pt x="216" y="310"/>
                    </a:lnTo>
                    <a:lnTo>
                      <a:pt x="219" y="335"/>
                    </a:lnTo>
                    <a:lnTo>
                      <a:pt x="247" y="339"/>
                    </a:lnTo>
                    <a:lnTo>
                      <a:pt x="251" y="356"/>
                    </a:lnTo>
                    <a:lnTo>
                      <a:pt x="265" y="359"/>
                    </a:lnTo>
                    <a:lnTo>
                      <a:pt x="263" y="381"/>
                    </a:lnTo>
                    <a:lnTo>
                      <a:pt x="273" y="382"/>
                    </a:lnTo>
                    <a:lnTo>
                      <a:pt x="276" y="400"/>
                    </a:lnTo>
                    <a:lnTo>
                      <a:pt x="222" y="441"/>
                    </a:lnTo>
                    <a:lnTo>
                      <a:pt x="232" y="439"/>
                    </a:lnTo>
                    <a:lnTo>
                      <a:pt x="273" y="465"/>
                    </a:lnTo>
                    <a:lnTo>
                      <a:pt x="282" y="475"/>
                    </a:lnTo>
                    <a:lnTo>
                      <a:pt x="278" y="488"/>
                    </a:lnTo>
                    <a:lnTo>
                      <a:pt x="343" y="416"/>
                    </a:lnTo>
                    <a:lnTo>
                      <a:pt x="347" y="379"/>
                    </a:lnTo>
                    <a:lnTo>
                      <a:pt x="400" y="346"/>
                    </a:lnTo>
                    <a:lnTo>
                      <a:pt x="432" y="346"/>
                    </a:lnTo>
                    <a:lnTo>
                      <a:pt x="446" y="334"/>
                    </a:lnTo>
                    <a:lnTo>
                      <a:pt x="473" y="279"/>
                    </a:lnTo>
                    <a:lnTo>
                      <a:pt x="476" y="225"/>
                    </a:lnTo>
                    <a:lnTo>
                      <a:pt x="528" y="172"/>
                    </a:lnTo>
                    <a:lnTo>
                      <a:pt x="533" y="150"/>
                    </a:lnTo>
                    <a:lnTo>
                      <a:pt x="525" y="127"/>
                    </a:lnTo>
                    <a:lnTo>
                      <a:pt x="503" y="124"/>
                    </a:lnTo>
                    <a:lnTo>
                      <a:pt x="469" y="100"/>
                    </a:lnTo>
                    <a:lnTo>
                      <a:pt x="402" y="96"/>
                    </a:lnTo>
                    <a:lnTo>
                      <a:pt x="396" y="81"/>
                    </a:lnTo>
                    <a:lnTo>
                      <a:pt x="365" y="71"/>
                    </a:lnTo>
                    <a:lnTo>
                      <a:pt x="353" y="72"/>
                    </a:lnTo>
                    <a:lnTo>
                      <a:pt x="335" y="92"/>
                    </a:lnTo>
                    <a:lnTo>
                      <a:pt x="334" y="85"/>
                    </a:lnTo>
                    <a:lnTo>
                      <a:pt x="306" y="88"/>
                    </a:lnTo>
                    <a:lnTo>
                      <a:pt x="318" y="85"/>
                    </a:lnTo>
                    <a:lnTo>
                      <a:pt x="306" y="68"/>
                    </a:lnTo>
                    <a:lnTo>
                      <a:pt x="328" y="44"/>
                    </a:lnTo>
                    <a:lnTo>
                      <a:pt x="305" y="14"/>
                    </a:lnTo>
                    <a:lnTo>
                      <a:pt x="285" y="37"/>
                    </a:lnTo>
                    <a:lnTo>
                      <a:pt x="266" y="36"/>
                    </a:lnTo>
                    <a:lnTo>
                      <a:pt x="237" y="40"/>
                    </a:lnTo>
                    <a:lnTo>
                      <a:pt x="199" y="45"/>
                    </a:lnTo>
                    <a:lnTo>
                      <a:pt x="192" y="32"/>
                    </a:lnTo>
                    <a:lnTo>
                      <a:pt x="194" y="9"/>
                    </a:lnTo>
                    <a:lnTo>
                      <a:pt x="182" y="0"/>
                    </a:lnTo>
                    <a:lnTo>
                      <a:pt x="148" y="15"/>
                    </a:lnTo>
                    <a:lnTo>
                      <a:pt x="125" y="11"/>
                    </a:lnTo>
                    <a:lnTo>
                      <a:pt x="131" y="33"/>
                    </a:lnTo>
                    <a:lnTo>
                      <a:pt x="144" y="36"/>
                    </a:lnTo>
                    <a:lnTo>
                      <a:pt x="112" y="53"/>
                    </a:lnTo>
                    <a:lnTo>
                      <a:pt x="96" y="47"/>
                    </a:lnTo>
                    <a:lnTo>
                      <a:pt x="88" y="39"/>
                    </a:lnTo>
                    <a:lnTo>
                      <a:pt x="55" y="43"/>
                    </a:lnTo>
                    <a:lnTo>
                      <a:pt x="66" y="55"/>
                    </a:lnTo>
                    <a:lnTo>
                      <a:pt x="53" y="57"/>
                    </a:lnTo>
                    <a:lnTo>
                      <a:pt x="60" y="78"/>
                    </a:lnTo>
                    <a:lnTo>
                      <a:pt x="54" y="114"/>
                    </a:lnTo>
                    <a:lnTo>
                      <a:pt x="19" y="126"/>
                    </a:lnTo>
                    <a:lnTo>
                      <a:pt x="0" y="155"/>
                    </a:lnTo>
                    <a:lnTo>
                      <a:pt x="0" y="15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4" name="Bolivia">
                <a:extLst>
                  <a:ext uri="{FF2B5EF4-FFF2-40B4-BE49-F238E27FC236}">
                    <a16:creationId xmlns:a16="http://schemas.microsoft.com/office/drawing/2014/main" id="{B9DA5A57-B228-5DB3-9B0F-020632B1489C}"/>
                  </a:ext>
                </a:extLst>
              </p:cNvPr>
              <p:cNvSpPr>
                <a:spLocks noGrp="1" noRot="1" noMove="1" noResize="1" noEditPoints="1" noAdjustHandles="1" noChangeArrowheads="1" noChangeShapeType="1"/>
              </p:cNvSpPr>
              <p:nvPr/>
            </p:nvSpPr>
            <p:spPr bwMode="gray">
              <a:xfrm>
                <a:off x="3015068" y="4938237"/>
                <a:ext cx="298057" cy="377028"/>
              </a:xfrm>
              <a:custGeom>
                <a:avLst/>
                <a:gdLst/>
                <a:ahLst/>
                <a:cxnLst>
                  <a:cxn ang="0">
                    <a:pos x="0" y="16"/>
                  </a:cxn>
                  <a:cxn ang="0">
                    <a:pos x="0" y="16"/>
                  </a:cxn>
                  <a:cxn ang="0">
                    <a:pos x="13" y="34"/>
                  </a:cxn>
                  <a:cxn ang="0">
                    <a:pos x="4" y="72"/>
                  </a:cxn>
                  <a:cxn ang="0">
                    <a:pos x="13" y="76"/>
                  </a:cxn>
                  <a:cxn ang="0">
                    <a:pos x="9" y="82"/>
                  </a:cxn>
                  <a:cxn ang="0">
                    <a:pos x="1" y="97"/>
                  </a:cxn>
                  <a:cxn ang="0">
                    <a:pos x="15" y="119"/>
                  </a:cxn>
                  <a:cxn ang="0">
                    <a:pos x="24" y="165"/>
                  </a:cxn>
                  <a:cxn ang="0">
                    <a:pos x="33" y="166"/>
                  </a:cxn>
                  <a:cxn ang="0">
                    <a:pos x="48" y="151"/>
                  </a:cxn>
                  <a:cxn ang="0">
                    <a:pos x="73" y="163"/>
                  </a:cxn>
                  <a:cxn ang="0">
                    <a:pos x="75" y="155"/>
                  </a:cxn>
                  <a:cxn ang="0">
                    <a:pos x="97" y="158"/>
                  </a:cxn>
                  <a:cxn ang="0">
                    <a:pos x="105" y="125"/>
                  </a:cxn>
                  <a:cxn ang="0">
                    <a:pos x="145" y="119"/>
                  </a:cxn>
                  <a:cxn ang="0">
                    <a:pos x="159" y="130"/>
                  </a:cxn>
                  <a:cxn ang="0">
                    <a:pos x="164" y="105"/>
                  </a:cxn>
                  <a:cxn ang="0">
                    <a:pos x="155" y="83"/>
                  </a:cxn>
                  <a:cxn ang="0">
                    <a:pos x="132" y="82"/>
                  </a:cxn>
                  <a:cxn ang="0">
                    <a:pos x="122" y="49"/>
                  </a:cxn>
                  <a:cxn ang="0">
                    <a:pos x="61" y="28"/>
                  </a:cxn>
                  <a:cxn ang="0">
                    <a:pos x="58" y="0"/>
                  </a:cxn>
                  <a:cxn ang="0">
                    <a:pos x="17" y="18"/>
                  </a:cxn>
                  <a:cxn ang="0">
                    <a:pos x="0" y="16"/>
                  </a:cxn>
                  <a:cxn ang="0">
                    <a:pos x="0" y="16"/>
                  </a:cxn>
                </a:cxnLst>
                <a:rect l="0" t="0" r="r" b="b"/>
                <a:pathLst>
                  <a:path w="165" h="167">
                    <a:moveTo>
                      <a:pt x="0" y="16"/>
                    </a:moveTo>
                    <a:lnTo>
                      <a:pt x="0" y="16"/>
                    </a:lnTo>
                    <a:lnTo>
                      <a:pt x="13" y="34"/>
                    </a:lnTo>
                    <a:lnTo>
                      <a:pt x="4" y="72"/>
                    </a:lnTo>
                    <a:lnTo>
                      <a:pt x="13" y="76"/>
                    </a:lnTo>
                    <a:lnTo>
                      <a:pt x="9" y="82"/>
                    </a:lnTo>
                    <a:lnTo>
                      <a:pt x="1" y="97"/>
                    </a:lnTo>
                    <a:lnTo>
                      <a:pt x="15" y="119"/>
                    </a:lnTo>
                    <a:lnTo>
                      <a:pt x="24" y="165"/>
                    </a:lnTo>
                    <a:lnTo>
                      <a:pt x="33" y="166"/>
                    </a:lnTo>
                    <a:lnTo>
                      <a:pt x="48" y="151"/>
                    </a:lnTo>
                    <a:lnTo>
                      <a:pt x="73" y="163"/>
                    </a:lnTo>
                    <a:lnTo>
                      <a:pt x="75" y="155"/>
                    </a:lnTo>
                    <a:lnTo>
                      <a:pt x="97" y="158"/>
                    </a:lnTo>
                    <a:lnTo>
                      <a:pt x="105" y="125"/>
                    </a:lnTo>
                    <a:lnTo>
                      <a:pt x="145" y="119"/>
                    </a:lnTo>
                    <a:lnTo>
                      <a:pt x="159" y="130"/>
                    </a:lnTo>
                    <a:lnTo>
                      <a:pt x="164" y="105"/>
                    </a:lnTo>
                    <a:lnTo>
                      <a:pt x="155" y="83"/>
                    </a:lnTo>
                    <a:lnTo>
                      <a:pt x="132" y="82"/>
                    </a:lnTo>
                    <a:lnTo>
                      <a:pt x="122" y="49"/>
                    </a:lnTo>
                    <a:lnTo>
                      <a:pt x="61" y="28"/>
                    </a:lnTo>
                    <a:lnTo>
                      <a:pt x="58" y="0"/>
                    </a:lnTo>
                    <a:lnTo>
                      <a:pt x="17" y="18"/>
                    </a:lnTo>
                    <a:lnTo>
                      <a:pt x="0" y="16"/>
                    </a:lnTo>
                    <a:lnTo>
                      <a:pt x="0" y="16"/>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275" name="Argentina">
                <a:extLst>
                  <a:ext uri="{FF2B5EF4-FFF2-40B4-BE49-F238E27FC236}">
                    <a16:creationId xmlns:a16="http://schemas.microsoft.com/office/drawing/2014/main" id="{BE2FF688-1319-B76F-866E-15DBD26AF353}"/>
                  </a:ext>
                </a:extLst>
              </p:cNvPr>
              <p:cNvGrpSpPr>
                <a:grpSpLocks noGrp="1" noUngrp="1" noRot="1" noMove="1" noResize="1"/>
              </p:cNvGrpSpPr>
              <p:nvPr/>
            </p:nvGrpSpPr>
            <p:grpSpPr>
              <a:xfrm>
                <a:off x="2922863" y="5279780"/>
                <a:ext cx="491042" cy="1073421"/>
                <a:chOff x="2922863" y="5279780"/>
                <a:chExt cx="491042" cy="1073421"/>
              </a:xfrm>
              <a:grpFill/>
            </p:grpSpPr>
            <p:sp>
              <p:nvSpPr>
                <p:cNvPr id="276" name="Argentina">
                  <a:extLst>
                    <a:ext uri="{FF2B5EF4-FFF2-40B4-BE49-F238E27FC236}">
                      <a16:creationId xmlns:a16="http://schemas.microsoft.com/office/drawing/2014/main" id="{D0D53031-E7D3-AC90-DA9C-8843EB708EAA}"/>
                    </a:ext>
                  </a:extLst>
                </p:cNvPr>
                <p:cNvSpPr>
                  <a:spLocks noGrp="1" noRot="1" noMove="1" noResize="1" noEditPoints="1" noAdjustHandles="1" noChangeArrowheads="1" noChangeShapeType="1"/>
                </p:cNvSpPr>
                <p:nvPr/>
              </p:nvSpPr>
              <p:spPr bwMode="gray">
                <a:xfrm>
                  <a:off x="3039258" y="6265437"/>
                  <a:ext cx="89115" cy="87764"/>
                </a:xfrm>
                <a:custGeom>
                  <a:avLst/>
                  <a:gdLst/>
                  <a:ahLst/>
                  <a:cxnLst>
                    <a:cxn ang="0">
                      <a:pos x="0" y="0"/>
                    </a:cxn>
                    <a:cxn ang="0">
                      <a:pos x="0" y="0"/>
                    </a:cxn>
                    <a:cxn ang="0">
                      <a:pos x="1" y="38"/>
                    </a:cxn>
                    <a:cxn ang="0">
                      <a:pos x="48" y="34"/>
                    </a:cxn>
                    <a:cxn ang="0">
                      <a:pos x="11" y="19"/>
                    </a:cxn>
                    <a:cxn ang="0">
                      <a:pos x="0" y="0"/>
                    </a:cxn>
                    <a:cxn ang="0">
                      <a:pos x="0" y="0"/>
                    </a:cxn>
                  </a:cxnLst>
                  <a:rect l="0" t="0" r="r" b="b"/>
                  <a:pathLst>
                    <a:path w="49" h="39">
                      <a:moveTo>
                        <a:pt x="0" y="0"/>
                      </a:moveTo>
                      <a:lnTo>
                        <a:pt x="0" y="0"/>
                      </a:lnTo>
                      <a:lnTo>
                        <a:pt x="1" y="38"/>
                      </a:lnTo>
                      <a:lnTo>
                        <a:pt x="48" y="34"/>
                      </a:lnTo>
                      <a:lnTo>
                        <a:pt x="11" y="19"/>
                      </a:lnTo>
                      <a:lnTo>
                        <a:pt x="0" y="0"/>
                      </a:lnTo>
                      <a:lnTo>
                        <a:pt x="0" y="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7" name="Argentina">
                  <a:extLst>
                    <a:ext uri="{FF2B5EF4-FFF2-40B4-BE49-F238E27FC236}">
                      <a16:creationId xmlns:a16="http://schemas.microsoft.com/office/drawing/2014/main" id="{E0A1FE27-E28C-D285-8357-AE60E317E661}"/>
                    </a:ext>
                  </a:extLst>
                </p:cNvPr>
                <p:cNvSpPr>
                  <a:spLocks noGrp="1" noRot="1" noMove="1" noResize="1" noEditPoints="1" noAdjustHandles="1" noChangeArrowheads="1" noChangeShapeType="1"/>
                </p:cNvSpPr>
                <p:nvPr/>
              </p:nvSpPr>
              <p:spPr bwMode="gray">
                <a:xfrm>
                  <a:off x="2922863" y="5279780"/>
                  <a:ext cx="491042" cy="972155"/>
                </a:xfrm>
                <a:custGeom>
                  <a:avLst/>
                  <a:gdLst/>
                  <a:ahLst/>
                  <a:cxnLst>
                    <a:cxn ang="0">
                      <a:pos x="0" y="399"/>
                    </a:cxn>
                    <a:cxn ang="0">
                      <a:pos x="0" y="399"/>
                    </a:cxn>
                    <a:cxn ang="0">
                      <a:pos x="2" y="409"/>
                    </a:cxn>
                    <a:cxn ang="0">
                      <a:pos x="14" y="405"/>
                    </a:cxn>
                    <a:cxn ang="0">
                      <a:pos x="18" y="427"/>
                    </a:cxn>
                    <a:cxn ang="0">
                      <a:pos x="68" y="431"/>
                    </a:cxn>
                    <a:cxn ang="0">
                      <a:pos x="54" y="421"/>
                    </a:cxn>
                    <a:cxn ang="0">
                      <a:pos x="64" y="391"/>
                    </a:cxn>
                    <a:cxn ang="0">
                      <a:pos x="74" y="397"/>
                    </a:cxn>
                    <a:cxn ang="0">
                      <a:pos x="105" y="356"/>
                    </a:cxn>
                    <a:cxn ang="0">
                      <a:pos x="81" y="333"/>
                    </a:cxn>
                    <a:cxn ang="0">
                      <a:pos x="108" y="319"/>
                    </a:cxn>
                    <a:cxn ang="0">
                      <a:pos x="111" y="298"/>
                    </a:cxn>
                    <a:cxn ang="0">
                      <a:pos x="124" y="288"/>
                    </a:cxn>
                    <a:cxn ang="0">
                      <a:pos x="113" y="284"/>
                    </a:cxn>
                    <a:cxn ang="0">
                      <a:pos x="133" y="284"/>
                    </a:cxn>
                    <a:cxn ang="0">
                      <a:pos x="131" y="274"/>
                    </a:cxn>
                    <a:cxn ang="0">
                      <a:pos x="122" y="281"/>
                    </a:cxn>
                    <a:cxn ang="0">
                      <a:pos x="113" y="274"/>
                    </a:cxn>
                    <a:cxn ang="0">
                      <a:pos x="112" y="258"/>
                    </a:cxn>
                    <a:cxn ang="0">
                      <a:pos x="149" y="260"/>
                    </a:cxn>
                    <a:cxn ang="0">
                      <a:pos x="152" y="228"/>
                    </a:cxn>
                    <a:cxn ang="0">
                      <a:pos x="210" y="223"/>
                    </a:cxn>
                    <a:cxn ang="0">
                      <a:pos x="227" y="201"/>
                    </a:cxn>
                    <a:cxn ang="0">
                      <a:pos x="204" y="161"/>
                    </a:cxn>
                    <a:cxn ang="0">
                      <a:pos x="215" y="110"/>
                    </a:cxn>
                    <a:cxn ang="0">
                      <a:pos x="269" y="69"/>
                    </a:cxn>
                    <a:cxn ang="0">
                      <a:pos x="266" y="51"/>
                    </a:cxn>
                    <a:cxn ang="0">
                      <a:pos x="256" y="50"/>
                    </a:cxn>
                    <a:cxn ang="0">
                      <a:pos x="242" y="72"/>
                    </a:cxn>
                    <a:cxn ang="0">
                      <a:pos x="205" y="70"/>
                    </a:cxn>
                    <a:cxn ang="0">
                      <a:pos x="213" y="46"/>
                    </a:cxn>
                    <a:cxn ang="0">
                      <a:pos x="147" y="7"/>
                    </a:cxn>
                    <a:cxn ang="0">
                      <a:pos x="125" y="4"/>
                    </a:cxn>
                    <a:cxn ang="0">
                      <a:pos x="123" y="12"/>
                    </a:cxn>
                    <a:cxn ang="0">
                      <a:pos x="98" y="0"/>
                    </a:cxn>
                    <a:cxn ang="0">
                      <a:pos x="83" y="15"/>
                    </a:cxn>
                    <a:cxn ang="0">
                      <a:pos x="82" y="30"/>
                    </a:cxn>
                    <a:cxn ang="0">
                      <a:pos x="67" y="36"/>
                    </a:cxn>
                    <a:cxn ang="0">
                      <a:pos x="68" y="66"/>
                    </a:cxn>
                    <a:cxn ang="0">
                      <a:pos x="51" y="83"/>
                    </a:cxn>
                    <a:cxn ang="0">
                      <a:pos x="38" y="124"/>
                    </a:cxn>
                    <a:cxn ang="0">
                      <a:pos x="48" y="164"/>
                    </a:cxn>
                    <a:cxn ang="0">
                      <a:pos x="30" y="198"/>
                    </a:cxn>
                    <a:cxn ang="0">
                      <a:pos x="18" y="282"/>
                    </a:cxn>
                    <a:cxn ang="0">
                      <a:pos x="28" y="313"/>
                    </a:cxn>
                    <a:cxn ang="0">
                      <a:pos x="19" y="316"/>
                    </a:cxn>
                    <a:cxn ang="0">
                      <a:pos x="23" y="343"/>
                    </a:cxn>
                    <a:cxn ang="0">
                      <a:pos x="0" y="399"/>
                    </a:cxn>
                    <a:cxn ang="0">
                      <a:pos x="0" y="399"/>
                    </a:cxn>
                  </a:cxnLst>
                  <a:rect l="0" t="0" r="r" b="b"/>
                  <a:pathLst>
                    <a:path w="270" h="432">
                      <a:moveTo>
                        <a:pt x="0" y="399"/>
                      </a:moveTo>
                      <a:lnTo>
                        <a:pt x="0" y="399"/>
                      </a:lnTo>
                      <a:lnTo>
                        <a:pt x="2" y="409"/>
                      </a:lnTo>
                      <a:lnTo>
                        <a:pt x="14" y="405"/>
                      </a:lnTo>
                      <a:lnTo>
                        <a:pt x="18" y="427"/>
                      </a:lnTo>
                      <a:lnTo>
                        <a:pt x="68" y="431"/>
                      </a:lnTo>
                      <a:lnTo>
                        <a:pt x="54" y="421"/>
                      </a:lnTo>
                      <a:lnTo>
                        <a:pt x="64" y="391"/>
                      </a:lnTo>
                      <a:lnTo>
                        <a:pt x="74" y="397"/>
                      </a:lnTo>
                      <a:lnTo>
                        <a:pt x="105" y="356"/>
                      </a:lnTo>
                      <a:lnTo>
                        <a:pt x="81" y="333"/>
                      </a:lnTo>
                      <a:lnTo>
                        <a:pt x="108" y="319"/>
                      </a:lnTo>
                      <a:lnTo>
                        <a:pt x="111" y="298"/>
                      </a:lnTo>
                      <a:lnTo>
                        <a:pt x="124" y="288"/>
                      </a:lnTo>
                      <a:lnTo>
                        <a:pt x="113" y="284"/>
                      </a:lnTo>
                      <a:lnTo>
                        <a:pt x="133" y="284"/>
                      </a:lnTo>
                      <a:lnTo>
                        <a:pt x="131" y="274"/>
                      </a:lnTo>
                      <a:lnTo>
                        <a:pt x="122" y="281"/>
                      </a:lnTo>
                      <a:lnTo>
                        <a:pt x="113" y="274"/>
                      </a:lnTo>
                      <a:lnTo>
                        <a:pt x="112" y="258"/>
                      </a:lnTo>
                      <a:lnTo>
                        <a:pt x="149" y="260"/>
                      </a:lnTo>
                      <a:lnTo>
                        <a:pt x="152" y="228"/>
                      </a:lnTo>
                      <a:lnTo>
                        <a:pt x="210" y="223"/>
                      </a:lnTo>
                      <a:lnTo>
                        <a:pt x="227" y="201"/>
                      </a:lnTo>
                      <a:lnTo>
                        <a:pt x="204" y="161"/>
                      </a:lnTo>
                      <a:lnTo>
                        <a:pt x="215" y="110"/>
                      </a:lnTo>
                      <a:lnTo>
                        <a:pt x="269" y="69"/>
                      </a:lnTo>
                      <a:lnTo>
                        <a:pt x="266" y="51"/>
                      </a:lnTo>
                      <a:lnTo>
                        <a:pt x="256" y="50"/>
                      </a:lnTo>
                      <a:lnTo>
                        <a:pt x="242" y="72"/>
                      </a:lnTo>
                      <a:lnTo>
                        <a:pt x="205" y="70"/>
                      </a:lnTo>
                      <a:lnTo>
                        <a:pt x="213" y="46"/>
                      </a:lnTo>
                      <a:lnTo>
                        <a:pt x="147" y="7"/>
                      </a:lnTo>
                      <a:lnTo>
                        <a:pt x="125" y="4"/>
                      </a:lnTo>
                      <a:lnTo>
                        <a:pt x="123" y="12"/>
                      </a:lnTo>
                      <a:lnTo>
                        <a:pt x="98" y="0"/>
                      </a:lnTo>
                      <a:lnTo>
                        <a:pt x="83" y="15"/>
                      </a:lnTo>
                      <a:lnTo>
                        <a:pt x="82" y="30"/>
                      </a:lnTo>
                      <a:lnTo>
                        <a:pt x="67" y="36"/>
                      </a:lnTo>
                      <a:lnTo>
                        <a:pt x="68" y="66"/>
                      </a:lnTo>
                      <a:lnTo>
                        <a:pt x="51" y="83"/>
                      </a:lnTo>
                      <a:lnTo>
                        <a:pt x="38" y="124"/>
                      </a:lnTo>
                      <a:lnTo>
                        <a:pt x="48" y="164"/>
                      </a:lnTo>
                      <a:lnTo>
                        <a:pt x="30" y="198"/>
                      </a:lnTo>
                      <a:lnTo>
                        <a:pt x="18" y="282"/>
                      </a:lnTo>
                      <a:lnTo>
                        <a:pt x="28" y="313"/>
                      </a:lnTo>
                      <a:lnTo>
                        <a:pt x="19" y="316"/>
                      </a:lnTo>
                      <a:lnTo>
                        <a:pt x="23" y="343"/>
                      </a:lnTo>
                      <a:lnTo>
                        <a:pt x="0" y="399"/>
                      </a:lnTo>
                      <a:lnTo>
                        <a:pt x="0" y="399"/>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grpSp>
          <p:nvGrpSpPr>
            <p:cNvPr id="5" name="North America">
              <a:extLst>
                <a:ext uri="{FF2B5EF4-FFF2-40B4-BE49-F238E27FC236}">
                  <a16:creationId xmlns:a16="http://schemas.microsoft.com/office/drawing/2014/main" id="{5ECEED03-1ECE-BD76-6587-968EC917CD29}"/>
                </a:ext>
              </a:extLst>
            </p:cNvPr>
            <p:cNvGrpSpPr>
              <a:grpSpLocks noGrp="1" noUngrp="1" noRot="1" noMove="1" noResize="1"/>
            </p:cNvGrpSpPr>
            <p:nvPr/>
          </p:nvGrpSpPr>
          <p:grpSpPr>
            <a:xfrm>
              <a:off x="-3956539" y="487056"/>
              <a:ext cx="7725065" cy="5398360"/>
              <a:chOff x="581298" y="1578148"/>
              <a:chExt cx="3861914" cy="2699180"/>
            </a:xfrm>
            <a:grpFill/>
          </p:grpSpPr>
          <p:grpSp>
            <p:nvGrpSpPr>
              <p:cNvPr id="228" name="United States of America">
                <a:extLst>
                  <a:ext uri="{FF2B5EF4-FFF2-40B4-BE49-F238E27FC236}">
                    <a16:creationId xmlns:a16="http://schemas.microsoft.com/office/drawing/2014/main" id="{B6F065C2-71E3-15BA-F53F-6BC2299D6BE7}"/>
                  </a:ext>
                </a:extLst>
              </p:cNvPr>
              <p:cNvGrpSpPr>
                <a:grpSpLocks noGrp="1" noUngrp="1" noRot="1" noMove="1" noResize="1"/>
              </p:cNvGrpSpPr>
              <p:nvPr/>
            </p:nvGrpSpPr>
            <p:grpSpPr>
              <a:xfrm>
                <a:off x="581298" y="2287949"/>
                <a:ext cx="2502388" cy="1871834"/>
                <a:chOff x="581298" y="2287949"/>
                <a:chExt cx="2502388" cy="1871834"/>
              </a:xfrm>
              <a:grpFill/>
            </p:grpSpPr>
            <p:sp>
              <p:nvSpPr>
                <p:cNvPr id="251" name="United States">
                  <a:extLst>
                    <a:ext uri="{FF2B5EF4-FFF2-40B4-BE49-F238E27FC236}">
                      <a16:creationId xmlns:a16="http://schemas.microsoft.com/office/drawing/2014/main" id="{553E28D2-C4ED-0A5B-8C2F-8A01D2BF2315}"/>
                    </a:ext>
                  </a:extLst>
                </p:cNvPr>
                <p:cNvSpPr>
                  <a:spLocks noGrp="1" noRot="1" noMove="1" noResize="1" noEditPoints="1" noAdjustHandles="1" noChangeArrowheads="1" noChangeShapeType="1"/>
                </p:cNvSpPr>
                <p:nvPr/>
              </p:nvSpPr>
              <p:spPr bwMode="gray">
                <a:xfrm>
                  <a:off x="581298" y="2287949"/>
                  <a:ext cx="739781" cy="718571"/>
                </a:xfrm>
                <a:custGeom>
                  <a:avLst/>
                  <a:gdLst/>
                  <a:ahLst/>
                  <a:cxnLst>
                    <a:cxn ang="0">
                      <a:pos x="0" y="121"/>
                    </a:cxn>
                    <a:cxn ang="0">
                      <a:pos x="15" y="130"/>
                    </a:cxn>
                    <a:cxn ang="0">
                      <a:pos x="67" y="140"/>
                    </a:cxn>
                    <a:cxn ang="0">
                      <a:pos x="99" y="139"/>
                    </a:cxn>
                    <a:cxn ang="0">
                      <a:pos x="95" y="162"/>
                    </a:cxn>
                    <a:cxn ang="0">
                      <a:pos x="24" y="201"/>
                    </a:cxn>
                    <a:cxn ang="0">
                      <a:pos x="28" y="203"/>
                    </a:cxn>
                    <a:cxn ang="0">
                      <a:pos x="59" y="213"/>
                    </a:cxn>
                    <a:cxn ang="0">
                      <a:pos x="56" y="234"/>
                    </a:cxn>
                    <a:cxn ang="0">
                      <a:pos x="89" y="213"/>
                    </a:cxn>
                    <a:cxn ang="0">
                      <a:pos x="87" y="245"/>
                    </a:cxn>
                    <a:cxn ang="0">
                      <a:pos x="106" y="241"/>
                    </a:cxn>
                    <a:cxn ang="0">
                      <a:pos x="129" y="247"/>
                    </a:cxn>
                    <a:cxn ang="0">
                      <a:pos x="153" y="245"/>
                    </a:cxn>
                    <a:cxn ang="0">
                      <a:pos x="107" y="293"/>
                    </a:cxn>
                    <a:cxn ang="0">
                      <a:pos x="81" y="302"/>
                    </a:cxn>
                    <a:cxn ang="0">
                      <a:pos x="87" y="305"/>
                    </a:cxn>
                    <a:cxn ang="0">
                      <a:pos x="128" y="296"/>
                    </a:cxn>
                    <a:cxn ang="0">
                      <a:pos x="137" y="290"/>
                    </a:cxn>
                    <a:cxn ang="0">
                      <a:pos x="199" y="249"/>
                    </a:cxn>
                    <a:cxn ang="0">
                      <a:pos x="234" y="204"/>
                    </a:cxn>
                    <a:cxn ang="0">
                      <a:pos x="236" y="204"/>
                    </a:cxn>
                    <a:cxn ang="0">
                      <a:pos x="244" y="208"/>
                    </a:cxn>
                    <a:cxn ang="0">
                      <a:pos x="226" y="215"/>
                    </a:cxn>
                    <a:cxn ang="0">
                      <a:pos x="231" y="231"/>
                    </a:cxn>
                    <a:cxn ang="0">
                      <a:pos x="264" y="228"/>
                    </a:cxn>
                    <a:cxn ang="0">
                      <a:pos x="263" y="213"/>
                    </a:cxn>
                    <a:cxn ang="0">
                      <a:pos x="272" y="212"/>
                    </a:cxn>
                    <a:cxn ang="0">
                      <a:pos x="289" y="215"/>
                    </a:cxn>
                    <a:cxn ang="0">
                      <a:pos x="378" y="234"/>
                    </a:cxn>
                    <a:cxn ang="0">
                      <a:pos x="394" y="230"/>
                    </a:cxn>
                    <a:cxn ang="0">
                      <a:pos x="400" y="245"/>
                    </a:cxn>
                    <a:cxn ang="0">
                      <a:pos x="393" y="223"/>
                    </a:cxn>
                    <a:cxn ang="0">
                      <a:pos x="368" y="36"/>
                    </a:cxn>
                    <a:cxn ang="0">
                      <a:pos x="216" y="12"/>
                    </a:cxn>
                    <a:cxn ang="0">
                      <a:pos x="171" y="13"/>
                    </a:cxn>
                    <a:cxn ang="0">
                      <a:pos x="171" y="5"/>
                    </a:cxn>
                    <a:cxn ang="0">
                      <a:pos x="138" y="12"/>
                    </a:cxn>
                    <a:cxn ang="0">
                      <a:pos x="110" y="24"/>
                    </a:cxn>
                    <a:cxn ang="0">
                      <a:pos x="83" y="24"/>
                    </a:cxn>
                    <a:cxn ang="0">
                      <a:pos x="75" y="30"/>
                    </a:cxn>
                    <a:cxn ang="0">
                      <a:pos x="24" y="55"/>
                    </a:cxn>
                    <a:cxn ang="0">
                      <a:pos x="16" y="65"/>
                    </a:cxn>
                    <a:cxn ang="0">
                      <a:pos x="116" y="104"/>
                    </a:cxn>
                    <a:cxn ang="0">
                      <a:pos x="83" y="108"/>
                    </a:cxn>
                    <a:cxn ang="0">
                      <a:pos x="85" y="113"/>
                    </a:cxn>
                    <a:cxn ang="0">
                      <a:pos x="59" y="101"/>
                    </a:cxn>
                    <a:cxn ang="0">
                      <a:pos x="0" y="121"/>
                    </a:cxn>
                  </a:cxnLst>
                  <a:rect l="0" t="0" r="r" b="b"/>
                  <a:pathLst>
                    <a:path w="408" h="319">
                      <a:moveTo>
                        <a:pt x="0" y="121"/>
                      </a:moveTo>
                      <a:lnTo>
                        <a:pt x="0" y="121"/>
                      </a:lnTo>
                      <a:lnTo>
                        <a:pt x="25" y="127"/>
                      </a:lnTo>
                      <a:lnTo>
                        <a:pt x="15" y="130"/>
                      </a:lnTo>
                      <a:lnTo>
                        <a:pt x="27" y="141"/>
                      </a:lnTo>
                      <a:lnTo>
                        <a:pt x="67" y="140"/>
                      </a:lnTo>
                      <a:lnTo>
                        <a:pt x="73" y="148"/>
                      </a:lnTo>
                      <a:lnTo>
                        <a:pt x="99" y="139"/>
                      </a:lnTo>
                      <a:lnTo>
                        <a:pt x="90" y="142"/>
                      </a:lnTo>
                      <a:lnTo>
                        <a:pt x="95" y="162"/>
                      </a:lnTo>
                      <a:lnTo>
                        <a:pt x="40" y="181"/>
                      </a:lnTo>
                      <a:lnTo>
                        <a:pt x="24" y="201"/>
                      </a:lnTo>
                      <a:lnTo>
                        <a:pt x="38" y="198"/>
                      </a:lnTo>
                      <a:lnTo>
                        <a:pt x="28" y="203"/>
                      </a:lnTo>
                      <a:lnTo>
                        <a:pt x="38" y="210"/>
                      </a:lnTo>
                      <a:lnTo>
                        <a:pt x="59" y="213"/>
                      </a:lnTo>
                      <a:lnTo>
                        <a:pt x="47" y="223"/>
                      </a:lnTo>
                      <a:lnTo>
                        <a:pt x="56" y="234"/>
                      </a:lnTo>
                      <a:lnTo>
                        <a:pt x="67" y="235"/>
                      </a:lnTo>
                      <a:lnTo>
                        <a:pt x="89" y="213"/>
                      </a:lnTo>
                      <a:lnTo>
                        <a:pt x="75" y="223"/>
                      </a:lnTo>
                      <a:lnTo>
                        <a:pt x="87" y="245"/>
                      </a:lnTo>
                      <a:lnTo>
                        <a:pt x="81" y="253"/>
                      </a:lnTo>
                      <a:lnTo>
                        <a:pt x="106" y="241"/>
                      </a:lnTo>
                      <a:lnTo>
                        <a:pt x="123" y="256"/>
                      </a:lnTo>
                      <a:lnTo>
                        <a:pt x="129" y="247"/>
                      </a:lnTo>
                      <a:lnTo>
                        <a:pt x="134" y="253"/>
                      </a:lnTo>
                      <a:lnTo>
                        <a:pt x="153" y="245"/>
                      </a:lnTo>
                      <a:lnTo>
                        <a:pt x="127" y="285"/>
                      </a:lnTo>
                      <a:lnTo>
                        <a:pt x="107" y="293"/>
                      </a:lnTo>
                      <a:lnTo>
                        <a:pt x="106" y="301"/>
                      </a:lnTo>
                      <a:lnTo>
                        <a:pt x="81" y="302"/>
                      </a:lnTo>
                      <a:lnTo>
                        <a:pt x="63" y="318"/>
                      </a:lnTo>
                      <a:lnTo>
                        <a:pt x="87" y="305"/>
                      </a:lnTo>
                      <a:lnTo>
                        <a:pt x="113" y="306"/>
                      </a:lnTo>
                      <a:lnTo>
                        <a:pt x="128" y="296"/>
                      </a:lnTo>
                      <a:lnTo>
                        <a:pt x="121" y="288"/>
                      </a:lnTo>
                      <a:lnTo>
                        <a:pt x="137" y="290"/>
                      </a:lnTo>
                      <a:lnTo>
                        <a:pt x="189" y="260"/>
                      </a:lnTo>
                      <a:lnTo>
                        <a:pt x="199" y="249"/>
                      </a:lnTo>
                      <a:lnTo>
                        <a:pt x="189" y="240"/>
                      </a:lnTo>
                      <a:lnTo>
                        <a:pt x="234" y="204"/>
                      </a:lnTo>
                      <a:lnTo>
                        <a:pt x="241" y="186"/>
                      </a:lnTo>
                      <a:lnTo>
                        <a:pt x="236" y="204"/>
                      </a:lnTo>
                      <a:lnTo>
                        <a:pt x="254" y="201"/>
                      </a:lnTo>
                      <a:lnTo>
                        <a:pt x="244" y="208"/>
                      </a:lnTo>
                      <a:lnTo>
                        <a:pt x="258" y="212"/>
                      </a:lnTo>
                      <a:lnTo>
                        <a:pt x="226" y="215"/>
                      </a:lnTo>
                      <a:lnTo>
                        <a:pt x="220" y="232"/>
                      </a:lnTo>
                      <a:lnTo>
                        <a:pt x="231" y="231"/>
                      </a:lnTo>
                      <a:lnTo>
                        <a:pt x="221" y="243"/>
                      </a:lnTo>
                      <a:lnTo>
                        <a:pt x="264" y="228"/>
                      </a:lnTo>
                      <a:lnTo>
                        <a:pt x="270" y="218"/>
                      </a:lnTo>
                      <a:lnTo>
                        <a:pt x="263" y="213"/>
                      </a:lnTo>
                      <a:lnTo>
                        <a:pt x="274" y="204"/>
                      </a:lnTo>
                      <a:lnTo>
                        <a:pt x="272" y="212"/>
                      </a:lnTo>
                      <a:lnTo>
                        <a:pt x="294" y="208"/>
                      </a:lnTo>
                      <a:lnTo>
                        <a:pt x="289" y="215"/>
                      </a:lnTo>
                      <a:lnTo>
                        <a:pt x="325" y="228"/>
                      </a:lnTo>
                      <a:lnTo>
                        <a:pt x="378" y="234"/>
                      </a:lnTo>
                      <a:lnTo>
                        <a:pt x="387" y="227"/>
                      </a:lnTo>
                      <a:lnTo>
                        <a:pt x="394" y="230"/>
                      </a:lnTo>
                      <a:lnTo>
                        <a:pt x="384" y="238"/>
                      </a:lnTo>
                      <a:lnTo>
                        <a:pt x="400" y="245"/>
                      </a:lnTo>
                      <a:lnTo>
                        <a:pt x="407" y="239"/>
                      </a:lnTo>
                      <a:lnTo>
                        <a:pt x="393" y="223"/>
                      </a:lnTo>
                      <a:lnTo>
                        <a:pt x="368" y="223"/>
                      </a:lnTo>
                      <a:lnTo>
                        <a:pt x="368" y="36"/>
                      </a:lnTo>
                      <a:lnTo>
                        <a:pt x="222" y="21"/>
                      </a:lnTo>
                      <a:lnTo>
                        <a:pt x="216" y="12"/>
                      </a:lnTo>
                      <a:lnTo>
                        <a:pt x="176" y="6"/>
                      </a:lnTo>
                      <a:lnTo>
                        <a:pt x="171" y="13"/>
                      </a:lnTo>
                      <a:lnTo>
                        <a:pt x="159" y="11"/>
                      </a:lnTo>
                      <a:lnTo>
                        <a:pt x="171" y="5"/>
                      </a:lnTo>
                      <a:lnTo>
                        <a:pt x="154" y="0"/>
                      </a:lnTo>
                      <a:lnTo>
                        <a:pt x="138" y="12"/>
                      </a:lnTo>
                      <a:lnTo>
                        <a:pt x="111" y="13"/>
                      </a:lnTo>
                      <a:lnTo>
                        <a:pt x="110" y="24"/>
                      </a:lnTo>
                      <a:lnTo>
                        <a:pt x="107" y="18"/>
                      </a:lnTo>
                      <a:lnTo>
                        <a:pt x="83" y="24"/>
                      </a:lnTo>
                      <a:lnTo>
                        <a:pt x="87" y="33"/>
                      </a:lnTo>
                      <a:lnTo>
                        <a:pt x="75" y="30"/>
                      </a:lnTo>
                      <a:lnTo>
                        <a:pt x="60" y="48"/>
                      </a:lnTo>
                      <a:lnTo>
                        <a:pt x="24" y="55"/>
                      </a:lnTo>
                      <a:lnTo>
                        <a:pt x="27" y="63"/>
                      </a:lnTo>
                      <a:lnTo>
                        <a:pt x="16" y="65"/>
                      </a:lnTo>
                      <a:lnTo>
                        <a:pt x="59" y="91"/>
                      </a:lnTo>
                      <a:lnTo>
                        <a:pt x="116" y="104"/>
                      </a:lnTo>
                      <a:lnTo>
                        <a:pt x="81" y="100"/>
                      </a:lnTo>
                      <a:lnTo>
                        <a:pt x="83" y="108"/>
                      </a:lnTo>
                      <a:lnTo>
                        <a:pt x="97" y="108"/>
                      </a:lnTo>
                      <a:lnTo>
                        <a:pt x="85" y="113"/>
                      </a:lnTo>
                      <a:lnTo>
                        <a:pt x="59" y="112"/>
                      </a:lnTo>
                      <a:lnTo>
                        <a:pt x="59" y="101"/>
                      </a:lnTo>
                      <a:lnTo>
                        <a:pt x="46" y="102"/>
                      </a:lnTo>
                      <a:lnTo>
                        <a:pt x="0" y="121"/>
                      </a:lnTo>
                      <a:lnTo>
                        <a:pt x="0" y="121"/>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52" name="United States">
                  <a:extLst>
                    <a:ext uri="{FF2B5EF4-FFF2-40B4-BE49-F238E27FC236}">
                      <a16:creationId xmlns:a16="http://schemas.microsoft.com/office/drawing/2014/main" id="{D4DCDF54-FDAF-AAAF-B8C0-2727425E6EF3}"/>
                    </a:ext>
                  </a:extLst>
                </p:cNvPr>
                <p:cNvSpPr>
                  <a:spLocks noGrp="1" noRot="1" noMove="1" noResize="1" noEditPoints="1" noAdjustHandles="1" noChangeArrowheads="1" noChangeShapeType="1"/>
                </p:cNvSpPr>
                <p:nvPr/>
              </p:nvSpPr>
              <p:spPr bwMode="gray">
                <a:xfrm>
                  <a:off x="881499" y="4119862"/>
                  <a:ext cx="27875" cy="39921"/>
                </a:xfrm>
                <a:custGeom>
                  <a:avLst/>
                  <a:gdLst/>
                  <a:ahLst/>
                  <a:cxnLst>
                    <a:cxn ang="0">
                      <a:pos x="0" y="6"/>
                    </a:cxn>
                    <a:cxn ang="0">
                      <a:pos x="0" y="6"/>
                    </a:cxn>
                    <a:cxn ang="0">
                      <a:pos x="1" y="0"/>
                    </a:cxn>
                    <a:cxn ang="0">
                      <a:pos x="15" y="10"/>
                    </a:cxn>
                    <a:cxn ang="0">
                      <a:pos x="5" y="17"/>
                    </a:cxn>
                    <a:cxn ang="0">
                      <a:pos x="0" y="6"/>
                    </a:cxn>
                    <a:cxn ang="0">
                      <a:pos x="0" y="6"/>
                    </a:cxn>
                  </a:cxnLst>
                  <a:rect l="0" t="0" r="r" b="b"/>
                  <a:pathLst>
                    <a:path w="16" h="18">
                      <a:moveTo>
                        <a:pt x="0" y="6"/>
                      </a:moveTo>
                      <a:lnTo>
                        <a:pt x="0" y="6"/>
                      </a:lnTo>
                      <a:lnTo>
                        <a:pt x="1" y="0"/>
                      </a:lnTo>
                      <a:lnTo>
                        <a:pt x="15" y="10"/>
                      </a:lnTo>
                      <a:lnTo>
                        <a:pt x="5" y="17"/>
                      </a:lnTo>
                      <a:lnTo>
                        <a:pt x="0" y="6"/>
                      </a:lnTo>
                      <a:lnTo>
                        <a:pt x="0" y="6"/>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53" name="United States">
                  <a:extLst>
                    <a:ext uri="{FF2B5EF4-FFF2-40B4-BE49-F238E27FC236}">
                      <a16:creationId xmlns:a16="http://schemas.microsoft.com/office/drawing/2014/main" id="{7A15D1CF-1E61-BB62-1BE6-605D542E6479}"/>
                    </a:ext>
                  </a:extLst>
                </p:cNvPr>
                <p:cNvSpPr>
                  <a:spLocks noGrp="1" noRot="1" noMove="1" noResize="1" noEditPoints="1" noAdjustHandles="1" noChangeArrowheads="1" noChangeShapeType="1"/>
                </p:cNvSpPr>
                <p:nvPr/>
              </p:nvSpPr>
              <p:spPr bwMode="gray">
                <a:xfrm>
                  <a:off x="905085" y="2888977"/>
                  <a:ext cx="68618" cy="44356"/>
                </a:xfrm>
                <a:custGeom>
                  <a:avLst/>
                  <a:gdLst/>
                  <a:ahLst/>
                  <a:cxnLst>
                    <a:cxn ang="0">
                      <a:pos x="0" y="7"/>
                    </a:cxn>
                    <a:cxn ang="0">
                      <a:pos x="0" y="7"/>
                    </a:cxn>
                    <a:cxn ang="0">
                      <a:pos x="10" y="19"/>
                    </a:cxn>
                    <a:cxn ang="0">
                      <a:pos x="36" y="3"/>
                    </a:cxn>
                    <a:cxn ang="0">
                      <a:pos x="12" y="0"/>
                    </a:cxn>
                    <a:cxn ang="0">
                      <a:pos x="15" y="7"/>
                    </a:cxn>
                    <a:cxn ang="0">
                      <a:pos x="0" y="7"/>
                    </a:cxn>
                    <a:cxn ang="0">
                      <a:pos x="0" y="7"/>
                    </a:cxn>
                  </a:cxnLst>
                  <a:rect l="0" t="0" r="r" b="b"/>
                  <a:pathLst>
                    <a:path w="37" h="20">
                      <a:moveTo>
                        <a:pt x="0" y="7"/>
                      </a:moveTo>
                      <a:lnTo>
                        <a:pt x="0" y="7"/>
                      </a:lnTo>
                      <a:lnTo>
                        <a:pt x="10" y="19"/>
                      </a:lnTo>
                      <a:lnTo>
                        <a:pt x="36" y="3"/>
                      </a:lnTo>
                      <a:lnTo>
                        <a:pt x="12" y="0"/>
                      </a:lnTo>
                      <a:lnTo>
                        <a:pt x="15" y="7"/>
                      </a:lnTo>
                      <a:lnTo>
                        <a:pt x="0" y="7"/>
                      </a:lnTo>
                      <a:lnTo>
                        <a:pt x="0" y="7"/>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54" name="United States">
                  <a:extLst>
                    <a:ext uri="{FF2B5EF4-FFF2-40B4-BE49-F238E27FC236}">
                      <a16:creationId xmlns:a16="http://schemas.microsoft.com/office/drawing/2014/main" id="{14147325-AEE2-617D-D121-59BAD460B48F}"/>
                    </a:ext>
                  </a:extLst>
                </p:cNvPr>
                <p:cNvSpPr>
                  <a:spLocks noGrp="1" noRot="1" noMove="1" noResize="1" noEditPoints="1" noAdjustHandles="1" noChangeArrowheads="1" noChangeShapeType="1"/>
                </p:cNvSpPr>
                <p:nvPr/>
              </p:nvSpPr>
              <p:spPr bwMode="gray">
                <a:xfrm>
                  <a:off x="1323222" y="2809135"/>
                  <a:ext cx="197275" cy="199603"/>
                </a:xfrm>
                <a:custGeom>
                  <a:avLst/>
                  <a:gdLst/>
                  <a:ahLst/>
                  <a:cxnLst>
                    <a:cxn ang="0">
                      <a:pos x="0" y="8"/>
                    </a:cxn>
                    <a:cxn ang="0">
                      <a:pos x="0" y="8"/>
                    </a:cxn>
                    <a:cxn ang="0">
                      <a:pos x="4" y="22"/>
                    </a:cxn>
                    <a:cxn ang="0">
                      <a:pos x="19" y="26"/>
                    </a:cxn>
                    <a:cxn ang="0">
                      <a:pos x="26" y="22"/>
                    </a:cxn>
                    <a:cxn ang="0">
                      <a:pos x="13" y="16"/>
                    </a:cxn>
                    <a:cxn ang="0">
                      <a:pos x="26" y="16"/>
                    </a:cxn>
                    <a:cxn ang="0">
                      <a:pos x="37" y="27"/>
                    </a:cxn>
                    <a:cxn ang="0">
                      <a:pos x="34" y="7"/>
                    </a:cxn>
                    <a:cxn ang="0">
                      <a:pos x="43" y="25"/>
                    </a:cxn>
                    <a:cxn ang="0">
                      <a:pos x="66" y="35"/>
                    </a:cxn>
                    <a:cxn ang="0">
                      <a:pos x="61" y="46"/>
                    </a:cxn>
                    <a:cxn ang="0">
                      <a:pos x="87" y="62"/>
                    </a:cxn>
                    <a:cxn ang="0">
                      <a:pos x="80" y="74"/>
                    </a:cxn>
                    <a:cxn ang="0">
                      <a:pos x="94" y="64"/>
                    </a:cxn>
                    <a:cxn ang="0">
                      <a:pos x="97" y="87"/>
                    </a:cxn>
                    <a:cxn ang="0">
                      <a:pos x="107" y="83"/>
                    </a:cxn>
                    <a:cxn ang="0">
                      <a:pos x="108" y="65"/>
                    </a:cxn>
                    <a:cxn ang="0">
                      <a:pos x="82" y="56"/>
                    </a:cxn>
                    <a:cxn ang="0">
                      <a:pos x="34" y="0"/>
                    </a:cxn>
                    <a:cxn ang="0">
                      <a:pos x="7" y="16"/>
                    </a:cxn>
                    <a:cxn ang="0">
                      <a:pos x="0" y="8"/>
                    </a:cxn>
                    <a:cxn ang="0">
                      <a:pos x="0" y="8"/>
                    </a:cxn>
                  </a:cxnLst>
                  <a:rect l="0" t="0" r="r" b="b"/>
                  <a:pathLst>
                    <a:path w="109" h="88">
                      <a:moveTo>
                        <a:pt x="0" y="8"/>
                      </a:moveTo>
                      <a:lnTo>
                        <a:pt x="0" y="8"/>
                      </a:lnTo>
                      <a:lnTo>
                        <a:pt x="4" y="22"/>
                      </a:lnTo>
                      <a:lnTo>
                        <a:pt x="19" y="26"/>
                      </a:lnTo>
                      <a:lnTo>
                        <a:pt x="26" y="22"/>
                      </a:lnTo>
                      <a:lnTo>
                        <a:pt x="13" y="16"/>
                      </a:lnTo>
                      <a:lnTo>
                        <a:pt x="26" y="16"/>
                      </a:lnTo>
                      <a:lnTo>
                        <a:pt x="37" y="27"/>
                      </a:lnTo>
                      <a:lnTo>
                        <a:pt x="34" y="7"/>
                      </a:lnTo>
                      <a:lnTo>
                        <a:pt x="43" y="25"/>
                      </a:lnTo>
                      <a:lnTo>
                        <a:pt x="66" y="35"/>
                      </a:lnTo>
                      <a:lnTo>
                        <a:pt x="61" y="46"/>
                      </a:lnTo>
                      <a:lnTo>
                        <a:pt x="87" y="62"/>
                      </a:lnTo>
                      <a:lnTo>
                        <a:pt x="80" y="74"/>
                      </a:lnTo>
                      <a:lnTo>
                        <a:pt x="94" y="64"/>
                      </a:lnTo>
                      <a:lnTo>
                        <a:pt x="97" y="87"/>
                      </a:lnTo>
                      <a:lnTo>
                        <a:pt x="107" y="83"/>
                      </a:lnTo>
                      <a:lnTo>
                        <a:pt x="108" y="65"/>
                      </a:lnTo>
                      <a:lnTo>
                        <a:pt x="82" y="56"/>
                      </a:lnTo>
                      <a:lnTo>
                        <a:pt x="34" y="0"/>
                      </a:lnTo>
                      <a:lnTo>
                        <a:pt x="7" y="16"/>
                      </a:lnTo>
                      <a:lnTo>
                        <a:pt x="0" y="8"/>
                      </a:lnTo>
                      <a:lnTo>
                        <a:pt x="0" y="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55" name="United States">
                  <a:extLst>
                    <a:ext uri="{FF2B5EF4-FFF2-40B4-BE49-F238E27FC236}">
                      <a16:creationId xmlns:a16="http://schemas.microsoft.com/office/drawing/2014/main" id="{B901AB3E-7EBC-2460-A4E2-E67EC4543A5B}"/>
                    </a:ext>
                  </a:extLst>
                </p:cNvPr>
                <p:cNvSpPr>
                  <a:spLocks noGrp="1" noRot="1" noMove="1" noResize="1" noEditPoints="1" noAdjustHandles="1" noChangeArrowheads="1" noChangeShapeType="1"/>
                </p:cNvSpPr>
                <p:nvPr/>
              </p:nvSpPr>
              <p:spPr bwMode="gray">
                <a:xfrm>
                  <a:off x="1366108" y="2873452"/>
                  <a:ext cx="34309" cy="33267"/>
                </a:xfrm>
                <a:custGeom>
                  <a:avLst/>
                  <a:gdLst/>
                  <a:ahLst/>
                  <a:cxnLst>
                    <a:cxn ang="0">
                      <a:pos x="0" y="0"/>
                    </a:cxn>
                    <a:cxn ang="0">
                      <a:pos x="0" y="0"/>
                    </a:cxn>
                    <a:cxn ang="0">
                      <a:pos x="6" y="14"/>
                    </a:cxn>
                    <a:cxn ang="0">
                      <a:pos x="7" y="7"/>
                    </a:cxn>
                    <a:cxn ang="0">
                      <a:pos x="19" y="13"/>
                    </a:cxn>
                    <a:cxn ang="0">
                      <a:pos x="8" y="7"/>
                    </a:cxn>
                    <a:cxn ang="0">
                      <a:pos x="18" y="3"/>
                    </a:cxn>
                    <a:cxn ang="0">
                      <a:pos x="0" y="0"/>
                    </a:cxn>
                    <a:cxn ang="0">
                      <a:pos x="0" y="0"/>
                    </a:cxn>
                  </a:cxnLst>
                  <a:rect l="0" t="0" r="r" b="b"/>
                  <a:pathLst>
                    <a:path w="20" h="15">
                      <a:moveTo>
                        <a:pt x="0" y="0"/>
                      </a:moveTo>
                      <a:lnTo>
                        <a:pt x="0" y="0"/>
                      </a:lnTo>
                      <a:lnTo>
                        <a:pt x="6" y="14"/>
                      </a:lnTo>
                      <a:lnTo>
                        <a:pt x="7" y="7"/>
                      </a:lnTo>
                      <a:lnTo>
                        <a:pt x="19" y="13"/>
                      </a:lnTo>
                      <a:lnTo>
                        <a:pt x="8" y="7"/>
                      </a:lnTo>
                      <a:lnTo>
                        <a:pt x="18" y="3"/>
                      </a:lnTo>
                      <a:lnTo>
                        <a:pt x="0" y="0"/>
                      </a:lnTo>
                      <a:lnTo>
                        <a:pt x="0" y="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56" name="United States">
                  <a:extLst>
                    <a:ext uri="{FF2B5EF4-FFF2-40B4-BE49-F238E27FC236}">
                      <a16:creationId xmlns:a16="http://schemas.microsoft.com/office/drawing/2014/main" id="{BF6AF23E-AB0E-66C1-4218-EC472BB7ED93}"/>
                    </a:ext>
                  </a:extLst>
                </p:cNvPr>
                <p:cNvSpPr>
                  <a:spLocks noGrp="1" noRot="1" noMove="1" noResize="1" noEditPoints="1" noAdjustHandles="1" noChangeArrowheads="1" noChangeShapeType="1"/>
                </p:cNvSpPr>
                <p:nvPr/>
              </p:nvSpPr>
              <p:spPr bwMode="gray">
                <a:xfrm>
                  <a:off x="1381118" y="2900066"/>
                  <a:ext cx="21443" cy="51010"/>
                </a:xfrm>
                <a:custGeom>
                  <a:avLst/>
                  <a:gdLst/>
                  <a:ahLst/>
                  <a:cxnLst>
                    <a:cxn ang="0">
                      <a:pos x="0" y="0"/>
                    </a:cxn>
                    <a:cxn ang="0">
                      <a:pos x="0" y="0"/>
                    </a:cxn>
                    <a:cxn ang="0">
                      <a:pos x="10" y="4"/>
                    </a:cxn>
                    <a:cxn ang="0">
                      <a:pos x="11" y="22"/>
                    </a:cxn>
                    <a:cxn ang="0">
                      <a:pos x="0" y="0"/>
                    </a:cxn>
                    <a:cxn ang="0">
                      <a:pos x="0" y="0"/>
                    </a:cxn>
                  </a:cxnLst>
                  <a:rect l="0" t="0" r="r" b="b"/>
                  <a:pathLst>
                    <a:path w="12" h="23">
                      <a:moveTo>
                        <a:pt x="0" y="0"/>
                      </a:moveTo>
                      <a:lnTo>
                        <a:pt x="0" y="0"/>
                      </a:lnTo>
                      <a:lnTo>
                        <a:pt x="10" y="4"/>
                      </a:lnTo>
                      <a:lnTo>
                        <a:pt x="11" y="22"/>
                      </a:lnTo>
                      <a:lnTo>
                        <a:pt x="0" y="0"/>
                      </a:lnTo>
                      <a:lnTo>
                        <a:pt x="0" y="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57" name="United States">
                  <a:extLst>
                    <a:ext uri="{FF2B5EF4-FFF2-40B4-BE49-F238E27FC236}">
                      <a16:creationId xmlns:a16="http://schemas.microsoft.com/office/drawing/2014/main" id="{C2C04FC6-6DDC-DAA2-EE35-D5692CD8D03F}"/>
                    </a:ext>
                  </a:extLst>
                </p:cNvPr>
                <p:cNvSpPr>
                  <a:spLocks noGrp="1" noRot="1" noMove="1" noResize="1" noEditPoints="1" noAdjustHandles="1" noChangeArrowheads="1" noChangeShapeType="1"/>
                </p:cNvSpPr>
                <p:nvPr/>
              </p:nvSpPr>
              <p:spPr bwMode="gray">
                <a:xfrm>
                  <a:off x="1402561" y="2875670"/>
                  <a:ext cx="25732" cy="31050"/>
                </a:xfrm>
                <a:custGeom>
                  <a:avLst/>
                  <a:gdLst/>
                  <a:ahLst/>
                  <a:cxnLst>
                    <a:cxn ang="0">
                      <a:pos x="0" y="0"/>
                    </a:cxn>
                    <a:cxn ang="0">
                      <a:pos x="0" y="0"/>
                    </a:cxn>
                    <a:cxn ang="0">
                      <a:pos x="3" y="13"/>
                    </a:cxn>
                    <a:cxn ang="0">
                      <a:pos x="11" y="13"/>
                    </a:cxn>
                    <a:cxn ang="0">
                      <a:pos x="7" y="2"/>
                    </a:cxn>
                    <a:cxn ang="0">
                      <a:pos x="13" y="10"/>
                    </a:cxn>
                    <a:cxn ang="0">
                      <a:pos x="8" y="0"/>
                    </a:cxn>
                    <a:cxn ang="0">
                      <a:pos x="0" y="0"/>
                    </a:cxn>
                    <a:cxn ang="0">
                      <a:pos x="0" y="0"/>
                    </a:cxn>
                  </a:cxnLst>
                  <a:rect l="0" t="0" r="r" b="b"/>
                  <a:pathLst>
                    <a:path w="14" h="14">
                      <a:moveTo>
                        <a:pt x="0" y="0"/>
                      </a:moveTo>
                      <a:lnTo>
                        <a:pt x="0" y="0"/>
                      </a:lnTo>
                      <a:lnTo>
                        <a:pt x="3" y="13"/>
                      </a:lnTo>
                      <a:lnTo>
                        <a:pt x="11" y="13"/>
                      </a:lnTo>
                      <a:lnTo>
                        <a:pt x="7" y="2"/>
                      </a:lnTo>
                      <a:lnTo>
                        <a:pt x="13" y="10"/>
                      </a:lnTo>
                      <a:lnTo>
                        <a:pt x="8" y="0"/>
                      </a:lnTo>
                      <a:lnTo>
                        <a:pt x="0" y="0"/>
                      </a:lnTo>
                      <a:lnTo>
                        <a:pt x="0" y="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58" name="United States">
                  <a:extLst>
                    <a:ext uri="{FF2B5EF4-FFF2-40B4-BE49-F238E27FC236}">
                      <a16:creationId xmlns:a16="http://schemas.microsoft.com/office/drawing/2014/main" id="{121F857A-6E6E-3EB8-0F67-ECF4E00402FC}"/>
                    </a:ext>
                  </a:extLst>
                </p:cNvPr>
                <p:cNvSpPr>
                  <a:spLocks noGrp="1" noRot="1" noMove="1" noResize="1" noEditPoints="1" noAdjustHandles="1" noChangeArrowheads="1" noChangeShapeType="1"/>
                </p:cNvSpPr>
                <p:nvPr/>
              </p:nvSpPr>
              <p:spPr bwMode="gray">
                <a:xfrm>
                  <a:off x="1424004" y="2917808"/>
                  <a:ext cx="23587" cy="24396"/>
                </a:xfrm>
                <a:custGeom>
                  <a:avLst/>
                  <a:gdLst/>
                  <a:ahLst/>
                  <a:cxnLst>
                    <a:cxn ang="0">
                      <a:pos x="0" y="0"/>
                    </a:cxn>
                    <a:cxn ang="0">
                      <a:pos x="0" y="0"/>
                    </a:cxn>
                    <a:cxn ang="0">
                      <a:pos x="11" y="10"/>
                    </a:cxn>
                    <a:cxn ang="0">
                      <a:pos x="12" y="2"/>
                    </a:cxn>
                    <a:cxn ang="0">
                      <a:pos x="0" y="0"/>
                    </a:cxn>
                    <a:cxn ang="0">
                      <a:pos x="0" y="0"/>
                    </a:cxn>
                  </a:cxnLst>
                  <a:rect l="0" t="0" r="r" b="b"/>
                  <a:pathLst>
                    <a:path w="13" h="11">
                      <a:moveTo>
                        <a:pt x="0" y="0"/>
                      </a:moveTo>
                      <a:lnTo>
                        <a:pt x="0" y="0"/>
                      </a:lnTo>
                      <a:lnTo>
                        <a:pt x="11" y="10"/>
                      </a:lnTo>
                      <a:lnTo>
                        <a:pt x="12" y="2"/>
                      </a:lnTo>
                      <a:lnTo>
                        <a:pt x="0" y="0"/>
                      </a:lnTo>
                      <a:lnTo>
                        <a:pt x="0" y="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59" name="United States">
                  <a:extLst>
                    <a:ext uri="{FF2B5EF4-FFF2-40B4-BE49-F238E27FC236}">
                      <a16:creationId xmlns:a16="http://schemas.microsoft.com/office/drawing/2014/main" id="{8BC38593-E8DB-29F2-9A6D-512C367976C0}"/>
                    </a:ext>
                  </a:extLst>
                </p:cNvPr>
                <p:cNvSpPr>
                  <a:spLocks noGrp="1" noRot="1" noMove="1" noResize="1" noEditPoints="1" noAdjustHandles="1" noChangeArrowheads="1" noChangeShapeType="1"/>
                </p:cNvSpPr>
                <p:nvPr/>
              </p:nvSpPr>
              <p:spPr bwMode="gray">
                <a:xfrm>
                  <a:off x="1428293" y="2946639"/>
                  <a:ext cx="36453" cy="51010"/>
                </a:xfrm>
                <a:custGeom>
                  <a:avLst/>
                  <a:gdLst/>
                  <a:ahLst/>
                  <a:cxnLst>
                    <a:cxn ang="0">
                      <a:pos x="0" y="0"/>
                    </a:cxn>
                    <a:cxn ang="0">
                      <a:pos x="0" y="0"/>
                    </a:cxn>
                    <a:cxn ang="0">
                      <a:pos x="15" y="8"/>
                    </a:cxn>
                    <a:cxn ang="0">
                      <a:pos x="19" y="22"/>
                    </a:cxn>
                    <a:cxn ang="0">
                      <a:pos x="0" y="0"/>
                    </a:cxn>
                    <a:cxn ang="0">
                      <a:pos x="0" y="0"/>
                    </a:cxn>
                  </a:cxnLst>
                  <a:rect l="0" t="0" r="r" b="b"/>
                  <a:pathLst>
                    <a:path w="20" h="23">
                      <a:moveTo>
                        <a:pt x="0" y="0"/>
                      </a:moveTo>
                      <a:lnTo>
                        <a:pt x="0" y="0"/>
                      </a:lnTo>
                      <a:lnTo>
                        <a:pt x="15" y="8"/>
                      </a:lnTo>
                      <a:lnTo>
                        <a:pt x="19" y="22"/>
                      </a:lnTo>
                      <a:lnTo>
                        <a:pt x="0" y="0"/>
                      </a:lnTo>
                      <a:lnTo>
                        <a:pt x="0" y="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0" name="United States">
                  <a:extLst>
                    <a:ext uri="{FF2B5EF4-FFF2-40B4-BE49-F238E27FC236}">
                      <a16:creationId xmlns:a16="http://schemas.microsoft.com/office/drawing/2014/main" id="{D20E57D2-B418-335C-A338-FAC21302D660}"/>
                    </a:ext>
                  </a:extLst>
                </p:cNvPr>
                <p:cNvSpPr>
                  <a:spLocks noGrp="1" noRot="1" noMove="1" noResize="1" noEditPoints="1" noAdjustHandles="1" noChangeArrowheads="1" noChangeShapeType="1"/>
                </p:cNvSpPr>
                <p:nvPr/>
              </p:nvSpPr>
              <p:spPr bwMode="gray">
                <a:xfrm>
                  <a:off x="1481900" y="2962164"/>
                  <a:ext cx="19298" cy="31050"/>
                </a:xfrm>
                <a:custGeom>
                  <a:avLst/>
                  <a:gdLst/>
                  <a:ahLst/>
                  <a:cxnLst>
                    <a:cxn ang="0">
                      <a:pos x="0" y="7"/>
                    </a:cxn>
                    <a:cxn ang="0">
                      <a:pos x="0" y="7"/>
                    </a:cxn>
                    <a:cxn ang="0">
                      <a:pos x="5" y="0"/>
                    </a:cxn>
                    <a:cxn ang="0">
                      <a:pos x="10" y="13"/>
                    </a:cxn>
                    <a:cxn ang="0">
                      <a:pos x="0" y="7"/>
                    </a:cxn>
                    <a:cxn ang="0">
                      <a:pos x="0" y="7"/>
                    </a:cxn>
                  </a:cxnLst>
                  <a:rect l="0" t="0" r="r" b="b"/>
                  <a:pathLst>
                    <a:path w="11" h="14">
                      <a:moveTo>
                        <a:pt x="0" y="7"/>
                      </a:moveTo>
                      <a:lnTo>
                        <a:pt x="0" y="7"/>
                      </a:lnTo>
                      <a:lnTo>
                        <a:pt x="5" y="0"/>
                      </a:lnTo>
                      <a:lnTo>
                        <a:pt x="10" y="13"/>
                      </a:lnTo>
                      <a:lnTo>
                        <a:pt x="0" y="7"/>
                      </a:lnTo>
                      <a:lnTo>
                        <a:pt x="0" y="7"/>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1" name="United States">
                  <a:extLst>
                    <a:ext uri="{FF2B5EF4-FFF2-40B4-BE49-F238E27FC236}">
                      <a16:creationId xmlns:a16="http://schemas.microsoft.com/office/drawing/2014/main" id="{4C09DB15-DE8B-4D09-2BF3-F858842E7A98}"/>
                    </a:ext>
                  </a:extLst>
                </p:cNvPr>
                <p:cNvSpPr>
                  <a:spLocks noGrp="1" noRot="1" noMove="1" noResize="1" noEditPoints="1" noAdjustHandles="1" noChangeArrowheads="1" noChangeShapeType="1"/>
                </p:cNvSpPr>
                <p:nvPr/>
              </p:nvSpPr>
              <p:spPr bwMode="gray">
                <a:xfrm>
                  <a:off x="1653443" y="3201688"/>
                  <a:ext cx="1430243" cy="771799"/>
                </a:xfrm>
                <a:custGeom>
                  <a:avLst/>
                  <a:gdLst/>
                  <a:ahLst/>
                  <a:cxnLst>
                    <a:cxn ang="0">
                      <a:pos x="0" y="20"/>
                    </a:cxn>
                    <a:cxn ang="0">
                      <a:pos x="21" y="50"/>
                    </a:cxn>
                    <a:cxn ang="0">
                      <a:pos x="5" y="137"/>
                    </a:cxn>
                    <a:cxn ang="0">
                      <a:pos x="37" y="169"/>
                    </a:cxn>
                    <a:cxn ang="0">
                      <a:pos x="58" y="218"/>
                    </a:cxn>
                    <a:cxn ang="0">
                      <a:pos x="104" y="246"/>
                    </a:cxn>
                    <a:cxn ang="0">
                      <a:pos x="188" y="263"/>
                    </a:cxn>
                    <a:cxn ang="0">
                      <a:pos x="287" y="292"/>
                    </a:cxn>
                    <a:cxn ang="0">
                      <a:pos x="350" y="326"/>
                    </a:cxn>
                    <a:cxn ang="0">
                      <a:pos x="374" y="309"/>
                    </a:cxn>
                    <a:cxn ang="0">
                      <a:pos x="405" y="283"/>
                    </a:cxn>
                    <a:cxn ang="0">
                      <a:pos x="481" y="292"/>
                    </a:cxn>
                    <a:cxn ang="0">
                      <a:pos x="468" y="275"/>
                    </a:cxn>
                    <a:cxn ang="0">
                      <a:pos x="499" y="267"/>
                    </a:cxn>
                    <a:cxn ang="0">
                      <a:pos x="557" y="279"/>
                    </a:cxn>
                    <a:cxn ang="0">
                      <a:pos x="574" y="313"/>
                    </a:cxn>
                    <a:cxn ang="0">
                      <a:pos x="602" y="341"/>
                    </a:cxn>
                    <a:cxn ang="0">
                      <a:pos x="588" y="267"/>
                    </a:cxn>
                    <a:cxn ang="0">
                      <a:pos x="669" y="203"/>
                    </a:cxn>
                    <a:cxn ang="0">
                      <a:pos x="667" y="198"/>
                    </a:cxn>
                    <a:cxn ang="0">
                      <a:pos x="660" y="171"/>
                    </a:cxn>
                    <a:cxn ang="0">
                      <a:pos x="660" y="168"/>
                    </a:cxn>
                    <a:cxn ang="0">
                      <a:pos x="666" y="149"/>
                    </a:cxn>
                    <a:cxn ang="0">
                      <a:pos x="678" y="162"/>
                    </a:cxn>
                    <a:cxn ang="0">
                      <a:pos x="679" y="156"/>
                    </a:cxn>
                    <a:cxn ang="0">
                      <a:pos x="748" y="117"/>
                    </a:cxn>
                    <a:cxn ang="0">
                      <a:pos x="744" y="89"/>
                    </a:cxn>
                    <a:cxn ang="0">
                      <a:pos x="787" y="65"/>
                    </a:cxn>
                    <a:cxn ang="0">
                      <a:pos x="777" y="38"/>
                    </a:cxn>
                    <a:cxn ang="0">
                      <a:pos x="737" y="64"/>
                    </a:cxn>
                    <a:cxn ang="0">
                      <a:pos x="662" y="90"/>
                    </a:cxn>
                    <a:cxn ang="0">
                      <a:pos x="625" y="101"/>
                    </a:cxn>
                    <a:cxn ang="0">
                      <a:pos x="568" y="120"/>
                    </a:cxn>
                    <a:cxn ang="0">
                      <a:pos x="571" y="107"/>
                    </a:cxn>
                    <a:cxn ang="0">
                      <a:pos x="576" y="98"/>
                    </a:cxn>
                    <a:cxn ang="0">
                      <a:pos x="557" y="88"/>
                    </a:cxn>
                    <a:cxn ang="0">
                      <a:pos x="541" y="58"/>
                    </a:cxn>
                    <a:cxn ang="0">
                      <a:pos x="518" y="115"/>
                    </a:cxn>
                    <a:cxn ang="0">
                      <a:pos x="502" y="97"/>
                    </a:cxn>
                    <a:cxn ang="0">
                      <a:pos x="503" y="71"/>
                    </a:cxn>
                    <a:cxn ang="0">
                      <a:pos x="556" y="54"/>
                    </a:cxn>
                    <a:cxn ang="0">
                      <a:pos x="547" y="46"/>
                    </a:cxn>
                    <a:cxn ang="0">
                      <a:pos x="503" y="31"/>
                    </a:cxn>
                    <a:cxn ang="0">
                      <a:pos x="445" y="44"/>
                    </a:cxn>
                    <a:cxn ang="0">
                      <a:pos x="411" y="11"/>
                    </a:cxn>
                    <a:cxn ang="0">
                      <a:pos x="402" y="8"/>
                    </a:cxn>
                    <a:cxn ang="0">
                      <a:pos x="34" y="21"/>
                    </a:cxn>
                    <a:cxn ang="0">
                      <a:pos x="27" y="21"/>
                    </a:cxn>
                    <a:cxn ang="0">
                      <a:pos x="0" y="20"/>
                    </a:cxn>
                  </a:cxnLst>
                  <a:rect l="0" t="0" r="r" b="b"/>
                  <a:pathLst>
                    <a:path w="788" h="343">
                      <a:moveTo>
                        <a:pt x="0" y="20"/>
                      </a:moveTo>
                      <a:lnTo>
                        <a:pt x="0" y="20"/>
                      </a:lnTo>
                      <a:lnTo>
                        <a:pt x="9" y="47"/>
                      </a:lnTo>
                      <a:lnTo>
                        <a:pt x="21" y="50"/>
                      </a:lnTo>
                      <a:lnTo>
                        <a:pt x="12" y="52"/>
                      </a:lnTo>
                      <a:lnTo>
                        <a:pt x="5" y="137"/>
                      </a:lnTo>
                      <a:lnTo>
                        <a:pt x="25" y="169"/>
                      </a:lnTo>
                      <a:lnTo>
                        <a:pt x="37" y="169"/>
                      </a:lnTo>
                      <a:lnTo>
                        <a:pt x="32" y="182"/>
                      </a:lnTo>
                      <a:lnTo>
                        <a:pt x="58" y="218"/>
                      </a:lnTo>
                      <a:lnTo>
                        <a:pt x="84" y="226"/>
                      </a:lnTo>
                      <a:lnTo>
                        <a:pt x="104" y="246"/>
                      </a:lnTo>
                      <a:lnTo>
                        <a:pt x="136" y="244"/>
                      </a:lnTo>
                      <a:lnTo>
                        <a:pt x="188" y="263"/>
                      </a:lnTo>
                      <a:lnTo>
                        <a:pt x="249" y="255"/>
                      </a:lnTo>
                      <a:lnTo>
                        <a:pt x="287" y="292"/>
                      </a:lnTo>
                      <a:lnTo>
                        <a:pt x="315" y="282"/>
                      </a:lnTo>
                      <a:lnTo>
                        <a:pt x="350" y="326"/>
                      </a:lnTo>
                      <a:lnTo>
                        <a:pt x="377" y="334"/>
                      </a:lnTo>
                      <a:lnTo>
                        <a:pt x="374" y="309"/>
                      </a:lnTo>
                      <a:lnTo>
                        <a:pt x="402" y="294"/>
                      </a:lnTo>
                      <a:lnTo>
                        <a:pt x="405" y="283"/>
                      </a:lnTo>
                      <a:lnTo>
                        <a:pt x="446" y="282"/>
                      </a:lnTo>
                      <a:lnTo>
                        <a:pt x="481" y="292"/>
                      </a:lnTo>
                      <a:lnTo>
                        <a:pt x="482" y="277"/>
                      </a:lnTo>
                      <a:lnTo>
                        <a:pt x="468" y="275"/>
                      </a:lnTo>
                      <a:lnTo>
                        <a:pt x="498" y="274"/>
                      </a:lnTo>
                      <a:lnTo>
                        <a:pt x="499" y="267"/>
                      </a:lnTo>
                      <a:lnTo>
                        <a:pt x="502" y="276"/>
                      </a:lnTo>
                      <a:lnTo>
                        <a:pt x="557" y="279"/>
                      </a:lnTo>
                      <a:lnTo>
                        <a:pt x="572" y="291"/>
                      </a:lnTo>
                      <a:lnTo>
                        <a:pt x="574" y="313"/>
                      </a:lnTo>
                      <a:lnTo>
                        <a:pt x="592" y="342"/>
                      </a:lnTo>
                      <a:lnTo>
                        <a:pt x="602" y="341"/>
                      </a:lnTo>
                      <a:lnTo>
                        <a:pt x="607" y="319"/>
                      </a:lnTo>
                      <a:lnTo>
                        <a:pt x="588" y="267"/>
                      </a:lnTo>
                      <a:lnTo>
                        <a:pt x="600" y="246"/>
                      </a:lnTo>
                      <a:lnTo>
                        <a:pt x="669" y="203"/>
                      </a:lnTo>
                      <a:lnTo>
                        <a:pt x="655" y="199"/>
                      </a:lnTo>
                      <a:lnTo>
                        <a:pt x="667" y="198"/>
                      </a:lnTo>
                      <a:lnTo>
                        <a:pt x="658" y="184"/>
                      </a:lnTo>
                      <a:lnTo>
                        <a:pt x="660" y="171"/>
                      </a:lnTo>
                      <a:lnTo>
                        <a:pt x="646" y="162"/>
                      </a:lnTo>
                      <a:lnTo>
                        <a:pt x="660" y="168"/>
                      </a:lnTo>
                      <a:lnTo>
                        <a:pt x="656" y="153"/>
                      </a:lnTo>
                      <a:lnTo>
                        <a:pt x="666" y="149"/>
                      </a:lnTo>
                      <a:lnTo>
                        <a:pt x="667" y="182"/>
                      </a:lnTo>
                      <a:lnTo>
                        <a:pt x="678" y="162"/>
                      </a:lnTo>
                      <a:lnTo>
                        <a:pt x="671" y="147"/>
                      </a:lnTo>
                      <a:lnTo>
                        <a:pt x="679" y="156"/>
                      </a:lnTo>
                      <a:lnTo>
                        <a:pt x="693" y="129"/>
                      </a:lnTo>
                      <a:lnTo>
                        <a:pt x="748" y="117"/>
                      </a:lnTo>
                      <a:lnTo>
                        <a:pt x="734" y="110"/>
                      </a:lnTo>
                      <a:lnTo>
                        <a:pt x="744" y="89"/>
                      </a:lnTo>
                      <a:lnTo>
                        <a:pt x="786" y="74"/>
                      </a:lnTo>
                      <a:lnTo>
                        <a:pt x="787" y="65"/>
                      </a:lnTo>
                      <a:lnTo>
                        <a:pt x="777" y="58"/>
                      </a:lnTo>
                      <a:lnTo>
                        <a:pt x="777" y="38"/>
                      </a:lnTo>
                      <a:lnTo>
                        <a:pt x="754" y="32"/>
                      </a:lnTo>
                      <a:lnTo>
                        <a:pt x="737" y="64"/>
                      </a:lnTo>
                      <a:lnTo>
                        <a:pt x="667" y="76"/>
                      </a:lnTo>
                      <a:lnTo>
                        <a:pt x="662" y="90"/>
                      </a:lnTo>
                      <a:lnTo>
                        <a:pt x="623" y="95"/>
                      </a:lnTo>
                      <a:lnTo>
                        <a:pt x="625" y="101"/>
                      </a:lnTo>
                      <a:lnTo>
                        <a:pt x="585" y="120"/>
                      </a:lnTo>
                      <a:lnTo>
                        <a:pt x="568" y="120"/>
                      </a:lnTo>
                      <a:lnTo>
                        <a:pt x="567" y="113"/>
                      </a:lnTo>
                      <a:lnTo>
                        <a:pt x="571" y="107"/>
                      </a:lnTo>
                      <a:lnTo>
                        <a:pt x="574" y="103"/>
                      </a:lnTo>
                      <a:lnTo>
                        <a:pt x="576" y="98"/>
                      </a:lnTo>
                      <a:lnTo>
                        <a:pt x="571" y="83"/>
                      </a:lnTo>
                      <a:lnTo>
                        <a:pt x="557" y="88"/>
                      </a:lnTo>
                      <a:lnTo>
                        <a:pt x="562" y="65"/>
                      </a:lnTo>
                      <a:lnTo>
                        <a:pt x="541" y="58"/>
                      </a:lnTo>
                      <a:lnTo>
                        <a:pt x="525" y="74"/>
                      </a:lnTo>
                      <a:lnTo>
                        <a:pt x="518" y="115"/>
                      </a:lnTo>
                      <a:lnTo>
                        <a:pt x="506" y="116"/>
                      </a:lnTo>
                      <a:lnTo>
                        <a:pt x="502" y="97"/>
                      </a:lnTo>
                      <a:lnTo>
                        <a:pt x="512" y="66"/>
                      </a:lnTo>
                      <a:lnTo>
                        <a:pt x="503" y="71"/>
                      </a:lnTo>
                      <a:lnTo>
                        <a:pt x="520" y="54"/>
                      </a:lnTo>
                      <a:lnTo>
                        <a:pt x="556" y="54"/>
                      </a:lnTo>
                      <a:lnTo>
                        <a:pt x="549" y="46"/>
                      </a:lnTo>
                      <a:lnTo>
                        <a:pt x="547" y="46"/>
                      </a:lnTo>
                      <a:lnTo>
                        <a:pt x="494" y="41"/>
                      </a:lnTo>
                      <a:lnTo>
                        <a:pt x="503" y="31"/>
                      </a:lnTo>
                      <a:lnTo>
                        <a:pt x="470" y="44"/>
                      </a:lnTo>
                      <a:lnTo>
                        <a:pt x="445" y="44"/>
                      </a:lnTo>
                      <a:lnTo>
                        <a:pt x="476" y="23"/>
                      </a:lnTo>
                      <a:lnTo>
                        <a:pt x="411" y="11"/>
                      </a:lnTo>
                      <a:lnTo>
                        <a:pt x="403" y="0"/>
                      </a:lnTo>
                      <a:lnTo>
                        <a:pt x="402" y="8"/>
                      </a:lnTo>
                      <a:lnTo>
                        <a:pt x="26" y="8"/>
                      </a:lnTo>
                      <a:lnTo>
                        <a:pt x="34" y="21"/>
                      </a:lnTo>
                      <a:lnTo>
                        <a:pt x="25" y="32"/>
                      </a:lnTo>
                      <a:lnTo>
                        <a:pt x="27" y="21"/>
                      </a:lnTo>
                      <a:lnTo>
                        <a:pt x="0" y="20"/>
                      </a:lnTo>
                      <a:lnTo>
                        <a:pt x="0" y="2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229" name="Mexico">
                <a:extLst>
                  <a:ext uri="{FF2B5EF4-FFF2-40B4-BE49-F238E27FC236}">
                    <a16:creationId xmlns:a16="http://schemas.microsoft.com/office/drawing/2014/main" id="{ECF8E4A7-3CA1-A452-F8CE-B1845AA8508A}"/>
                  </a:ext>
                </a:extLst>
              </p:cNvPr>
              <p:cNvSpPr>
                <a:spLocks noGrp="1" noRot="1" noMove="1" noResize="1" noEditPoints="1" noAdjustHandles="1" noChangeArrowheads="1" noChangeShapeType="1"/>
              </p:cNvSpPr>
              <p:nvPr/>
            </p:nvSpPr>
            <p:spPr bwMode="gray">
              <a:xfrm>
                <a:off x="1842141" y="3749489"/>
                <a:ext cx="750501" cy="527839"/>
              </a:xfrm>
              <a:custGeom>
                <a:avLst/>
                <a:gdLst/>
                <a:ahLst/>
                <a:cxnLst>
                  <a:cxn ang="0">
                    <a:pos x="0" y="2"/>
                  </a:cxn>
                  <a:cxn ang="0">
                    <a:pos x="0" y="2"/>
                  </a:cxn>
                  <a:cxn ang="0">
                    <a:pos x="20" y="39"/>
                  </a:cxn>
                  <a:cxn ang="0">
                    <a:pos x="43" y="55"/>
                  </a:cxn>
                  <a:cxn ang="0">
                    <a:pos x="41" y="65"/>
                  </a:cxn>
                  <a:cxn ang="0">
                    <a:pos x="30" y="67"/>
                  </a:cxn>
                  <a:cxn ang="0">
                    <a:pos x="56" y="75"/>
                  </a:cxn>
                  <a:cxn ang="0">
                    <a:pos x="70" y="92"/>
                  </a:cxn>
                  <a:cxn ang="0">
                    <a:pos x="68" y="106"/>
                  </a:cxn>
                  <a:cxn ang="0">
                    <a:pos x="98" y="129"/>
                  </a:cxn>
                  <a:cxn ang="0">
                    <a:pos x="105" y="121"/>
                  </a:cxn>
                  <a:cxn ang="0">
                    <a:pos x="35" y="33"/>
                  </a:cxn>
                  <a:cxn ang="0">
                    <a:pos x="31" y="10"/>
                  </a:cxn>
                  <a:cxn ang="0">
                    <a:pos x="46" y="15"/>
                  </a:cxn>
                  <a:cxn ang="0">
                    <a:pos x="72" y="53"/>
                  </a:cxn>
                  <a:cxn ang="0">
                    <a:pos x="108" y="83"/>
                  </a:cxn>
                  <a:cxn ang="0">
                    <a:pos x="107" y="93"/>
                  </a:cxn>
                  <a:cxn ang="0">
                    <a:pos x="158" y="133"/>
                  </a:cxn>
                  <a:cxn ang="0">
                    <a:pos x="164" y="150"/>
                  </a:cxn>
                  <a:cxn ang="0">
                    <a:pos x="158" y="161"/>
                  </a:cxn>
                  <a:cxn ang="0">
                    <a:pos x="169" y="176"/>
                  </a:cxn>
                  <a:cxn ang="0">
                    <a:pos x="267" y="217"/>
                  </a:cxn>
                  <a:cxn ang="0">
                    <a:pos x="310" y="214"/>
                  </a:cxn>
                  <a:cxn ang="0">
                    <a:pos x="338" y="233"/>
                  </a:cxn>
                  <a:cxn ang="0">
                    <a:pos x="349" y="214"/>
                  </a:cxn>
                  <a:cxn ang="0">
                    <a:pos x="363" y="214"/>
                  </a:cxn>
                  <a:cxn ang="0">
                    <a:pos x="349" y="197"/>
                  </a:cxn>
                  <a:cxn ang="0">
                    <a:pos x="380" y="191"/>
                  </a:cxn>
                  <a:cxn ang="0">
                    <a:pos x="391" y="184"/>
                  </a:cxn>
                  <a:cxn ang="0">
                    <a:pos x="395" y="180"/>
                  </a:cxn>
                  <a:cxn ang="0">
                    <a:pos x="399" y="189"/>
                  </a:cxn>
                  <a:cxn ang="0">
                    <a:pos x="412" y="150"/>
                  </a:cxn>
                  <a:cxn ang="0">
                    <a:pos x="395" y="144"/>
                  </a:cxn>
                  <a:cxn ang="0">
                    <a:pos x="364" y="150"/>
                  </a:cxn>
                  <a:cxn ang="0">
                    <a:pos x="347" y="184"/>
                  </a:cxn>
                  <a:cxn ang="0">
                    <a:pos x="308" y="187"/>
                  </a:cxn>
                  <a:cxn ang="0">
                    <a:pos x="291" y="179"/>
                  </a:cxn>
                  <a:cxn ang="0">
                    <a:pos x="265" y="138"/>
                  </a:cxn>
                  <a:cxn ang="0">
                    <a:pos x="264" y="106"/>
                  </a:cxn>
                  <a:cxn ang="0">
                    <a:pos x="273" y="90"/>
                  </a:cxn>
                  <a:cxn ang="0">
                    <a:pos x="246" y="82"/>
                  </a:cxn>
                  <a:cxn ang="0">
                    <a:pos x="211" y="38"/>
                  </a:cxn>
                  <a:cxn ang="0">
                    <a:pos x="183" y="48"/>
                  </a:cxn>
                  <a:cxn ang="0">
                    <a:pos x="145" y="11"/>
                  </a:cxn>
                  <a:cxn ang="0">
                    <a:pos x="84" y="19"/>
                  </a:cxn>
                  <a:cxn ang="0">
                    <a:pos x="32" y="0"/>
                  </a:cxn>
                  <a:cxn ang="0">
                    <a:pos x="0" y="2"/>
                  </a:cxn>
                  <a:cxn ang="0">
                    <a:pos x="0" y="2"/>
                  </a:cxn>
                </a:cxnLst>
                <a:rect l="0" t="0" r="r" b="b"/>
                <a:pathLst>
                  <a:path w="413" h="234">
                    <a:moveTo>
                      <a:pt x="0" y="2"/>
                    </a:moveTo>
                    <a:lnTo>
                      <a:pt x="0" y="2"/>
                    </a:lnTo>
                    <a:lnTo>
                      <a:pt x="20" y="39"/>
                    </a:lnTo>
                    <a:lnTo>
                      <a:pt x="43" y="55"/>
                    </a:lnTo>
                    <a:lnTo>
                      <a:pt x="41" y="65"/>
                    </a:lnTo>
                    <a:lnTo>
                      <a:pt x="30" y="67"/>
                    </a:lnTo>
                    <a:lnTo>
                      <a:pt x="56" y="75"/>
                    </a:lnTo>
                    <a:lnTo>
                      <a:pt x="70" y="92"/>
                    </a:lnTo>
                    <a:lnTo>
                      <a:pt x="68" y="106"/>
                    </a:lnTo>
                    <a:lnTo>
                      <a:pt x="98" y="129"/>
                    </a:lnTo>
                    <a:lnTo>
                      <a:pt x="105" y="121"/>
                    </a:lnTo>
                    <a:lnTo>
                      <a:pt x="35" y="33"/>
                    </a:lnTo>
                    <a:lnTo>
                      <a:pt x="31" y="10"/>
                    </a:lnTo>
                    <a:lnTo>
                      <a:pt x="46" y="15"/>
                    </a:lnTo>
                    <a:lnTo>
                      <a:pt x="72" y="53"/>
                    </a:lnTo>
                    <a:lnTo>
                      <a:pt x="108" y="83"/>
                    </a:lnTo>
                    <a:lnTo>
                      <a:pt x="107" y="93"/>
                    </a:lnTo>
                    <a:lnTo>
                      <a:pt x="158" y="133"/>
                    </a:lnTo>
                    <a:lnTo>
                      <a:pt x="164" y="150"/>
                    </a:lnTo>
                    <a:lnTo>
                      <a:pt x="158" y="161"/>
                    </a:lnTo>
                    <a:lnTo>
                      <a:pt x="169" y="176"/>
                    </a:lnTo>
                    <a:lnTo>
                      <a:pt x="267" y="217"/>
                    </a:lnTo>
                    <a:lnTo>
                      <a:pt x="310" y="214"/>
                    </a:lnTo>
                    <a:lnTo>
                      <a:pt x="338" y="233"/>
                    </a:lnTo>
                    <a:lnTo>
                      <a:pt x="349" y="214"/>
                    </a:lnTo>
                    <a:lnTo>
                      <a:pt x="363" y="214"/>
                    </a:lnTo>
                    <a:lnTo>
                      <a:pt x="349" y="197"/>
                    </a:lnTo>
                    <a:lnTo>
                      <a:pt x="380" y="191"/>
                    </a:lnTo>
                    <a:lnTo>
                      <a:pt x="391" y="184"/>
                    </a:lnTo>
                    <a:lnTo>
                      <a:pt x="395" y="180"/>
                    </a:lnTo>
                    <a:lnTo>
                      <a:pt x="399" y="189"/>
                    </a:lnTo>
                    <a:lnTo>
                      <a:pt x="412" y="150"/>
                    </a:lnTo>
                    <a:lnTo>
                      <a:pt x="395" y="144"/>
                    </a:lnTo>
                    <a:lnTo>
                      <a:pt x="364" y="150"/>
                    </a:lnTo>
                    <a:lnTo>
                      <a:pt x="347" y="184"/>
                    </a:lnTo>
                    <a:lnTo>
                      <a:pt x="308" y="187"/>
                    </a:lnTo>
                    <a:lnTo>
                      <a:pt x="291" y="179"/>
                    </a:lnTo>
                    <a:lnTo>
                      <a:pt x="265" y="138"/>
                    </a:lnTo>
                    <a:lnTo>
                      <a:pt x="264" y="106"/>
                    </a:lnTo>
                    <a:lnTo>
                      <a:pt x="273" y="90"/>
                    </a:lnTo>
                    <a:lnTo>
                      <a:pt x="246" y="82"/>
                    </a:lnTo>
                    <a:lnTo>
                      <a:pt x="211" y="38"/>
                    </a:lnTo>
                    <a:lnTo>
                      <a:pt x="183" y="48"/>
                    </a:lnTo>
                    <a:lnTo>
                      <a:pt x="145" y="11"/>
                    </a:lnTo>
                    <a:lnTo>
                      <a:pt x="84" y="19"/>
                    </a:lnTo>
                    <a:lnTo>
                      <a:pt x="32" y="0"/>
                    </a:lnTo>
                    <a:lnTo>
                      <a:pt x="0" y="2"/>
                    </a:lnTo>
                    <a:lnTo>
                      <a:pt x="0" y="2"/>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0" name="Greenland">
                <a:extLst>
                  <a:ext uri="{FF2B5EF4-FFF2-40B4-BE49-F238E27FC236}">
                    <a16:creationId xmlns:a16="http://schemas.microsoft.com/office/drawing/2014/main" id="{2CBE10B5-5C76-05C8-8CC8-A51797D5FC29}"/>
                  </a:ext>
                </a:extLst>
              </p:cNvPr>
              <p:cNvSpPr>
                <a:spLocks noGrp="1" noRot="1" noMove="1" noResize="1" noEditPoints="1" noAdjustHandles="1" noChangeArrowheads="1" noChangeShapeType="1"/>
              </p:cNvSpPr>
              <p:nvPr/>
            </p:nvSpPr>
            <p:spPr bwMode="gray">
              <a:xfrm>
                <a:off x="2937919" y="1578148"/>
                <a:ext cx="1505293" cy="1222014"/>
              </a:xfrm>
              <a:custGeom>
                <a:avLst/>
                <a:gdLst/>
                <a:ahLst/>
                <a:cxnLst>
                  <a:cxn ang="0">
                    <a:pos x="59" y="129"/>
                  </a:cxn>
                  <a:cxn ang="0">
                    <a:pos x="118" y="108"/>
                  </a:cxn>
                  <a:cxn ang="0">
                    <a:pos x="96" y="105"/>
                  </a:cxn>
                  <a:cxn ang="0">
                    <a:pos x="157" y="70"/>
                  </a:cxn>
                  <a:cxn ang="0">
                    <a:pos x="177" y="47"/>
                  </a:cxn>
                  <a:cxn ang="0">
                    <a:pos x="265" y="46"/>
                  </a:cxn>
                  <a:cxn ang="0">
                    <a:pos x="294" y="40"/>
                  </a:cxn>
                  <a:cxn ang="0">
                    <a:pos x="371" y="46"/>
                  </a:cxn>
                  <a:cxn ang="0">
                    <a:pos x="362" y="23"/>
                  </a:cxn>
                  <a:cxn ang="0">
                    <a:pos x="392" y="20"/>
                  </a:cxn>
                  <a:cxn ang="0">
                    <a:pos x="398" y="8"/>
                  </a:cxn>
                  <a:cxn ang="0">
                    <a:pos x="452" y="11"/>
                  </a:cxn>
                  <a:cxn ang="0">
                    <a:pos x="630" y="7"/>
                  </a:cxn>
                  <a:cxn ang="0">
                    <a:pos x="495" y="20"/>
                  </a:cxn>
                  <a:cxn ang="0">
                    <a:pos x="658" y="21"/>
                  </a:cxn>
                  <a:cxn ang="0">
                    <a:pos x="569" y="44"/>
                  </a:cxn>
                  <a:cxn ang="0">
                    <a:pos x="640" y="51"/>
                  </a:cxn>
                  <a:cxn ang="0">
                    <a:pos x="655" y="91"/>
                  </a:cxn>
                  <a:cxn ang="0">
                    <a:pos x="756" y="51"/>
                  </a:cxn>
                  <a:cxn ang="0">
                    <a:pos x="792" y="79"/>
                  </a:cxn>
                  <a:cxn ang="0">
                    <a:pos x="719" y="110"/>
                  </a:cxn>
                  <a:cxn ang="0">
                    <a:pos x="735" y="124"/>
                  </a:cxn>
                  <a:cxn ang="0">
                    <a:pos x="734" y="164"/>
                  </a:cxn>
                  <a:cxn ang="0">
                    <a:pos x="747" y="186"/>
                  </a:cxn>
                  <a:cxn ang="0">
                    <a:pos x="700" y="203"/>
                  </a:cxn>
                  <a:cxn ang="0">
                    <a:pos x="728" y="230"/>
                  </a:cxn>
                  <a:cxn ang="0">
                    <a:pos x="713" y="233"/>
                  </a:cxn>
                  <a:cxn ang="0">
                    <a:pos x="688" y="249"/>
                  </a:cxn>
                  <a:cxn ang="0">
                    <a:pos x="665" y="261"/>
                  </a:cxn>
                  <a:cxn ang="0">
                    <a:pos x="657" y="288"/>
                  </a:cxn>
                  <a:cxn ang="0">
                    <a:pos x="679" y="313"/>
                  </a:cxn>
                  <a:cxn ang="0">
                    <a:pos x="700" y="338"/>
                  </a:cxn>
                  <a:cxn ang="0">
                    <a:pos x="658" y="318"/>
                  </a:cxn>
                  <a:cxn ang="0">
                    <a:pos x="600" y="338"/>
                  </a:cxn>
                  <a:cxn ang="0">
                    <a:pos x="690" y="349"/>
                  </a:cxn>
                  <a:cxn ang="0">
                    <a:pos x="552" y="376"/>
                  </a:cxn>
                  <a:cxn ang="0">
                    <a:pos x="506" y="424"/>
                  </a:cxn>
                  <a:cxn ang="0">
                    <a:pos x="490" y="425"/>
                  </a:cxn>
                  <a:cxn ang="0">
                    <a:pos x="448" y="452"/>
                  </a:cxn>
                  <a:cxn ang="0">
                    <a:pos x="443" y="475"/>
                  </a:cxn>
                  <a:cxn ang="0">
                    <a:pos x="422" y="487"/>
                  </a:cxn>
                  <a:cxn ang="0">
                    <a:pos x="412" y="535"/>
                  </a:cxn>
                  <a:cxn ang="0">
                    <a:pos x="378" y="528"/>
                  </a:cxn>
                  <a:cxn ang="0">
                    <a:pos x="338" y="518"/>
                  </a:cxn>
                  <a:cxn ang="0">
                    <a:pos x="294" y="477"/>
                  </a:cxn>
                  <a:cxn ang="0">
                    <a:pos x="285" y="466"/>
                  </a:cxn>
                  <a:cxn ang="0">
                    <a:pos x="261" y="405"/>
                  </a:cxn>
                  <a:cxn ang="0">
                    <a:pos x="297" y="381"/>
                  </a:cxn>
                  <a:cxn ang="0">
                    <a:pos x="308" y="347"/>
                  </a:cxn>
                  <a:cxn ang="0">
                    <a:pos x="295" y="335"/>
                  </a:cxn>
                  <a:cxn ang="0">
                    <a:pos x="280" y="322"/>
                  </a:cxn>
                  <a:cxn ang="0">
                    <a:pos x="265" y="303"/>
                  </a:cxn>
                  <a:cxn ang="0">
                    <a:pos x="249" y="303"/>
                  </a:cxn>
                  <a:cxn ang="0">
                    <a:pos x="243" y="271"/>
                  </a:cxn>
                  <a:cxn ang="0">
                    <a:pos x="198" y="216"/>
                  </a:cxn>
                  <a:cxn ang="0">
                    <a:pos x="83" y="203"/>
                  </a:cxn>
                  <a:cxn ang="0">
                    <a:pos x="67" y="191"/>
                  </a:cxn>
                  <a:cxn ang="0">
                    <a:pos x="100" y="177"/>
                  </a:cxn>
                  <a:cxn ang="0">
                    <a:pos x="0" y="152"/>
                  </a:cxn>
                </a:cxnLst>
                <a:rect l="0" t="0" r="r" b="b"/>
                <a:pathLst>
                  <a:path w="830" h="543">
                    <a:moveTo>
                      <a:pt x="0" y="152"/>
                    </a:moveTo>
                    <a:lnTo>
                      <a:pt x="0" y="152"/>
                    </a:lnTo>
                    <a:lnTo>
                      <a:pt x="5" y="144"/>
                    </a:lnTo>
                    <a:lnTo>
                      <a:pt x="59" y="129"/>
                    </a:lnTo>
                    <a:lnTo>
                      <a:pt x="93" y="129"/>
                    </a:lnTo>
                    <a:lnTo>
                      <a:pt x="112" y="116"/>
                    </a:lnTo>
                    <a:lnTo>
                      <a:pt x="106" y="113"/>
                    </a:lnTo>
                    <a:lnTo>
                      <a:pt x="118" y="108"/>
                    </a:lnTo>
                    <a:lnTo>
                      <a:pt x="108" y="105"/>
                    </a:lnTo>
                    <a:lnTo>
                      <a:pt x="127" y="100"/>
                    </a:lnTo>
                    <a:lnTo>
                      <a:pt x="120" y="96"/>
                    </a:lnTo>
                    <a:lnTo>
                      <a:pt x="96" y="105"/>
                    </a:lnTo>
                    <a:lnTo>
                      <a:pt x="72" y="94"/>
                    </a:lnTo>
                    <a:lnTo>
                      <a:pt x="103" y="88"/>
                    </a:lnTo>
                    <a:lnTo>
                      <a:pt x="119" y="70"/>
                    </a:lnTo>
                    <a:lnTo>
                      <a:pt x="157" y="70"/>
                    </a:lnTo>
                    <a:lnTo>
                      <a:pt x="155" y="51"/>
                    </a:lnTo>
                    <a:lnTo>
                      <a:pt x="182" y="51"/>
                    </a:lnTo>
                    <a:lnTo>
                      <a:pt x="210" y="64"/>
                    </a:lnTo>
                    <a:lnTo>
                      <a:pt x="177" y="47"/>
                    </a:lnTo>
                    <a:lnTo>
                      <a:pt x="239" y="35"/>
                    </a:lnTo>
                    <a:lnTo>
                      <a:pt x="255" y="43"/>
                    </a:lnTo>
                    <a:lnTo>
                      <a:pt x="257" y="60"/>
                    </a:lnTo>
                    <a:lnTo>
                      <a:pt x="265" y="46"/>
                    </a:lnTo>
                    <a:lnTo>
                      <a:pt x="305" y="56"/>
                    </a:lnTo>
                    <a:lnTo>
                      <a:pt x="291" y="48"/>
                    </a:lnTo>
                    <a:lnTo>
                      <a:pt x="311" y="49"/>
                    </a:lnTo>
                    <a:lnTo>
                      <a:pt x="294" y="40"/>
                    </a:lnTo>
                    <a:lnTo>
                      <a:pt x="289" y="32"/>
                    </a:lnTo>
                    <a:lnTo>
                      <a:pt x="298" y="31"/>
                    </a:lnTo>
                    <a:lnTo>
                      <a:pt x="378" y="53"/>
                    </a:lnTo>
                    <a:lnTo>
                      <a:pt x="371" y="46"/>
                    </a:lnTo>
                    <a:lnTo>
                      <a:pt x="389" y="44"/>
                    </a:lnTo>
                    <a:lnTo>
                      <a:pt x="378" y="38"/>
                    </a:lnTo>
                    <a:lnTo>
                      <a:pt x="405" y="40"/>
                    </a:lnTo>
                    <a:lnTo>
                      <a:pt x="362" y="23"/>
                    </a:lnTo>
                    <a:lnTo>
                      <a:pt x="439" y="32"/>
                    </a:lnTo>
                    <a:lnTo>
                      <a:pt x="422" y="23"/>
                    </a:lnTo>
                    <a:lnTo>
                      <a:pt x="376" y="21"/>
                    </a:lnTo>
                    <a:lnTo>
                      <a:pt x="392" y="20"/>
                    </a:lnTo>
                    <a:lnTo>
                      <a:pt x="364" y="12"/>
                    </a:lnTo>
                    <a:lnTo>
                      <a:pt x="397" y="14"/>
                    </a:lnTo>
                    <a:lnTo>
                      <a:pt x="383" y="11"/>
                    </a:lnTo>
                    <a:lnTo>
                      <a:pt x="398" y="8"/>
                    </a:lnTo>
                    <a:lnTo>
                      <a:pt x="455" y="23"/>
                    </a:lnTo>
                    <a:lnTo>
                      <a:pt x="448" y="18"/>
                    </a:lnTo>
                    <a:lnTo>
                      <a:pt x="474" y="12"/>
                    </a:lnTo>
                    <a:lnTo>
                      <a:pt x="452" y="11"/>
                    </a:lnTo>
                    <a:lnTo>
                      <a:pt x="452" y="3"/>
                    </a:lnTo>
                    <a:lnTo>
                      <a:pt x="466" y="0"/>
                    </a:lnTo>
                    <a:lnTo>
                      <a:pt x="618" y="3"/>
                    </a:lnTo>
                    <a:lnTo>
                      <a:pt x="630" y="7"/>
                    </a:lnTo>
                    <a:lnTo>
                      <a:pt x="625" y="11"/>
                    </a:lnTo>
                    <a:lnTo>
                      <a:pt x="523" y="12"/>
                    </a:lnTo>
                    <a:lnTo>
                      <a:pt x="534" y="15"/>
                    </a:lnTo>
                    <a:lnTo>
                      <a:pt x="495" y="20"/>
                    </a:lnTo>
                    <a:lnTo>
                      <a:pt x="639" y="12"/>
                    </a:lnTo>
                    <a:lnTo>
                      <a:pt x="644" y="19"/>
                    </a:lnTo>
                    <a:lnTo>
                      <a:pt x="625" y="24"/>
                    </a:lnTo>
                    <a:lnTo>
                      <a:pt x="658" y="21"/>
                    </a:lnTo>
                    <a:lnTo>
                      <a:pt x="697" y="29"/>
                    </a:lnTo>
                    <a:lnTo>
                      <a:pt x="639" y="43"/>
                    </a:lnTo>
                    <a:lnTo>
                      <a:pt x="547" y="42"/>
                    </a:lnTo>
                    <a:lnTo>
                      <a:pt x="569" y="44"/>
                    </a:lnTo>
                    <a:lnTo>
                      <a:pt x="531" y="51"/>
                    </a:lnTo>
                    <a:lnTo>
                      <a:pt x="531" y="58"/>
                    </a:lnTo>
                    <a:lnTo>
                      <a:pt x="631" y="47"/>
                    </a:lnTo>
                    <a:lnTo>
                      <a:pt x="640" y="51"/>
                    </a:lnTo>
                    <a:lnTo>
                      <a:pt x="618" y="62"/>
                    </a:lnTo>
                    <a:lnTo>
                      <a:pt x="684" y="44"/>
                    </a:lnTo>
                    <a:lnTo>
                      <a:pt x="688" y="61"/>
                    </a:lnTo>
                    <a:lnTo>
                      <a:pt x="655" y="91"/>
                    </a:lnTo>
                    <a:lnTo>
                      <a:pt x="718" y="57"/>
                    </a:lnTo>
                    <a:lnTo>
                      <a:pt x="717" y="62"/>
                    </a:lnTo>
                    <a:lnTo>
                      <a:pt x="747" y="62"/>
                    </a:lnTo>
                    <a:lnTo>
                      <a:pt x="756" y="51"/>
                    </a:lnTo>
                    <a:lnTo>
                      <a:pt x="789" y="49"/>
                    </a:lnTo>
                    <a:lnTo>
                      <a:pt x="829" y="59"/>
                    </a:lnTo>
                    <a:lnTo>
                      <a:pt x="790" y="74"/>
                    </a:lnTo>
                    <a:lnTo>
                      <a:pt x="792" y="79"/>
                    </a:lnTo>
                    <a:lnTo>
                      <a:pt x="702" y="88"/>
                    </a:lnTo>
                    <a:lnTo>
                      <a:pt x="774" y="88"/>
                    </a:lnTo>
                    <a:lnTo>
                      <a:pt x="715" y="101"/>
                    </a:lnTo>
                    <a:lnTo>
                      <a:pt x="719" y="110"/>
                    </a:lnTo>
                    <a:lnTo>
                      <a:pt x="758" y="101"/>
                    </a:lnTo>
                    <a:lnTo>
                      <a:pt x="730" y="113"/>
                    </a:lnTo>
                    <a:lnTo>
                      <a:pt x="726" y="127"/>
                    </a:lnTo>
                    <a:lnTo>
                      <a:pt x="735" y="124"/>
                    </a:lnTo>
                    <a:lnTo>
                      <a:pt x="708" y="136"/>
                    </a:lnTo>
                    <a:lnTo>
                      <a:pt x="698" y="164"/>
                    </a:lnTo>
                    <a:lnTo>
                      <a:pt x="713" y="159"/>
                    </a:lnTo>
                    <a:lnTo>
                      <a:pt x="734" y="164"/>
                    </a:lnTo>
                    <a:lnTo>
                      <a:pt x="715" y="164"/>
                    </a:lnTo>
                    <a:lnTo>
                      <a:pt x="715" y="172"/>
                    </a:lnTo>
                    <a:lnTo>
                      <a:pt x="746" y="176"/>
                    </a:lnTo>
                    <a:lnTo>
                      <a:pt x="747" y="186"/>
                    </a:lnTo>
                    <a:lnTo>
                      <a:pt x="700" y="184"/>
                    </a:lnTo>
                    <a:lnTo>
                      <a:pt x="713" y="188"/>
                    </a:lnTo>
                    <a:lnTo>
                      <a:pt x="686" y="191"/>
                    </a:lnTo>
                    <a:lnTo>
                      <a:pt x="700" y="203"/>
                    </a:lnTo>
                    <a:lnTo>
                      <a:pt x="724" y="204"/>
                    </a:lnTo>
                    <a:lnTo>
                      <a:pt x="709" y="210"/>
                    </a:lnTo>
                    <a:lnTo>
                      <a:pt x="729" y="216"/>
                    </a:lnTo>
                    <a:lnTo>
                      <a:pt x="728" y="230"/>
                    </a:lnTo>
                    <a:lnTo>
                      <a:pt x="693" y="221"/>
                    </a:lnTo>
                    <a:lnTo>
                      <a:pt x="714" y="229"/>
                    </a:lnTo>
                    <a:lnTo>
                      <a:pt x="701" y="234"/>
                    </a:lnTo>
                    <a:lnTo>
                      <a:pt x="713" y="233"/>
                    </a:lnTo>
                    <a:lnTo>
                      <a:pt x="709" y="242"/>
                    </a:lnTo>
                    <a:lnTo>
                      <a:pt x="735" y="246"/>
                    </a:lnTo>
                    <a:lnTo>
                      <a:pt x="695" y="244"/>
                    </a:lnTo>
                    <a:lnTo>
                      <a:pt x="688" y="249"/>
                    </a:lnTo>
                    <a:lnTo>
                      <a:pt x="718" y="260"/>
                    </a:lnTo>
                    <a:lnTo>
                      <a:pt x="714" y="270"/>
                    </a:lnTo>
                    <a:lnTo>
                      <a:pt x="689" y="275"/>
                    </a:lnTo>
                    <a:lnTo>
                      <a:pt x="665" y="261"/>
                    </a:lnTo>
                    <a:lnTo>
                      <a:pt x="629" y="273"/>
                    </a:lnTo>
                    <a:lnTo>
                      <a:pt x="654" y="280"/>
                    </a:lnTo>
                    <a:lnTo>
                      <a:pt x="630" y="287"/>
                    </a:lnTo>
                    <a:lnTo>
                      <a:pt x="657" y="288"/>
                    </a:lnTo>
                    <a:lnTo>
                      <a:pt x="648" y="301"/>
                    </a:lnTo>
                    <a:lnTo>
                      <a:pt x="658" y="293"/>
                    </a:lnTo>
                    <a:lnTo>
                      <a:pt x="688" y="304"/>
                    </a:lnTo>
                    <a:lnTo>
                      <a:pt x="679" y="313"/>
                    </a:lnTo>
                    <a:lnTo>
                      <a:pt x="695" y="309"/>
                    </a:lnTo>
                    <a:lnTo>
                      <a:pt x="688" y="319"/>
                    </a:lnTo>
                    <a:lnTo>
                      <a:pt x="699" y="315"/>
                    </a:lnTo>
                    <a:lnTo>
                      <a:pt x="700" y="338"/>
                    </a:lnTo>
                    <a:lnTo>
                      <a:pt x="688" y="329"/>
                    </a:lnTo>
                    <a:lnTo>
                      <a:pt x="688" y="338"/>
                    </a:lnTo>
                    <a:lnTo>
                      <a:pt x="675" y="338"/>
                    </a:lnTo>
                    <a:lnTo>
                      <a:pt x="658" y="318"/>
                    </a:lnTo>
                    <a:lnTo>
                      <a:pt x="619" y="308"/>
                    </a:lnTo>
                    <a:lnTo>
                      <a:pt x="646" y="320"/>
                    </a:lnTo>
                    <a:lnTo>
                      <a:pt x="610" y="327"/>
                    </a:lnTo>
                    <a:lnTo>
                      <a:pt x="600" y="338"/>
                    </a:lnTo>
                    <a:lnTo>
                      <a:pt x="634" y="341"/>
                    </a:lnTo>
                    <a:lnTo>
                      <a:pt x="605" y="347"/>
                    </a:lnTo>
                    <a:lnTo>
                      <a:pt x="648" y="339"/>
                    </a:lnTo>
                    <a:lnTo>
                      <a:pt x="690" y="349"/>
                    </a:lnTo>
                    <a:lnTo>
                      <a:pt x="636" y="376"/>
                    </a:lnTo>
                    <a:lnTo>
                      <a:pt x="583" y="388"/>
                    </a:lnTo>
                    <a:lnTo>
                      <a:pt x="564" y="389"/>
                    </a:lnTo>
                    <a:lnTo>
                      <a:pt x="552" y="376"/>
                    </a:lnTo>
                    <a:lnTo>
                      <a:pt x="558" y="389"/>
                    </a:lnTo>
                    <a:lnTo>
                      <a:pt x="542" y="395"/>
                    </a:lnTo>
                    <a:lnTo>
                      <a:pt x="523" y="424"/>
                    </a:lnTo>
                    <a:lnTo>
                      <a:pt x="506" y="424"/>
                    </a:lnTo>
                    <a:lnTo>
                      <a:pt x="503" y="433"/>
                    </a:lnTo>
                    <a:lnTo>
                      <a:pt x="487" y="434"/>
                    </a:lnTo>
                    <a:lnTo>
                      <a:pt x="479" y="430"/>
                    </a:lnTo>
                    <a:lnTo>
                      <a:pt x="490" y="425"/>
                    </a:lnTo>
                    <a:lnTo>
                      <a:pt x="479" y="424"/>
                    </a:lnTo>
                    <a:lnTo>
                      <a:pt x="473" y="438"/>
                    </a:lnTo>
                    <a:lnTo>
                      <a:pt x="448" y="440"/>
                    </a:lnTo>
                    <a:lnTo>
                      <a:pt x="448" y="452"/>
                    </a:lnTo>
                    <a:lnTo>
                      <a:pt x="433" y="453"/>
                    </a:lnTo>
                    <a:lnTo>
                      <a:pt x="447" y="462"/>
                    </a:lnTo>
                    <a:lnTo>
                      <a:pt x="429" y="464"/>
                    </a:lnTo>
                    <a:lnTo>
                      <a:pt x="443" y="475"/>
                    </a:lnTo>
                    <a:lnTo>
                      <a:pt x="430" y="475"/>
                    </a:lnTo>
                    <a:lnTo>
                      <a:pt x="440" y="477"/>
                    </a:lnTo>
                    <a:lnTo>
                      <a:pt x="430" y="489"/>
                    </a:lnTo>
                    <a:lnTo>
                      <a:pt x="422" y="487"/>
                    </a:lnTo>
                    <a:lnTo>
                      <a:pt x="429" y="492"/>
                    </a:lnTo>
                    <a:lnTo>
                      <a:pt x="412" y="496"/>
                    </a:lnTo>
                    <a:lnTo>
                      <a:pt x="422" y="512"/>
                    </a:lnTo>
                    <a:lnTo>
                      <a:pt x="412" y="535"/>
                    </a:lnTo>
                    <a:lnTo>
                      <a:pt x="400" y="535"/>
                    </a:lnTo>
                    <a:lnTo>
                      <a:pt x="409" y="542"/>
                    </a:lnTo>
                    <a:lnTo>
                      <a:pt x="381" y="542"/>
                    </a:lnTo>
                    <a:lnTo>
                      <a:pt x="378" y="528"/>
                    </a:lnTo>
                    <a:lnTo>
                      <a:pt x="339" y="530"/>
                    </a:lnTo>
                    <a:lnTo>
                      <a:pt x="348" y="527"/>
                    </a:lnTo>
                    <a:lnTo>
                      <a:pt x="328" y="520"/>
                    </a:lnTo>
                    <a:lnTo>
                      <a:pt x="338" y="518"/>
                    </a:lnTo>
                    <a:lnTo>
                      <a:pt x="323" y="518"/>
                    </a:lnTo>
                    <a:lnTo>
                      <a:pt x="328" y="506"/>
                    </a:lnTo>
                    <a:lnTo>
                      <a:pt x="320" y="509"/>
                    </a:lnTo>
                    <a:lnTo>
                      <a:pt x="294" y="477"/>
                    </a:lnTo>
                    <a:lnTo>
                      <a:pt x="294" y="467"/>
                    </a:lnTo>
                    <a:lnTo>
                      <a:pt x="313" y="457"/>
                    </a:lnTo>
                    <a:lnTo>
                      <a:pt x="305" y="455"/>
                    </a:lnTo>
                    <a:lnTo>
                      <a:pt x="285" y="466"/>
                    </a:lnTo>
                    <a:lnTo>
                      <a:pt x="285" y="443"/>
                    </a:lnTo>
                    <a:lnTo>
                      <a:pt x="267" y="430"/>
                    </a:lnTo>
                    <a:lnTo>
                      <a:pt x="273" y="412"/>
                    </a:lnTo>
                    <a:lnTo>
                      <a:pt x="261" y="405"/>
                    </a:lnTo>
                    <a:lnTo>
                      <a:pt x="276" y="389"/>
                    </a:lnTo>
                    <a:lnTo>
                      <a:pt x="267" y="388"/>
                    </a:lnTo>
                    <a:lnTo>
                      <a:pt x="301" y="388"/>
                    </a:lnTo>
                    <a:lnTo>
                      <a:pt x="297" y="381"/>
                    </a:lnTo>
                    <a:lnTo>
                      <a:pt x="275" y="382"/>
                    </a:lnTo>
                    <a:lnTo>
                      <a:pt x="308" y="368"/>
                    </a:lnTo>
                    <a:lnTo>
                      <a:pt x="301" y="363"/>
                    </a:lnTo>
                    <a:lnTo>
                      <a:pt x="308" y="347"/>
                    </a:lnTo>
                    <a:lnTo>
                      <a:pt x="281" y="347"/>
                    </a:lnTo>
                    <a:lnTo>
                      <a:pt x="251" y="334"/>
                    </a:lnTo>
                    <a:lnTo>
                      <a:pt x="305" y="341"/>
                    </a:lnTo>
                    <a:lnTo>
                      <a:pt x="295" y="335"/>
                    </a:lnTo>
                    <a:lnTo>
                      <a:pt x="305" y="332"/>
                    </a:lnTo>
                    <a:lnTo>
                      <a:pt x="284" y="323"/>
                    </a:lnTo>
                    <a:lnTo>
                      <a:pt x="291" y="318"/>
                    </a:lnTo>
                    <a:lnTo>
                      <a:pt x="280" y="322"/>
                    </a:lnTo>
                    <a:lnTo>
                      <a:pt x="287" y="316"/>
                    </a:lnTo>
                    <a:lnTo>
                      <a:pt x="273" y="316"/>
                    </a:lnTo>
                    <a:lnTo>
                      <a:pt x="289" y="311"/>
                    </a:lnTo>
                    <a:lnTo>
                      <a:pt x="265" y="303"/>
                    </a:lnTo>
                    <a:lnTo>
                      <a:pt x="260" y="316"/>
                    </a:lnTo>
                    <a:lnTo>
                      <a:pt x="239" y="316"/>
                    </a:lnTo>
                    <a:lnTo>
                      <a:pt x="236" y="311"/>
                    </a:lnTo>
                    <a:lnTo>
                      <a:pt x="249" y="303"/>
                    </a:lnTo>
                    <a:lnTo>
                      <a:pt x="238" y="303"/>
                    </a:lnTo>
                    <a:lnTo>
                      <a:pt x="251" y="283"/>
                    </a:lnTo>
                    <a:lnTo>
                      <a:pt x="237" y="280"/>
                    </a:lnTo>
                    <a:lnTo>
                      <a:pt x="243" y="271"/>
                    </a:lnTo>
                    <a:lnTo>
                      <a:pt x="221" y="246"/>
                    </a:lnTo>
                    <a:lnTo>
                      <a:pt x="228" y="245"/>
                    </a:lnTo>
                    <a:lnTo>
                      <a:pt x="198" y="224"/>
                    </a:lnTo>
                    <a:lnTo>
                      <a:pt x="198" y="216"/>
                    </a:lnTo>
                    <a:lnTo>
                      <a:pt x="165" y="205"/>
                    </a:lnTo>
                    <a:lnTo>
                      <a:pt x="134" y="199"/>
                    </a:lnTo>
                    <a:lnTo>
                      <a:pt x="106" y="209"/>
                    </a:lnTo>
                    <a:lnTo>
                      <a:pt x="83" y="203"/>
                    </a:lnTo>
                    <a:lnTo>
                      <a:pt x="91" y="210"/>
                    </a:lnTo>
                    <a:lnTo>
                      <a:pt x="67" y="207"/>
                    </a:lnTo>
                    <a:lnTo>
                      <a:pt x="46" y="198"/>
                    </a:lnTo>
                    <a:lnTo>
                      <a:pt x="67" y="191"/>
                    </a:lnTo>
                    <a:lnTo>
                      <a:pt x="21" y="184"/>
                    </a:lnTo>
                    <a:lnTo>
                      <a:pt x="38" y="177"/>
                    </a:lnTo>
                    <a:lnTo>
                      <a:pt x="93" y="179"/>
                    </a:lnTo>
                    <a:lnTo>
                      <a:pt x="100" y="177"/>
                    </a:lnTo>
                    <a:lnTo>
                      <a:pt x="90" y="172"/>
                    </a:lnTo>
                    <a:lnTo>
                      <a:pt x="99" y="168"/>
                    </a:lnTo>
                    <a:lnTo>
                      <a:pt x="50" y="171"/>
                    </a:lnTo>
                    <a:lnTo>
                      <a:pt x="0" y="152"/>
                    </a:lnTo>
                    <a:lnTo>
                      <a:pt x="0" y="152"/>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231" name="Canada">
                <a:extLst>
                  <a:ext uri="{FF2B5EF4-FFF2-40B4-BE49-F238E27FC236}">
                    <a16:creationId xmlns:a16="http://schemas.microsoft.com/office/drawing/2014/main" id="{96102BD9-FCF3-BBC7-3010-67684E75FE01}"/>
                  </a:ext>
                </a:extLst>
              </p:cNvPr>
              <p:cNvGrpSpPr>
                <a:grpSpLocks noGrp="1" noUngrp="1" noRot="1" noMove="1" noResize="1"/>
              </p:cNvGrpSpPr>
              <p:nvPr/>
            </p:nvGrpSpPr>
            <p:grpSpPr>
              <a:xfrm>
                <a:off x="1248172" y="1598210"/>
                <a:ext cx="2191465" cy="1856309"/>
                <a:chOff x="1248172" y="1598210"/>
                <a:chExt cx="2191465" cy="1856309"/>
              </a:xfrm>
              <a:grpFill/>
            </p:grpSpPr>
            <p:sp>
              <p:nvSpPr>
                <p:cNvPr id="232" name="Canada">
                  <a:extLst>
                    <a:ext uri="{FF2B5EF4-FFF2-40B4-BE49-F238E27FC236}">
                      <a16:creationId xmlns:a16="http://schemas.microsoft.com/office/drawing/2014/main" id="{D7228FA4-736C-FC63-1875-9A87787606C4}"/>
                    </a:ext>
                  </a:extLst>
                </p:cNvPr>
                <p:cNvSpPr>
                  <a:spLocks noGrp="1" noRot="1" noMove="1" noResize="1" noEditPoints="1" noAdjustHandles="1" noChangeArrowheads="1" noChangeShapeType="1"/>
                </p:cNvSpPr>
                <p:nvPr/>
              </p:nvSpPr>
              <p:spPr bwMode="gray">
                <a:xfrm>
                  <a:off x="1562276" y="3152644"/>
                  <a:ext cx="127095" cy="78848"/>
                </a:xfrm>
                <a:custGeom>
                  <a:avLst/>
                  <a:gdLst/>
                  <a:ahLst/>
                  <a:cxnLst>
                    <a:cxn ang="0">
                      <a:pos x="0" y="0"/>
                    </a:cxn>
                    <a:cxn ang="0">
                      <a:pos x="0" y="0"/>
                    </a:cxn>
                    <a:cxn ang="0">
                      <a:pos x="37" y="6"/>
                    </a:cxn>
                    <a:cxn ang="0">
                      <a:pos x="69" y="34"/>
                    </a:cxn>
                    <a:cxn ang="0">
                      <a:pos x="50" y="29"/>
                    </a:cxn>
                    <a:cxn ang="0">
                      <a:pos x="0" y="0"/>
                    </a:cxn>
                    <a:cxn ang="0">
                      <a:pos x="0" y="0"/>
                    </a:cxn>
                  </a:cxnLst>
                  <a:rect l="0" t="0" r="r" b="b"/>
                  <a:pathLst>
                    <a:path w="70" h="35">
                      <a:moveTo>
                        <a:pt x="0" y="0"/>
                      </a:moveTo>
                      <a:lnTo>
                        <a:pt x="0" y="0"/>
                      </a:lnTo>
                      <a:lnTo>
                        <a:pt x="37" y="6"/>
                      </a:lnTo>
                      <a:lnTo>
                        <a:pt x="69" y="34"/>
                      </a:lnTo>
                      <a:lnTo>
                        <a:pt x="50" y="29"/>
                      </a:lnTo>
                      <a:lnTo>
                        <a:pt x="0" y="0"/>
                      </a:lnTo>
                      <a:lnTo>
                        <a:pt x="0" y="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3" name="Canada">
                  <a:extLst>
                    <a:ext uri="{FF2B5EF4-FFF2-40B4-BE49-F238E27FC236}">
                      <a16:creationId xmlns:a16="http://schemas.microsoft.com/office/drawing/2014/main" id="{3CBFC59A-3C23-76BF-FC32-4FF4839FFFC0}"/>
                    </a:ext>
                  </a:extLst>
                </p:cNvPr>
                <p:cNvSpPr>
                  <a:spLocks noGrp="1" noRot="1" noMove="1" noResize="1" noEditPoints="1" noAdjustHandles="1" noChangeArrowheads="1" noChangeShapeType="1"/>
                </p:cNvSpPr>
                <p:nvPr/>
              </p:nvSpPr>
              <p:spPr bwMode="gray">
                <a:xfrm>
                  <a:off x="1622192" y="2116354"/>
                  <a:ext cx="261451" cy="182477"/>
                </a:xfrm>
                <a:custGeom>
                  <a:avLst/>
                  <a:gdLst/>
                  <a:ahLst/>
                  <a:cxnLst>
                    <a:cxn ang="0">
                      <a:pos x="0" y="60"/>
                    </a:cxn>
                    <a:cxn ang="0">
                      <a:pos x="0" y="60"/>
                    </a:cxn>
                    <a:cxn ang="0">
                      <a:pos x="6" y="50"/>
                    </a:cxn>
                    <a:cxn ang="0">
                      <a:pos x="26" y="17"/>
                    </a:cxn>
                    <a:cxn ang="0">
                      <a:pos x="17" y="3"/>
                    </a:cxn>
                    <a:cxn ang="0">
                      <a:pos x="61" y="0"/>
                    </a:cxn>
                    <a:cxn ang="0">
                      <a:pos x="92" y="13"/>
                    </a:cxn>
                    <a:cxn ang="0">
                      <a:pos x="112" y="6"/>
                    </a:cxn>
                    <a:cxn ang="0">
                      <a:pos x="143" y="25"/>
                    </a:cxn>
                    <a:cxn ang="0">
                      <a:pos x="77" y="53"/>
                    </a:cxn>
                    <a:cxn ang="0">
                      <a:pos x="71" y="71"/>
                    </a:cxn>
                    <a:cxn ang="0">
                      <a:pos x="39" y="80"/>
                    </a:cxn>
                    <a:cxn ang="0">
                      <a:pos x="25" y="66"/>
                    </a:cxn>
                    <a:cxn ang="0">
                      <a:pos x="0" y="60"/>
                    </a:cxn>
                    <a:cxn ang="0">
                      <a:pos x="0" y="60"/>
                    </a:cxn>
                  </a:cxnLst>
                  <a:rect l="0" t="0" r="r" b="b"/>
                  <a:pathLst>
                    <a:path w="144" h="81">
                      <a:moveTo>
                        <a:pt x="0" y="60"/>
                      </a:moveTo>
                      <a:lnTo>
                        <a:pt x="0" y="60"/>
                      </a:lnTo>
                      <a:lnTo>
                        <a:pt x="6" y="50"/>
                      </a:lnTo>
                      <a:lnTo>
                        <a:pt x="26" y="17"/>
                      </a:lnTo>
                      <a:lnTo>
                        <a:pt x="17" y="3"/>
                      </a:lnTo>
                      <a:lnTo>
                        <a:pt x="61" y="0"/>
                      </a:lnTo>
                      <a:lnTo>
                        <a:pt x="92" y="13"/>
                      </a:lnTo>
                      <a:lnTo>
                        <a:pt x="112" y="6"/>
                      </a:lnTo>
                      <a:lnTo>
                        <a:pt x="143" y="25"/>
                      </a:lnTo>
                      <a:lnTo>
                        <a:pt x="77" y="53"/>
                      </a:lnTo>
                      <a:lnTo>
                        <a:pt x="71" y="71"/>
                      </a:lnTo>
                      <a:lnTo>
                        <a:pt x="39" y="80"/>
                      </a:lnTo>
                      <a:lnTo>
                        <a:pt x="25" y="66"/>
                      </a:lnTo>
                      <a:lnTo>
                        <a:pt x="0" y="60"/>
                      </a:lnTo>
                      <a:lnTo>
                        <a:pt x="0" y="6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4" name="Canada">
                  <a:extLst>
                    <a:ext uri="{FF2B5EF4-FFF2-40B4-BE49-F238E27FC236}">
                      <a16:creationId xmlns:a16="http://schemas.microsoft.com/office/drawing/2014/main" id="{4538178C-5B03-8591-7C12-CCF6D56ADB52}"/>
                    </a:ext>
                  </a:extLst>
                </p:cNvPr>
                <p:cNvSpPr>
                  <a:spLocks noGrp="1" noRot="1" noMove="1" noResize="1" noEditPoints="1" noAdjustHandles="1" noChangeArrowheads="1" noChangeShapeType="1"/>
                </p:cNvSpPr>
                <p:nvPr/>
              </p:nvSpPr>
              <p:spPr bwMode="gray">
                <a:xfrm>
                  <a:off x="1696632" y="1949647"/>
                  <a:ext cx="183378" cy="103629"/>
                </a:xfrm>
                <a:custGeom>
                  <a:avLst/>
                  <a:gdLst/>
                  <a:ahLst/>
                  <a:cxnLst>
                    <a:cxn ang="0">
                      <a:pos x="0" y="35"/>
                    </a:cxn>
                    <a:cxn ang="0">
                      <a:pos x="0" y="35"/>
                    </a:cxn>
                    <a:cxn ang="0">
                      <a:pos x="23" y="41"/>
                    </a:cxn>
                    <a:cxn ang="0">
                      <a:pos x="29" y="34"/>
                    </a:cxn>
                    <a:cxn ang="0">
                      <a:pos x="34" y="45"/>
                    </a:cxn>
                    <a:cxn ang="0">
                      <a:pos x="44" y="40"/>
                    </a:cxn>
                    <a:cxn ang="0">
                      <a:pos x="43" y="29"/>
                    </a:cxn>
                    <a:cxn ang="0">
                      <a:pos x="53" y="36"/>
                    </a:cxn>
                    <a:cxn ang="0">
                      <a:pos x="60" y="19"/>
                    </a:cxn>
                    <a:cxn ang="0">
                      <a:pos x="69" y="19"/>
                    </a:cxn>
                    <a:cxn ang="0">
                      <a:pos x="72" y="33"/>
                    </a:cxn>
                    <a:cxn ang="0">
                      <a:pos x="93" y="22"/>
                    </a:cxn>
                    <a:cxn ang="0">
                      <a:pos x="87" y="9"/>
                    </a:cxn>
                    <a:cxn ang="0">
                      <a:pos x="100" y="7"/>
                    </a:cxn>
                    <a:cxn ang="0">
                      <a:pos x="86" y="0"/>
                    </a:cxn>
                    <a:cxn ang="0">
                      <a:pos x="49" y="7"/>
                    </a:cxn>
                    <a:cxn ang="0">
                      <a:pos x="0" y="35"/>
                    </a:cxn>
                    <a:cxn ang="0">
                      <a:pos x="0" y="35"/>
                    </a:cxn>
                  </a:cxnLst>
                  <a:rect l="0" t="0" r="r" b="b"/>
                  <a:pathLst>
                    <a:path w="101" h="46">
                      <a:moveTo>
                        <a:pt x="0" y="35"/>
                      </a:moveTo>
                      <a:lnTo>
                        <a:pt x="0" y="35"/>
                      </a:lnTo>
                      <a:lnTo>
                        <a:pt x="23" y="41"/>
                      </a:lnTo>
                      <a:lnTo>
                        <a:pt x="29" y="34"/>
                      </a:lnTo>
                      <a:lnTo>
                        <a:pt x="34" y="45"/>
                      </a:lnTo>
                      <a:lnTo>
                        <a:pt x="44" y="40"/>
                      </a:lnTo>
                      <a:lnTo>
                        <a:pt x="43" y="29"/>
                      </a:lnTo>
                      <a:lnTo>
                        <a:pt x="53" y="36"/>
                      </a:lnTo>
                      <a:lnTo>
                        <a:pt x="60" y="19"/>
                      </a:lnTo>
                      <a:lnTo>
                        <a:pt x="69" y="19"/>
                      </a:lnTo>
                      <a:lnTo>
                        <a:pt x="72" y="33"/>
                      </a:lnTo>
                      <a:lnTo>
                        <a:pt x="93" y="22"/>
                      </a:lnTo>
                      <a:lnTo>
                        <a:pt x="87" y="9"/>
                      </a:lnTo>
                      <a:lnTo>
                        <a:pt x="100" y="7"/>
                      </a:lnTo>
                      <a:lnTo>
                        <a:pt x="86" y="0"/>
                      </a:lnTo>
                      <a:lnTo>
                        <a:pt x="49" y="7"/>
                      </a:lnTo>
                      <a:lnTo>
                        <a:pt x="0" y="35"/>
                      </a:lnTo>
                      <a:lnTo>
                        <a:pt x="0" y="3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5" name="Canada">
                  <a:extLst>
                    <a:ext uri="{FF2B5EF4-FFF2-40B4-BE49-F238E27FC236}">
                      <a16:creationId xmlns:a16="http://schemas.microsoft.com/office/drawing/2014/main" id="{875E6E70-88F1-6A8E-9539-4F66D99B4D0C}"/>
                    </a:ext>
                  </a:extLst>
                </p:cNvPr>
                <p:cNvSpPr>
                  <a:spLocks noGrp="1" noRot="1" noMove="1" noResize="1" noEditPoints="1" noAdjustHandles="1" noChangeArrowheads="1" noChangeShapeType="1"/>
                </p:cNvSpPr>
                <p:nvPr/>
              </p:nvSpPr>
              <p:spPr bwMode="gray">
                <a:xfrm>
                  <a:off x="1792861" y="2179433"/>
                  <a:ext cx="448460" cy="247808"/>
                </a:xfrm>
                <a:custGeom>
                  <a:avLst/>
                  <a:gdLst/>
                  <a:ahLst/>
                  <a:cxnLst>
                    <a:cxn ang="0">
                      <a:pos x="0" y="35"/>
                    </a:cxn>
                    <a:cxn ang="0">
                      <a:pos x="0" y="35"/>
                    </a:cxn>
                    <a:cxn ang="0">
                      <a:pos x="13" y="27"/>
                    </a:cxn>
                    <a:cxn ang="0">
                      <a:pos x="7" y="22"/>
                    </a:cxn>
                    <a:cxn ang="0">
                      <a:pos x="36" y="6"/>
                    </a:cxn>
                    <a:cxn ang="0">
                      <a:pos x="60" y="0"/>
                    </a:cxn>
                    <a:cxn ang="0">
                      <a:pos x="68" y="11"/>
                    </a:cxn>
                    <a:cxn ang="0">
                      <a:pos x="59" y="18"/>
                    </a:cxn>
                    <a:cxn ang="0">
                      <a:pos x="81" y="9"/>
                    </a:cxn>
                    <a:cxn ang="0">
                      <a:pos x="106" y="17"/>
                    </a:cxn>
                    <a:cxn ang="0">
                      <a:pos x="97" y="25"/>
                    </a:cxn>
                    <a:cxn ang="0">
                      <a:pos x="125" y="19"/>
                    </a:cxn>
                    <a:cxn ang="0">
                      <a:pos x="117" y="10"/>
                    </a:cxn>
                    <a:cxn ang="0">
                      <a:pos x="128" y="11"/>
                    </a:cxn>
                    <a:cxn ang="0">
                      <a:pos x="150" y="40"/>
                    </a:cxn>
                    <a:cxn ang="0">
                      <a:pos x="158" y="33"/>
                    </a:cxn>
                    <a:cxn ang="0">
                      <a:pos x="149" y="1"/>
                    </a:cxn>
                    <a:cxn ang="0">
                      <a:pos x="167" y="2"/>
                    </a:cxn>
                    <a:cxn ang="0">
                      <a:pos x="186" y="13"/>
                    </a:cxn>
                    <a:cxn ang="0">
                      <a:pos x="197" y="53"/>
                    </a:cxn>
                    <a:cxn ang="0">
                      <a:pos x="246" y="72"/>
                    </a:cxn>
                    <a:cxn ang="0">
                      <a:pos x="246" y="83"/>
                    </a:cxn>
                    <a:cxn ang="0">
                      <a:pos x="232" y="78"/>
                    </a:cxn>
                    <a:cxn ang="0">
                      <a:pos x="218" y="85"/>
                    </a:cxn>
                    <a:cxn ang="0">
                      <a:pos x="238" y="94"/>
                    </a:cxn>
                    <a:cxn ang="0">
                      <a:pos x="219" y="103"/>
                    </a:cxn>
                    <a:cxn ang="0">
                      <a:pos x="188" y="99"/>
                    </a:cxn>
                    <a:cxn ang="0">
                      <a:pos x="169" y="87"/>
                    </a:cxn>
                    <a:cxn ang="0">
                      <a:pos x="129" y="105"/>
                    </a:cxn>
                    <a:cxn ang="0">
                      <a:pos x="79" y="109"/>
                    </a:cxn>
                    <a:cxn ang="0">
                      <a:pos x="68" y="92"/>
                    </a:cxn>
                    <a:cxn ang="0">
                      <a:pos x="40" y="91"/>
                    </a:cxn>
                    <a:cxn ang="0">
                      <a:pos x="22" y="76"/>
                    </a:cxn>
                    <a:cxn ang="0">
                      <a:pos x="94" y="67"/>
                    </a:cxn>
                    <a:cxn ang="0">
                      <a:pos x="20" y="63"/>
                    </a:cxn>
                    <a:cxn ang="0">
                      <a:pos x="10" y="54"/>
                    </a:cxn>
                    <a:cxn ang="0">
                      <a:pos x="48" y="43"/>
                    </a:cxn>
                    <a:cxn ang="0">
                      <a:pos x="13" y="45"/>
                    </a:cxn>
                    <a:cxn ang="0">
                      <a:pos x="16" y="40"/>
                    </a:cxn>
                    <a:cxn ang="0">
                      <a:pos x="0" y="35"/>
                    </a:cxn>
                    <a:cxn ang="0">
                      <a:pos x="0" y="35"/>
                    </a:cxn>
                  </a:cxnLst>
                  <a:rect l="0" t="0" r="r" b="b"/>
                  <a:pathLst>
                    <a:path w="247" h="110">
                      <a:moveTo>
                        <a:pt x="0" y="35"/>
                      </a:moveTo>
                      <a:lnTo>
                        <a:pt x="0" y="35"/>
                      </a:lnTo>
                      <a:lnTo>
                        <a:pt x="13" y="27"/>
                      </a:lnTo>
                      <a:lnTo>
                        <a:pt x="7" y="22"/>
                      </a:lnTo>
                      <a:lnTo>
                        <a:pt x="36" y="6"/>
                      </a:lnTo>
                      <a:lnTo>
                        <a:pt x="60" y="0"/>
                      </a:lnTo>
                      <a:lnTo>
                        <a:pt x="68" y="11"/>
                      </a:lnTo>
                      <a:lnTo>
                        <a:pt x="59" y="18"/>
                      </a:lnTo>
                      <a:lnTo>
                        <a:pt x="81" y="9"/>
                      </a:lnTo>
                      <a:lnTo>
                        <a:pt x="106" y="17"/>
                      </a:lnTo>
                      <a:lnTo>
                        <a:pt x="97" y="25"/>
                      </a:lnTo>
                      <a:lnTo>
                        <a:pt x="125" y="19"/>
                      </a:lnTo>
                      <a:lnTo>
                        <a:pt x="117" y="10"/>
                      </a:lnTo>
                      <a:lnTo>
                        <a:pt x="128" y="11"/>
                      </a:lnTo>
                      <a:lnTo>
                        <a:pt x="150" y="40"/>
                      </a:lnTo>
                      <a:lnTo>
                        <a:pt x="158" y="33"/>
                      </a:lnTo>
                      <a:lnTo>
                        <a:pt x="149" y="1"/>
                      </a:lnTo>
                      <a:lnTo>
                        <a:pt x="167" y="2"/>
                      </a:lnTo>
                      <a:lnTo>
                        <a:pt x="186" y="13"/>
                      </a:lnTo>
                      <a:lnTo>
                        <a:pt x="197" y="53"/>
                      </a:lnTo>
                      <a:lnTo>
                        <a:pt x="246" y="72"/>
                      </a:lnTo>
                      <a:lnTo>
                        <a:pt x="246" y="83"/>
                      </a:lnTo>
                      <a:lnTo>
                        <a:pt x="232" y="78"/>
                      </a:lnTo>
                      <a:lnTo>
                        <a:pt x="218" y="85"/>
                      </a:lnTo>
                      <a:lnTo>
                        <a:pt x="238" y="94"/>
                      </a:lnTo>
                      <a:lnTo>
                        <a:pt x="219" y="103"/>
                      </a:lnTo>
                      <a:lnTo>
                        <a:pt x="188" y="99"/>
                      </a:lnTo>
                      <a:lnTo>
                        <a:pt x="169" y="87"/>
                      </a:lnTo>
                      <a:lnTo>
                        <a:pt x="129" y="105"/>
                      </a:lnTo>
                      <a:lnTo>
                        <a:pt x="79" y="109"/>
                      </a:lnTo>
                      <a:lnTo>
                        <a:pt x="68" y="92"/>
                      </a:lnTo>
                      <a:lnTo>
                        <a:pt x="40" y="91"/>
                      </a:lnTo>
                      <a:lnTo>
                        <a:pt x="22" y="76"/>
                      </a:lnTo>
                      <a:lnTo>
                        <a:pt x="94" y="67"/>
                      </a:lnTo>
                      <a:lnTo>
                        <a:pt x="20" y="63"/>
                      </a:lnTo>
                      <a:lnTo>
                        <a:pt x="10" y="54"/>
                      </a:lnTo>
                      <a:lnTo>
                        <a:pt x="48" y="43"/>
                      </a:lnTo>
                      <a:lnTo>
                        <a:pt x="13" y="45"/>
                      </a:lnTo>
                      <a:lnTo>
                        <a:pt x="16" y="40"/>
                      </a:lnTo>
                      <a:lnTo>
                        <a:pt x="0" y="35"/>
                      </a:lnTo>
                      <a:lnTo>
                        <a:pt x="0" y="3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6" name="Canada">
                  <a:extLst>
                    <a:ext uri="{FF2B5EF4-FFF2-40B4-BE49-F238E27FC236}">
                      <a16:creationId xmlns:a16="http://schemas.microsoft.com/office/drawing/2014/main" id="{8561C747-DB18-9845-0B4E-8CFAD8867518}"/>
                    </a:ext>
                  </a:extLst>
                </p:cNvPr>
                <p:cNvSpPr>
                  <a:spLocks noGrp="1" noRot="1" noMove="1" noResize="1" noEditPoints="1" noAdjustHandles="1" noChangeArrowheads="1" noChangeShapeType="1"/>
                </p:cNvSpPr>
                <p:nvPr/>
              </p:nvSpPr>
              <p:spPr bwMode="gray">
                <a:xfrm>
                  <a:off x="1825543" y="1987945"/>
                  <a:ext cx="305026" cy="137421"/>
                </a:xfrm>
                <a:custGeom>
                  <a:avLst/>
                  <a:gdLst/>
                  <a:ahLst/>
                  <a:cxnLst>
                    <a:cxn ang="0">
                      <a:pos x="0" y="39"/>
                    </a:cxn>
                    <a:cxn ang="0">
                      <a:pos x="0" y="39"/>
                    </a:cxn>
                    <a:cxn ang="0">
                      <a:pos x="7" y="35"/>
                    </a:cxn>
                    <a:cxn ang="0">
                      <a:pos x="35" y="29"/>
                    </a:cxn>
                    <a:cxn ang="0">
                      <a:pos x="7" y="30"/>
                    </a:cxn>
                    <a:cxn ang="0">
                      <a:pos x="40" y="24"/>
                    </a:cxn>
                    <a:cxn ang="0">
                      <a:pos x="13" y="24"/>
                    </a:cxn>
                    <a:cxn ang="0">
                      <a:pos x="15" y="18"/>
                    </a:cxn>
                    <a:cxn ang="0">
                      <a:pos x="41" y="18"/>
                    </a:cxn>
                    <a:cxn ang="0">
                      <a:pos x="23" y="15"/>
                    </a:cxn>
                    <a:cxn ang="0">
                      <a:pos x="37" y="10"/>
                    </a:cxn>
                    <a:cxn ang="0">
                      <a:pos x="71" y="18"/>
                    </a:cxn>
                    <a:cxn ang="0">
                      <a:pos x="88" y="32"/>
                    </a:cxn>
                    <a:cxn ang="0">
                      <a:pos x="119" y="33"/>
                    </a:cxn>
                    <a:cxn ang="0">
                      <a:pos x="107" y="24"/>
                    </a:cxn>
                    <a:cxn ang="0">
                      <a:pos x="114" y="18"/>
                    </a:cxn>
                    <a:cxn ang="0">
                      <a:pos x="100" y="11"/>
                    </a:cxn>
                    <a:cxn ang="0">
                      <a:pos x="122" y="0"/>
                    </a:cxn>
                    <a:cxn ang="0">
                      <a:pos x="131" y="13"/>
                    </a:cxn>
                    <a:cxn ang="0">
                      <a:pos x="125" y="19"/>
                    </a:cxn>
                    <a:cxn ang="0">
                      <a:pos x="137" y="21"/>
                    </a:cxn>
                    <a:cxn ang="0">
                      <a:pos x="132" y="28"/>
                    </a:cxn>
                    <a:cxn ang="0">
                      <a:pos x="148" y="30"/>
                    </a:cxn>
                    <a:cxn ang="0">
                      <a:pos x="156" y="21"/>
                    </a:cxn>
                    <a:cxn ang="0">
                      <a:pos x="167" y="31"/>
                    </a:cxn>
                    <a:cxn ang="0">
                      <a:pos x="159" y="45"/>
                    </a:cxn>
                    <a:cxn ang="0">
                      <a:pos x="123" y="44"/>
                    </a:cxn>
                    <a:cxn ang="0">
                      <a:pos x="68" y="60"/>
                    </a:cxn>
                    <a:cxn ang="0">
                      <a:pos x="45" y="51"/>
                    </a:cxn>
                    <a:cxn ang="0">
                      <a:pos x="92" y="38"/>
                    </a:cxn>
                    <a:cxn ang="0">
                      <a:pos x="52" y="47"/>
                    </a:cxn>
                    <a:cxn ang="0">
                      <a:pos x="59" y="35"/>
                    </a:cxn>
                    <a:cxn ang="0">
                      <a:pos x="39" y="47"/>
                    </a:cxn>
                    <a:cxn ang="0">
                      <a:pos x="15" y="44"/>
                    </a:cxn>
                    <a:cxn ang="0">
                      <a:pos x="0" y="39"/>
                    </a:cxn>
                    <a:cxn ang="0">
                      <a:pos x="0" y="39"/>
                    </a:cxn>
                  </a:cxnLst>
                  <a:rect l="0" t="0" r="r" b="b"/>
                  <a:pathLst>
                    <a:path w="168" h="61">
                      <a:moveTo>
                        <a:pt x="0" y="39"/>
                      </a:moveTo>
                      <a:lnTo>
                        <a:pt x="0" y="39"/>
                      </a:lnTo>
                      <a:lnTo>
                        <a:pt x="7" y="35"/>
                      </a:lnTo>
                      <a:lnTo>
                        <a:pt x="35" y="29"/>
                      </a:lnTo>
                      <a:lnTo>
                        <a:pt x="7" y="30"/>
                      </a:lnTo>
                      <a:lnTo>
                        <a:pt x="40" y="24"/>
                      </a:lnTo>
                      <a:lnTo>
                        <a:pt x="13" y="24"/>
                      </a:lnTo>
                      <a:lnTo>
                        <a:pt x="15" y="18"/>
                      </a:lnTo>
                      <a:lnTo>
                        <a:pt x="41" y="18"/>
                      </a:lnTo>
                      <a:lnTo>
                        <a:pt x="23" y="15"/>
                      </a:lnTo>
                      <a:lnTo>
                        <a:pt x="37" y="10"/>
                      </a:lnTo>
                      <a:lnTo>
                        <a:pt x="71" y="18"/>
                      </a:lnTo>
                      <a:lnTo>
                        <a:pt x="88" y="32"/>
                      </a:lnTo>
                      <a:lnTo>
                        <a:pt x="119" y="33"/>
                      </a:lnTo>
                      <a:lnTo>
                        <a:pt x="107" y="24"/>
                      </a:lnTo>
                      <a:lnTo>
                        <a:pt x="114" y="18"/>
                      </a:lnTo>
                      <a:lnTo>
                        <a:pt x="100" y="11"/>
                      </a:lnTo>
                      <a:lnTo>
                        <a:pt x="122" y="0"/>
                      </a:lnTo>
                      <a:lnTo>
                        <a:pt x="131" y="13"/>
                      </a:lnTo>
                      <a:lnTo>
                        <a:pt x="125" y="19"/>
                      </a:lnTo>
                      <a:lnTo>
                        <a:pt x="137" y="21"/>
                      </a:lnTo>
                      <a:lnTo>
                        <a:pt x="132" y="28"/>
                      </a:lnTo>
                      <a:lnTo>
                        <a:pt x="148" y="30"/>
                      </a:lnTo>
                      <a:lnTo>
                        <a:pt x="156" y="21"/>
                      </a:lnTo>
                      <a:lnTo>
                        <a:pt x="167" y="31"/>
                      </a:lnTo>
                      <a:lnTo>
                        <a:pt x="159" y="45"/>
                      </a:lnTo>
                      <a:lnTo>
                        <a:pt x="123" y="44"/>
                      </a:lnTo>
                      <a:lnTo>
                        <a:pt x="68" y="60"/>
                      </a:lnTo>
                      <a:lnTo>
                        <a:pt x="45" y="51"/>
                      </a:lnTo>
                      <a:lnTo>
                        <a:pt x="92" y="38"/>
                      </a:lnTo>
                      <a:lnTo>
                        <a:pt x="52" y="47"/>
                      </a:lnTo>
                      <a:lnTo>
                        <a:pt x="59" y="35"/>
                      </a:lnTo>
                      <a:lnTo>
                        <a:pt x="39" y="47"/>
                      </a:lnTo>
                      <a:lnTo>
                        <a:pt x="15" y="44"/>
                      </a:lnTo>
                      <a:lnTo>
                        <a:pt x="0" y="39"/>
                      </a:lnTo>
                      <a:lnTo>
                        <a:pt x="0" y="39"/>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7" name="Canada">
                  <a:extLst>
                    <a:ext uri="{FF2B5EF4-FFF2-40B4-BE49-F238E27FC236}">
                      <a16:creationId xmlns:a16="http://schemas.microsoft.com/office/drawing/2014/main" id="{DAAB7C1C-70A5-1D25-B302-88DF6614E1F5}"/>
                    </a:ext>
                  </a:extLst>
                </p:cNvPr>
                <p:cNvSpPr>
                  <a:spLocks noGrp="1" noRot="1" noMove="1" noResize="1" noEditPoints="1" noAdjustHandles="1" noChangeArrowheads="1" noChangeShapeType="1"/>
                </p:cNvSpPr>
                <p:nvPr/>
              </p:nvSpPr>
              <p:spPr bwMode="gray">
                <a:xfrm>
                  <a:off x="2128753" y="1848271"/>
                  <a:ext cx="157960" cy="85607"/>
                </a:xfrm>
                <a:custGeom>
                  <a:avLst/>
                  <a:gdLst/>
                  <a:ahLst/>
                  <a:cxnLst>
                    <a:cxn ang="0">
                      <a:pos x="0" y="0"/>
                    </a:cxn>
                    <a:cxn ang="0">
                      <a:pos x="0" y="0"/>
                    </a:cxn>
                    <a:cxn ang="0">
                      <a:pos x="7" y="12"/>
                    </a:cxn>
                    <a:cxn ang="0">
                      <a:pos x="28" y="12"/>
                    </a:cxn>
                    <a:cxn ang="0">
                      <a:pos x="21" y="16"/>
                    </a:cxn>
                    <a:cxn ang="0">
                      <a:pos x="26" y="20"/>
                    </a:cxn>
                    <a:cxn ang="0">
                      <a:pos x="7" y="22"/>
                    </a:cxn>
                    <a:cxn ang="0">
                      <a:pos x="38" y="27"/>
                    </a:cxn>
                    <a:cxn ang="0">
                      <a:pos x="86" y="37"/>
                    </a:cxn>
                    <a:cxn ang="0">
                      <a:pos x="79" y="16"/>
                    </a:cxn>
                    <a:cxn ang="0">
                      <a:pos x="44" y="3"/>
                    </a:cxn>
                    <a:cxn ang="0">
                      <a:pos x="33" y="8"/>
                    </a:cxn>
                    <a:cxn ang="0">
                      <a:pos x="29" y="0"/>
                    </a:cxn>
                    <a:cxn ang="0">
                      <a:pos x="0" y="0"/>
                    </a:cxn>
                    <a:cxn ang="0">
                      <a:pos x="0" y="0"/>
                    </a:cxn>
                  </a:cxnLst>
                  <a:rect l="0" t="0" r="r" b="b"/>
                  <a:pathLst>
                    <a:path w="87" h="38">
                      <a:moveTo>
                        <a:pt x="0" y="0"/>
                      </a:moveTo>
                      <a:lnTo>
                        <a:pt x="0" y="0"/>
                      </a:lnTo>
                      <a:lnTo>
                        <a:pt x="7" y="12"/>
                      </a:lnTo>
                      <a:lnTo>
                        <a:pt x="28" y="12"/>
                      </a:lnTo>
                      <a:lnTo>
                        <a:pt x="21" y="16"/>
                      </a:lnTo>
                      <a:lnTo>
                        <a:pt x="26" y="20"/>
                      </a:lnTo>
                      <a:lnTo>
                        <a:pt x="7" y="22"/>
                      </a:lnTo>
                      <a:lnTo>
                        <a:pt x="38" y="27"/>
                      </a:lnTo>
                      <a:lnTo>
                        <a:pt x="86" y="37"/>
                      </a:lnTo>
                      <a:lnTo>
                        <a:pt x="79" y="16"/>
                      </a:lnTo>
                      <a:lnTo>
                        <a:pt x="44" y="3"/>
                      </a:lnTo>
                      <a:lnTo>
                        <a:pt x="33" y="8"/>
                      </a:lnTo>
                      <a:lnTo>
                        <a:pt x="29" y="0"/>
                      </a:lnTo>
                      <a:lnTo>
                        <a:pt x="0" y="0"/>
                      </a:lnTo>
                      <a:lnTo>
                        <a:pt x="0" y="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8" name="Canada">
                  <a:extLst>
                    <a:ext uri="{FF2B5EF4-FFF2-40B4-BE49-F238E27FC236}">
                      <a16:creationId xmlns:a16="http://schemas.microsoft.com/office/drawing/2014/main" id="{444B7479-CAC7-E458-4FF5-686BBC258AC3}"/>
                    </a:ext>
                  </a:extLst>
                </p:cNvPr>
                <p:cNvSpPr>
                  <a:spLocks noGrp="1" noRot="1" noMove="1" noResize="1" noEditPoints="1" noAdjustHandles="1" noChangeArrowheads="1" noChangeShapeType="1"/>
                </p:cNvSpPr>
                <p:nvPr/>
              </p:nvSpPr>
              <p:spPr bwMode="gray">
                <a:xfrm>
                  <a:off x="2201377" y="2008220"/>
                  <a:ext cx="127095" cy="87860"/>
                </a:xfrm>
                <a:custGeom>
                  <a:avLst/>
                  <a:gdLst/>
                  <a:ahLst/>
                  <a:cxnLst>
                    <a:cxn ang="0">
                      <a:pos x="0" y="24"/>
                    </a:cxn>
                    <a:cxn ang="0">
                      <a:pos x="0" y="24"/>
                    </a:cxn>
                    <a:cxn ang="0">
                      <a:pos x="7" y="15"/>
                    </a:cxn>
                    <a:cxn ang="0">
                      <a:pos x="21" y="17"/>
                    </a:cxn>
                    <a:cxn ang="0">
                      <a:pos x="4" y="8"/>
                    </a:cxn>
                    <a:cxn ang="0">
                      <a:pos x="8" y="2"/>
                    </a:cxn>
                    <a:cxn ang="0">
                      <a:pos x="36" y="14"/>
                    </a:cxn>
                    <a:cxn ang="0">
                      <a:pos x="20" y="1"/>
                    </a:cxn>
                    <a:cxn ang="0">
                      <a:pos x="62" y="0"/>
                    </a:cxn>
                    <a:cxn ang="0">
                      <a:pos x="69" y="28"/>
                    </a:cxn>
                    <a:cxn ang="0">
                      <a:pos x="61" y="23"/>
                    </a:cxn>
                    <a:cxn ang="0">
                      <a:pos x="60" y="38"/>
                    </a:cxn>
                    <a:cxn ang="0">
                      <a:pos x="26" y="36"/>
                    </a:cxn>
                    <a:cxn ang="0">
                      <a:pos x="33" y="31"/>
                    </a:cxn>
                    <a:cxn ang="0">
                      <a:pos x="24" y="26"/>
                    </a:cxn>
                    <a:cxn ang="0">
                      <a:pos x="48" y="19"/>
                    </a:cxn>
                    <a:cxn ang="0">
                      <a:pos x="0" y="24"/>
                    </a:cxn>
                    <a:cxn ang="0">
                      <a:pos x="0" y="24"/>
                    </a:cxn>
                  </a:cxnLst>
                  <a:rect l="0" t="0" r="r" b="b"/>
                  <a:pathLst>
                    <a:path w="70" h="39">
                      <a:moveTo>
                        <a:pt x="0" y="24"/>
                      </a:moveTo>
                      <a:lnTo>
                        <a:pt x="0" y="24"/>
                      </a:lnTo>
                      <a:lnTo>
                        <a:pt x="7" y="15"/>
                      </a:lnTo>
                      <a:lnTo>
                        <a:pt x="21" y="17"/>
                      </a:lnTo>
                      <a:lnTo>
                        <a:pt x="4" y="8"/>
                      </a:lnTo>
                      <a:lnTo>
                        <a:pt x="8" y="2"/>
                      </a:lnTo>
                      <a:lnTo>
                        <a:pt x="36" y="14"/>
                      </a:lnTo>
                      <a:lnTo>
                        <a:pt x="20" y="1"/>
                      </a:lnTo>
                      <a:lnTo>
                        <a:pt x="62" y="0"/>
                      </a:lnTo>
                      <a:lnTo>
                        <a:pt x="69" y="28"/>
                      </a:lnTo>
                      <a:lnTo>
                        <a:pt x="61" y="23"/>
                      </a:lnTo>
                      <a:lnTo>
                        <a:pt x="60" y="38"/>
                      </a:lnTo>
                      <a:lnTo>
                        <a:pt x="26" y="36"/>
                      </a:lnTo>
                      <a:lnTo>
                        <a:pt x="33" y="31"/>
                      </a:lnTo>
                      <a:lnTo>
                        <a:pt x="24" y="26"/>
                      </a:lnTo>
                      <a:lnTo>
                        <a:pt x="48" y="19"/>
                      </a:lnTo>
                      <a:lnTo>
                        <a:pt x="0" y="24"/>
                      </a:lnTo>
                      <a:lnTo>
                        <a:pt x="0" y="24"/>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9" name="Canada">
                  <a:extLst>
                    <a:ext uri="{FF2B5EF4-FFF2-40B4-BE49-F238E27FC236}">
                      <a16:creationId xmlns:a16="http://schemas.microsoft.com/office/drawing/2014/main" id="{CB9487BC-A9ED-0A42-5340-2A9698AA35A8}"/>
                    </a:ext>
                  </a:extLst>
                </p:cNvPr>
                <p:cNvSpPr>
                  <a:spLocks noGrp="1" noRot="1" noMove="1" noResize="1" noEditPoints="1" noAdjustHandles="1" noChangeArrowheads="1" noChangeShapeType="1"/>
                </p:cNvSpPr>
                <p:nvPr/>
              </p:nvSpPr>
              <p:spPr bwMode="gray">
                <a:xfrm>
                  <a:off x="2205009" y="2154652"/>
                  <a:ext cx="148882" cy="132915"/>
                </a:xfrm>
                <a:custGeom>
                  <a:avLst/>
                  <a:gdLst/>
                  <a:ahLst/>
                  <a:cxnLst>
                    <a:cxn ang="0">
                      <a:pos x="0" y="29"/>
                    </a:cxn>
                    <a:cxn ang="0">
                      <a:pos x="0" y="29"/>
                    </a:cxn>
                    <a:cxn ang="0">
                      <a:pos x="3" y="21"/>
                    </a:cxn>
                    <a:cxn ang="0">
                      <a:pos x="30" y="26"/>
                    </a:cxn>
                    <a:cxn ang="0">
                      <a:pos x="27" y="17"/>
                    </a:cxn>
                    <a:cxn ang="0">
                      <a:pos x="34" y="17"/>
                    </a:cxn>
                    <a:cxn ang="0">
                      <a:pos x="16" y="12"/>
                    </a:cxn>
                    <a:cxn ang="0">
                      <a:pos x="24" y="10"/>
                    </a:cxn>
                    <a:cxn ang="0">
                      <a:pos x="16" y="4"/>
                    </a:cxn>
                    <a:cxn ang="0">
                      <a:pos x="68" y="0"/>
                    </a:cxn>
                    <a:cxn ang="0">
                      <a:pos x="70" y="12"/>
                    </a:cxn>
                    <a:cxn ang="0">
                      <a:pos x="54" y="23"/>
                    </a:cxn>
                    <a:cxn ang="0">
                      <a:pos x="78" y="26"/>
                    </a:cxn>
                    <a:cxn ang="0">
                      <a:pos x="81" y="47"/>
                    </a:cxn>
                    <a:cxn ang="0">
                      <a:pos x="46" y="58"/>
                    </a:cxn>
                    <a:cxn ang="0">
                      <a:pos x="30" y="42"/>
                    </a:cxn>
                    <a:cxn ang="0">
                      <a:pos x="0" y="29"/>
                    </a:cxn>
                    <a:cxn ang="0">
                      <a:pos x="0" y="29"/>
                    </a:cxn>
                  </a:cxnLst>
                  <a:rect l="0" t="0" r="r" b="b"/>
                  <a:pathLst>
                    <a:path w="82" h="59">
                      <a:moveTo>
                        <a:pt x="0" y="29"/>
                      </a:moveTo>
                      <a:lnTo>
                        <a:pt x="0" y="29"/>
                      </a:lnTo>
                      <a:lnTo>
                        <a:pt x="3" y="21"/>
                      </a:lnTo>
                      <a:lnTo>
                        <a:pt x="30" y="26"/>
                      </a:lnTo>
                      <a:lnTo>
                        <a:pt x="27" y="17"/>
                      </a:lnTo>
                      <a:lnTo>
                        <a:pt x="34" y="17"/>
                      </a:lnTo>
                      <a:lnTo>
                        <a:pt x="16" y="12"/>
                      </a:lnTo>
                      <a:lnTo>
                        <a:pt x="24" y="10"/>
                      </a:lnTo>
                      <a:lnTo>
                        <a:pt x="16" y="4"/>
                      </a:lnTo>
                      <a:lnTo>
                        <a:pt x="68" y="0"/>
                      </a:lnTo>
                      <a:lnTo>
                        <a:pt x="70" y="12"/>
                      </a:lnTo>
                      <a:lnTo>
                        <a:pt x="54" y="23"/>
                      </a:lnTo>
                      <a:lnTo>
                        <a:pt x="78" y="26"/>
                      </a:lnTo>
                      <a:lnTo>
                        <a:pt x="81" y="47"/>
                      </a:lnTo>
                      <a:lnTo>
                        <a:pt x="46" y="58"/>
                      </a:lnTo>
                      <a:lnTo>
                        <a:pt x="30" y="42"/>
                      </a:lnTo>
                      <a:lnTo>
                        <a:pt x="0" y="29"/>
                      </a:lnTo>
                      <a:lnTo>
                        <a:pt x="0" y="29"/>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0" name="Canada">
                  <a:extLst>
                    <a:ext uri="{FF2B5EF4-FFF2-40B4-BE49-F238E27FC236}">
                      <a16:creationId xmlns:a16="http://schemas.microsoft.com/office/drawing/2014/main" id="{8F40BE2C-E2F9-B0DB-529E-5BC3330AF9FF}"/>
                    </a:ext>
                  </a:extLst>
                </p:cNvPr>
                <p:cNvSpPr>
                  <a:spLocks noGrp="1" noRot="1" noMove="1" noResize="1" noEditPoints="1" noAdjustHandles="1" noChangeArrowheads="1" noChangeShapeType="1"/>
                </p:cNvSpPr>
                <p:nvPr/>
              </p:nvSpPr>
              <p:spPr bwMode="gray">
                <a:xfrm>
                  <a:off x="2306684" y="1868546"/>
                  <a:ext cx="90781" cy="69837"/>
                </a:xfrm>
                <a:custGeom>
                  <a:avLst/>
                  <a:gdLst/>
                  <a:ahLst/>
                  <a:cxnLst>
                    <a:cxn ang="0">
                      <a:pos x="0" y="0"/>
                    </a:cxn>
                    <a:cxn ang="0">
                      <a:pos x="0" y="0"/>
                    </a:cxn>
                    <a:cxn ang="0">
                      <a:pos x="6" y="18"/>
                    </a:cxn>
                    <a:cxn ang="0">
                      <a:pos x="21" y="19"/>
                    </a:cxn>
                    <a:cxn ang="0">
                      <a:pos x="8" y="22"/>
                    </a:cxn>
                    <a:cxn ang="0">
                      <a:pos x="14" y="30"/>
                    </a:cxn>
                    <a:cxn ang="0">
                      <a:pos x="45" y="26"/>
                    </a:cxn>
                    <a:cxn ang="0">
                      <a:pos x="49" y="16"/>
                    </a:cxn>
                    <a:cxn ang="0">
                      <a:pos x="0" y="0"/>
                    </a:cxn>
                    <a:cxn ang="0">
                      <a:pos x="0" y="0"/>
                    </a:cxn>
                  </a:cxnLst>
                  <a:rect l="0" t="0" r="r" b="b"/>
                  <a:pathLst>
                    <a:path w="50" h="31">
                      <a:moveTo>
                        <a:pt x="0" y="0"/>
                      </a:moveTo>
                      <a:lnTo>
                        <a:pt x="0" y="0"/>
                      </a:lnTo>
                      <a:lnTo>
                        <a:pt x="6" y="18"/>
                      </a:lnTo>
                      <a:lnTo>
                        <a:pt x="21" y="19"/>
                      </a:lnTo>
                      <a:lnTo>
                        <a:pt x="8" y="22"/>
                      </a:lnTo>
                      <a:lnTo>
                        <a:pt x="14" y="30"/>
                      </a:lnTo>
                      <a:lnTo>
                        <a:pt x="45" y="26"/>
                      </a:lnTo>
                      <a:lnTo>
                        <a:pt x="49" y="16"/>
                      </a:lnTo>
                      <a:lnTo>
                        <a:pt x="0" y="0"/>
                      </a:lnTo>
                      <a:lnTo>
                        <a:pt x="0" y="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1" name="Canada">
                  <a:extLst>
                    <a:ext uri="{FF2B5EF4-FFF2-40B4-BE49-F238E27FC236}">
                      <a16:creationId xmlns:a16="http://schemas.microsoft.com/office/drawing/2014/main" id="{6614BB82-76E4-6687-1CC4-65D67DCCD7B5}"/>
                    </a:ext>
                  </a:extLst>
                </p:cNvPr>
                <p:cNvSpPr>
                  <a:spLocks noGrp="1" noRot="1" noMove="1" noResize="1" noEditPoints="1" noAdjustHandles="1" noChangeArrowheads="1" noChangeShapeType="1"/>
                </p:cNvSpPr>
                <p:nvPr/>
              </p:nvSpPr>
              <p:spPr bwMode="gray">
                <a:xfrm>
                  <a:off x="2339366" y="1972175"/>
                  <a:ext cx="428489" cy="153191"/>
                </a:xfrm>
                <a:custGeom>
                  <a:avLst/>
                  <a:gdLst/>
                  <a:ahLst/>
                  <a:cxnLst>
                    <a:cxn ang="0">
                      <a:pos x="0" y="11"/>
                    </a:cxn>
                    <a:cxn ang="0">
                      <a:pos x="0" y="11"/>
                    </a:cxn>
                    <a:cxn ang="0">
                      <a:pos x="14" y="0"/>
                    </a:cxn>
                    <a:cxn ang="0">
                      <a:pos x="35" y="6"/>
                    </a:cxn>
                    <a:cxn ang="0">
                      <a:pos x="49" y="11"/>
                    </a:cxn>
                    <a:cxn ang="0">
                      <a:pos x="45" y="18"/>
                    </a:cxn>
                    <a:cxn ang="0">
                      <a:pos x="72" y="12"/>
                    </a:cxn>
                    <a:cxn ang="0">
                      <a:pos x="89" y="18"/>
                    </a:cxn>
                    <a:cxn ang="0">
                      <a:pos x="75" y="18"/>
                    </a:cxn>
                    <a:cxn ang="0">
                      <a:pos x="104" y="24"/>
                    </a:cxn>
                    <a:cxn ang="0">
                      <a:pos x="72" y="26"/>
                    </a:cxn>
                    <a:cxn ang="0">
                      <a:pos x="89" y="30"/>
                    </a:cxn>
                    <a:cxn ang="0">
                      <a:pos x="76" y="36"/>
                    </a:cxn>
                    <a:cxn ang="0">
                      <a:pos x="93" y="31"/>
                    </a:cxn>
                    <a:cxn ang="0">
                      <a:pos x="107" y="44"/>
                    </a:cxn>
                    <a:cxn ang="0">
                      <a:pos x="111" y="38"/>
                    </a:cxn>
                    <a:cxn ang="0">
                      <a:pos x="154" y="44"/>
                    </a:cxn>
                    <a:cxn ang="0">
                      <a:pos x="198" y="31"/>
                    </a:cxn>
                    <a:cxn ang="0">
                      <a:pos x="235" y="46"/>
                    </a:cxn>
                    <a:cxn ang="0">
                      <a:pos x="223" y="54"/>
                    </a:cxn>
                    <a:cxn ang="0">
                      <a:pos x="227" y="64"/>
                    </a:cxn>
                    <a:cxn ang="0">
                      <a:pos x="206" y="67"/>
                    </a:cxn>
                    <a:cxn ang="0">
                      <a:pos x="182" y="56"/>
                    </a:cxn>
                    <a:cxn ang="0">
                      <a:pos x="182" y="64"/>
                    </a:cxn>
                    <a:cxn ang="0">
                      <a:pos x="169" y="66"/>
                    </a:cxn>
                    <a:cxn ang="0">
                      <a:pos x="116" y="67"/>
                    </a:cxn>
                    <a:cxn ang="0">
                      <a:pos x="111" y="58"/>
                    </a:cxn>
                    <a:cxn ang="0">
                      <a:pos x="98" y="66"/>
                    </a:cxn>
                    <a:cxn ang="0">
                      <a:pos x="81" y="58"/>
                    </a:cxn>
                    <a:cxn ang="0">
                      <a:pos x="71" y="63"/>
                    </a:cxn>
                    <a:cxn ang="0">
                      <a:pos x="50" y="20"/>
                    </a:cxn>
                    <a:cxn ang="0">
                      <a:pos x="26" y="25"/>
                    </a:cxn>
                    <a:cxn ang="0">
                      <a:pos x="0" y="11"/>
                    </a:cxn>
                    <a:cxn ang="0">
                      <a:pos x="0" y="11"/>
                    </a:cxn>
                  </a:cxnLst>
                  <a:rect l="0" t="0" r="r" b="b"/>
                  <a:pathLst>
                    <a:path w="236" h="68">
                      <a:moveTo>
                        <a:pt x="0" y="11"/>
                      </a:moveTo>
                      <a:lnTo>
                        <a:pt x="0" y="11"/>
                      </a:lnTo>
                      <a:lnTo>
                        <a:pt x="14" y="0"/>
                      </a:lnTo>
                      <a:lnTo>
                        <a:pt x="35" y="6"/>
                      </a:lnTo>
                      <a:lnTo>
                        <a:pt x="49" y="11"/>
                      </a:lnTo>
                      <a:lnTo>
                        <a:pt x="45" y="18"/>
                      </a:lnTo>
                      <a:lnTo>
                        <a:pt x="72" y="12"/>
                      </a:lnTo>
                      <a:lnTo>
                        <a:pt x="89" y="18"/>
                      </a:lnTo>
                      <a:lnTo>
                        <a:pt x="75" y="18"/>
                      </a:lnTo>
                      <a:lnTo>
                        <a:pt x="104" y="24"/>
                      </a:lnTo>
                      <a:lnTo>
                        <a:pt x="72" y="26"/>
                      </a:lnTo>
                      <a:lnTo>
                        <a:pt x="89" y="30"/>
                      </a:lnTo>
                      <a:lnTo>
                        <a:pt x="76" y="36"/>
                      </a:lnTo>
                      <a:lnTo>
                        <a:pt x="93" y="31"/>
                      </a:lnTo>
                      <a:lnTo>
                        <a:pt x="107" y="44"/>
                      </a:lnTo>
                      <a:lnTo>
                        <a:pt x="111" y="38"/>
                      </a:lnTo>
                      <a:lnTo>
                        <a:pt x="154" y="44"/>
                      </a:lnTo>
                      <a:lnTo>
                        <a:pt x="198" y="31"/>
                      </a:lnTo>
                      <a:lnTo>
                        <a:pt x="235" y="46"/>
                      </a:lnTo>
                      <a:lnTo>
                        <a:pt x="223" y="54"/>
                      </a:lnTo>
                      <a:lnTo>
                        <a:pt x="227" y="64"/>
                      </a:lnTo>
                      <a:lnTo>
                        <a:pt x="206" y="67"/>
                      </a:lnTo>
                      <a:lnTo>
                        <a:pt x="182" y="56"/>
                      </a:lnTo>
                      <a:lnTo>
                        <a:pt x="182" y="64"/>
                      </a:lnTo>
                      <a:lnTo>
                        <a:pt x="169" y="66"/>
                      </a:lnTo>
                      <a:lnTo>
                        <a:pt x="116" y="67"/>
                      </a:lnTo>
                      <a:lnTo>
                        <a:pt x="111" y="58"/>
                      </a:lnTo>
                      <a:lnTo>
                        <a:pt x="98" y="66"/>
                      </a:lnTo>
                      <a:lnTo>
                        <a:pt x="81" y="58"/>
                      </a:lnTo>
                      <a:lnTo>
                        <a:pt x="71" y="63"/>
                      </a:lnTo>
                      <a:lnTo>
                        <a:pt x="50" y="20"/>
                      </a:lnTo>
                      <a:lnTo>
                        <a:pt x="26" y="25"/>
                      </a:lnTo>
                      <a:lnTo>
                        <a:pt x="0" y="11"/>
                      </a:lnTo>
                      <a:lnTo>
                        <a:pt x="0" y="11"/>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2" name="Canada">
                  <a:extLst>
                    <a:ext uri="{FF2B5EF4-FFF2-40B4-BE49-F238E27FC236}">
                      <a16:creationId xmlns:a16="http://schemas.microsoft.com/office/drawing/2014/main" id="{20CF7D0A-E72F-ED64-8938-B548903414C2}"/>
                    </a:ext>
                  </a:extLst>
                </p:cNvPr>
                <p:cNvSpPr>
                  <a:spLocks noGrp="1" noRot="1" noMove="1" noResize="1" noEditPoints="1" noAdjustHandles="1" noChangeArrowheads="1" noChangeShapeType="1"/>
                </p:cNvSpPr>
                <p:nvPr/>
              </p:nvSpPr>
              <p:spPr bwMode="gray">
                <a:xfrm>
                  <a:off x="2355706" y="1717609"/>
                  <a:ext cx="281422" cy="200499"/>
                </a:xfrm>
                <a:custGeom>
                  <a:avLst/>
                  <a:gdLst/>
                  <a:ahLst/>
                  <a:cxnLst>
                    <a:cxn ang="0">
                      <a:pos x="0" y="27"/>
                    </a:cxn>
                    <a:cxn ang="0">
                      <a:pos x="0" y="27"/>
                    </a:cxn>
                    <a:cxn ang="0">
                      <a:pos x="37" y="22"/>
                    </a:cxn>
                    <a:cxn ang="0">
                      <a:pos x="18" y="10"/>
                    </a:cxn>
                    <a:cxn ang="0">
                      <a:pos x="50" y="4"/>
                    </a:cxn>
                    <a:cxn ang="0">
                      <a:pos x="25" y="0"/>
                    </a:cxn>
                    <a:cxn ang="0">
                      <a:pos x="66" y="6"/>
                    </a:cxn>
                    <a:cxn ang="0">
                      <a:pos x="77" y="22"/>
                    </a:cxn>
                    <a:cxn ang="0">
                      <a:pos x="99" y="23"/>
                    </a:cxn>
                    <a:cxn ang="0">
                      <a:pos x="107" y="35"/>
                    </a:cxn>
                    <a:cxn ang="0">
                      <a:pos x="108" y="27"/>
                    </a:cxn>
                    <a:cxn ang="0">
                      <a:pos x="119" y="27"/>
                    </a:cxn>
                    <a:cxn ang="0">
                      <a:pos x="115" y="35"/>
                    </a:cxn>
                    <a:cxn ang="0">
                      <a:pos x="126" y="40"/>
                    </a:cxn>
                    <a:cxn ang="0">
                      <a:pos x="119" y="48"/>
                    </a:cxn>
                    <a:cxn ang="0">
                      <a:pos x="143" y="48"/>
                    </a:cxn>
                    <a:cxn ang="0">
                      <a:pos x="154" y="59"/>
                    </a:cxn>
                    <a:cxn ang="0">
                      <a:pos x="125" y="63"/>
                    </a:cxn>
                    <a:cxn ang="0">
                      <a:pos x="117" y="74"/>
                    </a:cxn>
                    <a:cxn ang="0">
                      <a:pos x="111" y="63"/>
                    </a:cxn>
                    <a:cxn ang="0">
                      <a:pos x="103" y="88"/>
                    </a:cxn>
                    <a:cxn ang="0">
                      <a:pos x="85" y="75"/>
                    </a:cxn>
                    <a:cxn ang="0">
                      <a:pos x="94" y="88"/>
                    </a:cxn>
                    <a:cxn ang="0">
                      <a:pos x="58" y="86"/>
                    </a:cxn>
                    <a:cxn ang="0">
                      <a:pos x="47" y="79"/>
                    </a:cxn>
                    <a:cxn ang="0">
                      <a:pos x="64" y="78"/>
                    </a:cxn>
                    <a:cxn ang="0">
                      <a:pos x="46" y="76"/>
                    </a:cxn>
                    <a:cxn ang="0">
                      <a:pos x="41" y="72"/>
                    </a:cxn>
                    <a:cxn ang="0">
                      <a:pos x="50" y="71"/>
                    </a:cxn>
                    <a:cxn ang="0">
                      <a:pos x="35" y="66"/>
                    </a:cxn>
                    <a:cxn ang="0">
                      <a:pos x="84" y="58"/>
                    </a:cxn>
                    <a:cxn ang="0">
                      <a:pos x="25" y="59"/>
                    </a:cxn>
                    <a:cxn ang="0">
                      <a:pos x="14" y="50"/>
                    </a:cxn>
                    <a:cxn ang="0">
                      <a:pos x="35" y="47"/>
                    </a:cxn>
                    <a:cxn ang="0">
                      <a:pos x="3" y="40"/>
                    </a:cxn>
                    <a:cxn ang="0">
                      <a:pos x="10" y="40"/>
                    </a:cxn>
                    <a:cxn ang="0">
                      <a:pos x="1" y="34"/>
                    </a:cxn>
                    <a:cxn ang="0">
                      <a:pos x="37" y="34"/>
                    </a:cxn>
                    <a:cxn ang="0">
                      <a:pos x="0" y="27"/>
                    </a:cxn>
                    <a:cxn ang="0">
                      <a:pos x="0" y="27"/>
                    </a:cxn>
                  </a:cxnLst>
                  <a:rect l="0" t="0" r="r" b="b"/>
                  <a:pathLst>
                    <a:path w="155" h="89">
                      <a:moveTo>
                        <a:pt x="0" y="27"/>
                      </a:moveTo>
                      <a:lnTo>
                        <a:pt x="0" y="27"/>
                      </a:lnTo>
                      <a:lnTo>
                        <a:pt x="37" y="22"/>
                      </a:lnTo>
                      <a:lnTo>
                        <a:pt x="18" y="10"/>
                      </a:lnTo>
                      <a:lnTo>
                        <a:pt x="50" y="4"/>
                      </a:lnTo>
                      <a:lnTo>
                        <a:pt x="25" y="0"/>
                      </a:lnTo>
                      <a:lnTo>
                        <a:pt x="66" y="6"/>
                      </a:lnTo>
                      <a:lnTo>
                        <a:pt x="77" y="22"/>
                      </a:lnTo>
                      <a:lnTo>
                        <a:pt x="99" y="23"/>
                      </a:lnTo>
                      <a:lnTo>
                        <a:pt x="107" y="35"/>
                      </a:lnTo>
                      <a:lnTo>
                        <a:pt x="108" y="27"/>
                      </a:lnTo>
                      <a:lnTo>
                        <a:pt x="119" y="27"/>
                      </a:lnTo>
                      <a:lnTo>
                        <a:pt x="115" y="35"/>
                      </a:lnTo>
                      <a:lnTo>
                        <a:pt x="126" y="40"/>
                      </a:lnTo>
                      <a:lnTo>
                        <a:pt x="119" y="48"/>
                      </a:lnTo>
                      <a:lnTo>
                        <a:pt x="143" y="48"/>
                      </a:lnTo>
                      <a:lnTo>
                        <a:pt x="154" y="59"/>
                      </a:lnTo>
                      <a:lnTo>
                        <a:pt x="125" y="63"/>
                      </a:lnTo>
                      <a:lnTo>
                        <a:pt x="117" y="74"/>
                      </a:lnTo>
                      <a:lnTo>
                        <a:pt x="111" y="63"/>
                      </a:lnTo>
                      <a:lnTo>
                        <a:pt x="103" y="88"/>
                      </a:lnTo>
                      <a:lnTo>
                        <a:pt x="85" y="75"/>
                      </a:lnTo>
                      <a:lnTo>
                        <a:pt x="94" y="88"/>
                      </a:lnTo>
                      <a:lnTo>
                        <a:pt x="58" y="86"/>
                      </a:lnTo>
                      <a:lnTo>
                        <a:pt x="47" y="79"/>
                      </a:lnTo>
                      <a:lnTo>
                        <a:pt x="64" y="78"/>
                      </a:lnTo>
                      <a:lnTo>
                        <a:pt x="46" y="76"/>
                      </a:lnTo>
                      <a:lnTo>
                        <a:pt x="41" y="72"/>
                      </a:lnTo>
                      <a:lnTo>
                        <a:pt x="50" y="71"/>
                      </a:lnTo>
                      <a:lnTo>
                        <a:pt x="35" y="66"/>
                      </a:lnTo>
                      <a:lnTo>
                        <a:pt x="84" y="58"/>
                      </a:lnTo>
                      <a:lnTo>
                        <a:pt x="25" y="59"/>
                      </a:lnTo>
                      <a:lnTo>
                        <a:pt x="14" y="50"/>
                      </a:lnTo>
                      <a:lnTo>
                        <a:pt x="35" y="47"/>
                      </a:lnTo>
                      <a:lnTo>
                        <a:pt x="3" y="40"/>
                      </a:lnTo>
                      <a:lnTo>
                        <a:pt x="10" y="40"/>
                      </a:lnTo>
                      <a:lnTo>
                        <a:pt x="1" y="34"/>
                      </a:lnTo>
                      <a:lnTo>
                        <a:pt x="37" y="34"/>
                      </a:lnTo>
                      <a:lnTo>
                        <a:pt x="0" y="27"/>
                      </a:lnTo>
                      <a:lnTo>
                        <a:pt x="0" y="27"/>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3" name="Canada">
                  <a:extLst>
                    <a:ext uri="{FF2B5EF4-FFF2-40B4-BE49-F238E27FC236}">
                      <a16:creationId xmlns:a16="http://schemas.microsoft.com/office/drawing/2014/main" id="{0C4DFE5B-4EE4-9C56-AAA6-F0215D0B4975}"/>
                    </a:ext>
                  </a:extLst>
                </p:cNvPr>
                <p:cNvSpPr>
                  <a:spLocks noGrp="1" noRot="1" noMove="1" noResize="1" noEditPoints="1" noAdjustHandles="1" noChangeArrowheads="1" noChangeShapeType="1"/>
                </p:cNvSpPr>
                <p:nvPr/>
              </p:nvSpPr>
              <p:spPr bwMode="gray">
                <a:xfrm>
                  <a:off x="2355706" y="2060035"/>
                  <a:ext cx="68994" cy="54067"/>
                </a:xfrm>
                <a:custGeom>
                  <a:avLst/>
                  <a:gdLst/>
                  <a:ahLst/>
                  <a:cxnLst>
                    <a:cxn ang="0">
                      <a:pos x="0" y="16"/>
                    </a:cxn>
                    <a:cxn ang="0">
                      <a:pos x="0" y="16"/>
                    </a:cxn>
                    <a:cxn ang="0">
                      <a:pos x="7" y="0"/>
                    </a:cxn>
                    <a:cxn ang="0">
                      <a:pos x="31" y="5"/>
                    </a:cxn>
                    <a:cxn ang="0">
                      <a:pos x="37" y="23"/>
                    </a:cxn>
                    <a:cxn ang="0">
                      <a:pos x="0" y="16"/>
                    </a:cxn>
                    <a:cxn ang="0">
                      <a:pos x="0" y="16"/>
                    </a:cxn>
                  </a:cxnLst>
                  <a:rect l="0" t="0" r="r" b="b"/>
                  <a:pathLst>
                    <a:path w="38" h="24">
                      <a:moveTo>
                        <a:pt x="0" y="16"/>
                      </a:moveTo>
                      <a:lnTo>
                        <a:pt x="0" y="16"/>
                      </a:lnTo>
                      <a:lnTo>
                        <a:pt x="7" y="0"/>
                      </a:lnTo>
                      <a:lnTo>
                        <a:pt x="31" y="5"/>
                      </a:lnTo>
                      <a:lnTo>
                        <a:pt x="37" y="23"/>
                      </a:lnTo>
                      <a:lnTo>
                        <a:pt x="0" y="16"/>
                      </a:lnTo>
                      <a:lnTo>
                        <a:pt x="0" y="16"/>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4" name="Canada">
                  <a:extLst>
                    <a:ext uri="{FF2B5EF4-FFF2-40B4-BE49-F238E27FC236}">
                      <a16:creationId xmlns:a16="http://schemas.microsoft.com/office/drawing/2014/main" id="{C5541DE5-5248-6C90-6995-0696A1666892}"/>
                    </a:ext>
                  </a:extLst>
                </p:cNvPr>
                <p:cNvSpPr>
                  <a:spLocks noGrp="1" noRot="1" noMove="1" noResize="1" noEditPoints="1" noAdjustHandles="1" noChangeArrowheads="1" noChangeShapeType="1"/>
                </p:cNvSpPr>
                <p:nvPr/>
              </p:nvSpPr>
              <p:spPr bwMode="gray">
                <a:xfrm>
                  <a:off x="2357521" y="1936130"/>
                  <a:ext cx="78073" cy="22528"/>
                </a:xfrm>
                <a:custGeom>
                  <a:avLst/>
                  <a:gdLst/>
                  <a:ahLst/>
                  <a:cxnLst>
                    <a:cxn ang="0">
                      <a:pos x="0" y="4"/>
                    </a:cxn>
                    <a:cxn ang="0">
                      <a:pos x="0" y="4"/>
                    </a:cxn>
                    <a:cxn ang="0">
                      <a:pos x="9" y="9"/>
                    </a:cxn>
                    <a:cxn ang="0">
                      <a:pos x="42" y="4"/>
                    </a:cxn>
                    <a:cxn ang="0">
                      <a:pos x="11" y="0"/>
                    </a:cxn>
                    <a:cxn ang="0">
                      <a:pos x="0" y="4"/>
                    </a:cxn>
                    <a:cxn ang="0">
                      <a:pos x="0" y="4"/>
                    </a:cxn>
                  </a:cxnLst>
                  <a:rect l="0" t="0" r="r" b="b"/>
                  <a:pathLst>
                    <a:path w="43" h="10">
                      <a:moveTo>
                        <a:pt x="0" y="4"/>
                      </a:moveTo>
                      <a:lnTo>
                        <a:pt x="0" y="4"/>
                      </a:lnTo>
                      <a:lnTo>
                        <a:pt x="9" y="9"/>
                      </a:lnTo>
                      <a:lnTo>
                        <a:pt x="42" y="4"/>
                      </a:lnTo>
                      <a:lnTo>
                        <a:pt x="11" y="0"/>
                      </a:lnTo>
                      <a:lnTo>
                        <a:pt x="0" y="4"/>
                      </a:lnTo>
                      <a:lnTo>
                        <a:pt x="0" y="4"/>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5" name="Canada">
                  <a:extLst>
                    <a:ext uri="{FF2B5EF4-FFF2-40B4-BE49-F238E27FC236}">
                      <a16:creationId xmlns:a16="http://schemas.microsoft.com/office/drawing/2014/main" id="{B4F35948-BCE2-989F-2121-A1806F41C7A5}"/>
                    </a:ext>
                  </a:extLst>
                </p:cNvPr>
                <p:cNvSpPr>
                  <a:spLocks noGrp="1" noRot="1" noMove="1" noResize="1" noEditPoints="1" noAdjustHandles="1" noChangeArrowheads="1" noChangeShapeType="1"/>
                </p:cNvSpPr>
                <p:nvPr/>
              </p:nvSpPr>
              <p:spPr bwMode="gray">
                <a:xfrm>
                  <a:off x="2370231" y="2145641"/>
                  <a:ext cx="134356" cy="108135"/>
                </a:xfrm>
                <a:custGeom>
                  <a:avLst/>
                  <a:gdLst/>
                  <a:ahLst/>
                  <a:cxnLst>
                    <a:cxn ang="0">
                      <a:pos x="0" y="8"/>
                    </a:cxn>
                    <a:cxn ang="0">
                      <a:pos x="0" y="8"/>
                    </a:cxn>
                    <a:cxn ang="0">
                      <a:pos x="2" y="30"/>
                    </a:cxn>
                    <a:cxn ang="0">
                      <a:pos x="10" y="34"/>
                    </a:cxn>
                    <a:cxn ang="0">
                      <a:pos x="7" y="46"/>
                    </a:cxn>
                    <a:cxn ang="0">
                      <a:pos x="18" y="47"/>
                    </a:cxn>
                    <a:cxn ang="0">
                      <a:pos x="30" y="37"/>
                    </a:cxn>
                    <a:cxn ang="0">
                      <a:pos x="18" y="30"/>
                    </a:cxn>
                    <a:cxn ang="0">
                      <a:pos x="48" y="30"/>
                    </a:cxn>
                    <a:cxn ang="0">
                      <a:pos x="73" y="4"/>
                    </a:cxn>
                    <a:cxn ang="0">
                      <a:pos x="6" y="0"/>
                    </a:cxn>
                    <a:cxn ang="0">
                      <a:pos x="15" y="9"/>
                    </a:cxn>
                    <a:cxn ang="0">
                      <a:pos x="0" y="8"/>
                    </a:cxn>
                    <a:cxn ang="0">
                      <a:pos x="0" y="8"/>
                    </a:cxn>
                  </a:cxnLst>
                  <a:rect l="0" t="0" r="r" b="b"/>
                  <a:pathLst>
                    <a:path w="74" h="48">
                      <a:moveTo>
                        <a:pt x="0" y="8"/>
                      </a:moveTo>
                      <a:lnTo>
                        <a:pt x="0" y="8"/>
                      </a:lnTo>
                      <a:lnTo>
                        <a:pt x="2" y="30"/>
                      </a:lnTo>
                      <a:lnTo>
                        <a:pt x="10" y="34"/>
                      </a:lnTo>
                      <a:lnTo>
                        <a:pt x="7" y="46"/>
                      </a:lnTo>
                      <a:lnTo>
                        <a:pt x="18" y="47"/>
                      </a:lnTo>
                      <a:lnTo>
                        <a:pt x="30" y="37"/>
                      </a:lnTo>
                      <a:lnTo>
                        <a:pt x="18" y="30"/>
                      </a:lnTo>
                      <a:lnTo>
                        <a:pt x="48" y="30"/>
                      </a:lnTo>
                      <a:lnTo>
                        <a:pt x="73" y="4"/>
                      </a:lnTo>
                      <a:lnTo>
                        <a:pt x="6" y="0"/>
                      </a:lnTo>
                      <a:lnTo>
                        <a:pt x="15" y="9"/>
                      </a:lnTo>
                      <a:lnTo>
                        <a:pt x="0" y="8"/>
                      </a:lnTo>
                      <a:lnTo>
                        <a:pt x="0" y="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6" name="Canada">
                  <a:extLst>
                    <a:ext uri="{FF2B5EF4-FFF2-40B4-BE49-F238E27FC236}">
                      <a16:creationId xmlns:a16="http://schemas.microsoft.com/office/drawing/2014/main" id="{9972CF0B-985B-EE5A-4105-84D4E5FC5DA0}"/>
                    </a:ext>
                  </a:extLst>
                </p:cNvPr>
                <p:cNvSpPr>
                  <a:spLocks noGrp="1" noRot="1" noMove="1" noResize="1" noEditPoints="1" noAdjustHandles="1" noChangeArrowheads="1" noChangeShapeType="1"/>
                </p:cNvSpPr>
                <p:nvPr/>
              </p:nvSpPr>
              <p:spPr bwMode="gray">
                <a:xfrm>
                  <a:off x="2461012" y="1598210"/>
                  <a:ext cx="762564" cy="434791"/>
                </a:xfrm>
                <a:custGeom>
                  <a:avLst/>
                  <a:gdLst/>
                  <a:ahLst/>
                  <a:cxnLst>
                    <a:cxn ang="0">
                      <a:pos x="37" y="46"/>
                    </a:cxn>
                    <a:cxn ang="0">
                      <a:pos x="31" y="53"/>
                    </a:cxn>
                    <a:cxn ang="0">
                      <a:pos x="36" y="62"/>
                    </a:cxn>
                    <a:cxn ang="0">
                      <a:pos x="66" y="75"/>
                    </a:cxn>
                    <a:cxn ang="0">
                      <a:pos x="89" y="64"/>
                    </a:cxn>
                    <a:cxn ang="0">
                      <a:pos x="135" y="65"/>
                    </a:cxn>
                    <a:cxn ang="0">
                      <a:pos x="166" y="67"/>
                    </a:cxn>
                    <a:cxn ang="0">
                      <a:pos x="171" y="66"/>
                    </a:cxn>
                    <a:cxn ang="0">
                      <a:pos x="142" y="100"/>
                    </a:cxn>
                    <a:cxn ang="0">
                      <a:pos x="110" y="84"/>
                    </a:cxn>
                    <a:cxn ang="0">
                      <a:pos x="90" y="93"/>
                    </a:cxn>
                    <a:cxn ang="0">
                      <a:pos x="100" y="118"/>
                    </a:cxn>
                    <a:cxn ang="0">
                      <a:pos x="131" y="130"/>
                    </a:cxn>
                    <a:cxn ang="0">
                      <a:pos x="62" y="141"/>
                    </a:cxn>
                    <a:cxn ang="0">
                      <a:pos x="88" y="142"/>
                    </a:cxn>
                    <a:cxn ang="0">
                      <a:pos x="109" y="141"/>
                    </a:cxn>
                    <a:cxn ang="0">
                      <a:pos x="88" y="150"/>
                    </a:cxn>
                    <a:cxn ang="0">
                      <a:pos x="131" y="143"/>
                    </a:cxn>
                    <a:cxn ang="0">
                      <a:pos x="50" y="151"/>
                    </a:cxn>
                    <a:cxn ang="0">
                      <a:pos x="39" y="185"/>
                    </a:cxn>
                    <a:cxn ang="0">
                      <a:pos x="72" y="182"/>
                    </a:cxn>
                    <a:cxn ang="0">
                      <a:pos x="92" y="182"/>
                    </a:cxn>
                    <a:cxn ang="0">
                      <a:pos x="126" y="185"/>
                    </a:cxn>
                    <a:cxn ang="0">
                      <a:pos x="148" y="184"/>
                    </a:cxn>
                    <a:cxn ang="0">
                      <a:pos x="191" y="173"/>
                    </a:cxn>
                    <a:cxn ang="0">
                      <a:pos x="135" y="165"/>
                    </a:cxn>
                    <a:cxn ang="0">
                      <a:pos x="188" y="146"/>
                    </a:cxn>
                    <a:cxn ang="0">
                      <a:pos x="204" y="139"/>
                    </a:cxn>
                    <a:cxn ang="0">
                      <a:pos x="235" y="128"/>
                    </a:cxn>
                    <a:cxn ang="0">
                      <a:pos x="216" y="116"/>
                    </a:cxn>
                    <a:cxn ang="0">
                      <a:pos x="237" y="112"/>
                    </a:cxn>
                    <a:cxn ang="0">
                      <a:pos x="234" y="97"/>
                    </a:cxn>
                    <a:cxn ang="0">
                      <a:pos x="268" y="88"/>
                    </a:cxn>
                    <a:cxn ang="0">
                      <a:pos x="305" y="81"/>
                    </a:cxn>
                    <a:cxn ang="0">
                      <a:pos x="341" y="47"/>
                    </a:cxn>
                    <a:cxn ang="0">
                      <a:pos x="357" y="46"/>
                    </a:cxn>
                    <a:cxn ang="0">
                      <a:pos x="392" y="21"/>
                    </a:cxn>
                    <a:cxn ang="0">
                      <a:pos x="345" y="6"/>
                    </a:cxn>
                    <a:cxn ang="0">
                      <a:pos x="248" y="10"/>
                    </a:cxn>
                    <a:cxn ang="0">
                      <a:pos x="219" y="17"/>
                    </a:cxn>
                    <a:cxn ang="0">
                      <a:pos x="154" y="6"/>
                    </a:cxn>
                    <a:cxn ang="0">
                      <a:pos x="146" y="19"/>
                    </a:cxn>
                    <a:cxn ang="0">
                      <a:pos x="117" y="21"/>
                    </a:cxn>
                    <a:cxn ang="0">
                      <a:pos x="65" y="30"/>
                    </a:cxn>
                    <a:cxn ang="0">
                      <a:pos x="0" y="46"/>
                    </a:cxn>
                  </a:cxnLst>
                  <a:rect l="0" t="0" r="r" b="b"/>
                  <a:pathLst>
                    <a:path w="420" h="193">
                      <a:moveTo>
                        <a:pt x="0" y="46"/>
                      </a:moveTo>
                      <a:lnTo>
                        <a:pt x="0" y="46"/>
                      </a:lnTo>
                      <a:lnTo>
                        <a:pt x="37" y="46"/>
                      </a:lnTo>
                      <a:lnTo>
                        <a:pt x="24" y="53"/>
                      </a:lnTo>
                      <a:lnTo>
                        <a:pt x="76" y="47"/>
                      </a:lnTo>
                      <a:lnTo>
                        <a:pt x="31" y="53"/>
                      </a:lnTo>
                      <a:lnTo>
                        <a:pt x="45" y="56"/>
                      </a:lnTo>
                      <a:lnTo>
                        <a:pt x="30" y="56"/>
                      </a:lnTo>
                      <a:lnTo>
                        <a:pt x="36" y="62"/>
                      </a:lnTo>
                      <a:lnTo>
                        <a:pt x="103" y="54"/>
                      </a:lnTo>
                      <a:lnTo>
                        <a:pt x="37" y="66"/>
                      </a:lnTo>
                      <a:lnTo>
                        <a:pt x="66" y="75"/>
                      </a:lnTo>
                      <a:lnTo>
                        <a:pt x="91" y="61"/>
                      </a:lnTo>
                      <a:lnTo>
                        <a:pt x="135" y="59"/>
                      </a:lnTo>
                      <a:lnTo>
                        <a:pt x="89" y="64"/>
                      </a:lnTo>
                      <a:lnTo>
                        <a:pt x="78" y="75"/>
                      </a:lnTo>
                      <a:lnTo>
                        <a:pt x="105" y="76"/>
                      </a:lnTo>
                      <a:lnTo>
                        <a:pt x="135" y="65"/>
                      </a:lnTo>
                      <a:lnTo>
                        <a:pt x="115" y="75"/>
                      </a:lnTo>
                      <a:lnTo>
                        <a:pt x="135" y="75"/>
                      </a:lnTo>
                      <a:lnTo>
                        <a:pt x="166" y="67"/>
                      </a:lnTo>
                      <a:lnTo>
                        <a:pt x="162" y="57"/>
                      </a:lnTo>
                      <a:lnTo>
                        <a:pt x="196" y="48"/>
                      </a:lnTo>
                      <a:lnTo>
                        <a:pt x="171" y="66"/>
                      </a:lnTo>
                      <a:lnTo>
                        <a:pt x="225" y="63"/>
                      </a:lnTo>
                      <a:lnTo>
                        <a:pt x="117" y="81"/>
                      </a:lnTo>
                      <a:lnTo>
                        <a:pt x="142" y="100"/>
                      </a:lnTo>
                      <a:lnTo>
                        <a:pt x="163" y="100"/>
                      </a:lnTo>
                      <a:lnTo>
                        <a:pt x="152" y="103"/>
                      </a:lnTo>
                      <a:lnTo>
                        <a:pt x="110" y="84"/>
                      </a:lnTo>
                      <a:lnTo>
                        <a:pt x="75" y="81"/>
                      </a:lnTo>
                      <a:lnTo>
                        <a:pt x="74" y="89"/>
                      </a:lnTo>
                      <a:lnTo>
                        <a:pt x="90" y="93"/>
                      </a:lnTo>
                      <a:lnTo>
                        <a:pt x="75" y="96"/>
                      </a:lnTo>
                      <a:lnTo>
                        <a:pt x="117" y="117"/>
                      </a:lnTo>
                      <a:lnTo>
                        <a:pt x="100" y="118"/>
                      </a:lnTo>
                      <a:lnTo>
                        <a:pt x="142" y="119"/>
                      </a:lnTo>
                      <a:lnTo>
                        <a:pt x="118" y="123"/>
                      </a:lnTo>
                      <a:lnTo>
                        <a:pt x="131" y="130"/>
                      </a:lnTo>
                      <a:lnTo>
                        <a:pt x="93" y="120"/>
                      </a:lnTo>
                      <a:lnTo>
                        <a:pt x="71" y="124"/>
                      </a:lnTo>
                      <a:lnTo>
                        <a:pt x="62" y="141"/>
                      </a:lnTo>
                      <a:lnTo>
                        <a:pt x="84" y="136"/>
                      </a:lnTo>
                      <a:lnTo>
                        <a:pt x="80" y="142"/>
                      </a:lnTo>
                      <a:lnTo>
                        <a:pt x="88" y="142"/>
                      </a:lnTo>
                      <a:lnTo>
                        <a:pt x="101" y="129"/>
                      </a:lnTo>
                      <a:lnTo>
                        <a:pt x="96" y="139"/>
                      </a:lnTo>
                      <a:lnTo>
                        <a:pt x="109" y="141"/>
                      </a:lnTo>
                      <a:lnTo>
                        <a:pt x="85" y="146"/>
                      </a:lnTo>
                      <a:lnTo>
                        <a:pt x="100" y="146"/>
                      </a:lnTo>
                      <a:lnTo>
                        <a:pt x="88" y="150"/>
                      </a:lnTo>
                      <a:lnTo>
                        <a:pt x="98" y="157"/>
                      </a:lnTo>
                      <a:lnTo>
                        <a:pt x="115" y="157"/>
                      </a:lnTo>
                      <a:lnTo>
                        <a:pt x="131" y="143"/>
                      </a:lnTo>
                      <a:lnTo>
                        <a:pt x="103" y="163"/>
                      </a:lnTo>
                      <a:lnTo>
                        <a:pt x="75" y="148"/>
                      </a:lnTo>
                      <a:lnTo>
                        <a:pt x="50" y="151"/>
                      </a:lnTo>
                      <a:lnTo>
                        <a:pt x="71" y="166"/>
                      </a:lnTo>
                      <a:lnTo>
                        <a:pt x="36" y="175"/>
                      </a:lnTo>
                      <a:lnTo>
                        <a:pt x="39" y="185"/>
                      </a:lnTo>
                      <a:lnTo>
                        <a:pt x="46" y="175"/>
                      </a:lnTo>
                      <a:lnTo>
                        <a:pt x="47" y="185"/>
                      </a:lnTo>
                      <a:lnTo>
                        <a:pt x="72" y="182"/>
                      </a:lnTo>
                      <a:lnTo>
                        <a:pt x="89" y="191"/>
                      </a:lnTo>
                      <a:lnTo>
                        <a:pt x="101" y="190"/>
                      </a:lnTo>
                      <a:lnTo>
                        <a:pt x="92" y="182"/>
                      </a:lnTo>
                      <a:lnTo>
                        <a:pt x="117" y="184"/>
                      </a:lnTo>
                      <a:lnTo>
                        <a:pt x="115" y="178"/>
                      </a:lnTo>
                      <a:lnTo>
                        <a:pt x="126" y="185"/>
                      </a:lnTo>
                      <a:lnTo>
                        <a:pt x="132" y="184"/>
                      </a:lnTo>
                      <a:lnTo>
                        <a:pt x="129" y="178"/>
                      </a:lnTo>
                      <a:lnTo>
                        <a:pt x="148" y="184"/>
                      </a:lnTo>
                      <a:lnTo>
                        <a:pt x="149" y="192"/>
                      </a:lnTo>
                      <a:lnTo>
                        <a:pt x="184" y="184"/>
                      </a:lnTo>
                      <a:lnTo>
                        <a:pt x="191" y="173"/>
                      </a:lnTo>
                      <a:lnTo>
                        <a:pt x="175" y="175"/>
                      </a:lnTo>
                      <a:lnTo>
                        <a:pt x="175" y="165"/>
                      </a:lnTo>
                      <a:lnTo>
                        <a:pt x="135" y="165"/>
                      </a:lnTo>
                      <a:lnTo>
                        <a:pt x="188" y="163"/>
                      </a:lnTo>
                      <a:lnTo>
                        <a:pt x="196" y="155"/>
                      </a:lnTo>
                      <a:lnTo>
                        <a:pt x="188" y="146"/>
                      </a:lnTo>
                      <a:lnTo>
                        <a:pt x="218" y="146"/>
                      </a:lnTo>
                      <a:lnTo>
                        <a:pt x="224" y="142"/>
                      </a:lnTo>
                      <a:lnTo>
                        <a:pt x="204" y="139"/>
                      </a:lnTo>
                      <a:lnTo>
                        <a:pt x="231" y="138"/>
                      </a:lnTo>
                      <a:lnTo>
                        <a:pt x="213" y="132"/>
                      </a:lnTo>
                      <a:lnTo>
                        <a:pt x="235" y="128"/>
                      </a:lnTo>
                      <a:lnTo>
                        <a:pt x="234" y="123"/>
                      </a:lnTo>
                      <a:lnTo>
                        <a:pt x="193" y="120"/>
                      </a:lnTo>
                      <a:lnTo>
                        <a:pt x="216" y="116"/>
                      </a:lnTo>
                      <a:lnTo>
                        <a:pt x="193" y="114"/>
                      </a:lnTo>
                      <a:lnTo>
                        <a:pt x="235" y="118"/>
                      </a:lnTo>
                      <a:lnTo>
                        <a:pt x="237" y="112"/>
                      </a:lnTo>
                      <a:lnTo>
                        <a:pt x="192" y="111"/>
                      </a:lnTo>
                      <a:lnTo>
                        <a:pt x="250" y="103"/>
                      </a:lnTo>
                      <a:lnTo>
                        <a:pt x="234" y="97"/>
                      </a:lnTo>
                      <a:lnTo>
                        <a:pt x="276" y="100"/>
                      </a:lnTo>
                      <a:lnTo>
                        <a:pt x="289" y="89"/>
                      </a:lnTo>
                      <a:lnTo>
                        <a:pt x="268" y="88"/>
                      </a:lnTo>
                      <a:lnTo>
                        <a:pt x="295" y="87"/>
                      </a:lnTo>
                      <a:lnTo>
                        <a:pt x="292" y="79"/>
                      </a:lnTo>
                      <a:lnTo>
                        <a:pt x="305" y="81"/>
                      </a:lnTo>
                      <a:lnTo>
                        <a:pt x="375" y="49"/>
                      </a:lnTo>
                      <a:lnTo>
                        <a:pt x="297" y="61"/>
                      </a:lnTo>
                      <a:lnTo>
                        <a:pt x="341" y="47"/>
                      </a:lnTo>
                      <a:lnTo>
                        <a:pt x="314" y="48"/>
                      </a:lnTo>
                      <a:lnTo>
                        <a:pt x="308" y="43"/>
                      </a:lnTo>
                      <a:lnTo>
                        <a:pt x="357" y="46"/>
                      </a:lnTo>
                      <a:lnTo>
                        <a:pt x="419" y="29"/>
                      </a:lnTo>
                      <a:lnTo>
                        <a:pt x="419" y="21"/>
                      </a:lnTo>
                      <a:lnTo>
                        <a:pt x="392" y="21"/>
                      </a:lnTo>
                      <a:lnTo>
                        <a:pt x="386" y="8"/>
                      </a:lnTo>
                      <a:lnTo>
                        <a:pt x="314" y="15"/>
                      </a:lnTo>
                      <a:lnTo>
                        <a:pt x="345" y="6"/>
                      </a:lnTo>
                      <a:lnTo>
                        <a:pt x="249" y="0"/>
                      </a:lnTo>
                      <a:lnTo>
                        <a:pt x="242" y="7"/>
                      </a:lnTo>
                      <a:lnTo>
                        <a:pt x="248" y="10"/>
                      </a:lnTo>
                      <a:lnTo>
                        <a:pt x="231" y="3"/>
                      </a:lnTo>
                      <a:lnTo>
                        <a:pt x="188" y="4"/>
                      </a:lnTo>
                      <a:lnTo>
                        <a:pt x="219" y="17"/>
                      </a:lnTo>
                      <a:lnTo>
                        <a:pt x="208" y="21"/>
                      </a:lnTo>
                      <a:lnTo>
                        <a:pt x="193" y="8"/>
                      </a:lnTo>
                      <a:lnTo>
                        <a:pt x="154" y="6"/>
                      </a:lnTo>
                      <a:lnTo>
                        <a:pt x="161" y="12"/>
                      </a:lnTo>
                      <a:lnTo>
                        <a:pt x="132" y="10"/>
                      </a:lnTo>
                      <a:lnTo>
                        <a:pt x="146" y="19"/>
                      </a:lnTo>
                      <a:lnTo>
                        <a:pt x="123" y="13"/>
                      </a:lnTo>
                      <a:lnTo>
                        <a:pt x="131" y="19"/>
                      </a:lnTo>
                      <a:lnTo>
                        <a:pt x="117" y="21"/>
                      </a:lnTo>
                      <a:lnTo>
                        <a:pt x="147" y="34"/>
                      </a:lnTo>
                      <a:lnTo>
                        <a:pt x="81" y="20"/>
                      </a:lnTo>
                      <a:lnTo>
                        <a:pt x="65" y="30"/>
                      </a:lnTo>
                      <a:lnTo>
                        <a:pt x="91" y="34"/>
                      </a:lnTo>
                      <a:lnTo>
                        <a:pt x="47" y="30"/>
                      </a:lnTo>
                      <a:lnTo>
                        <a:pt x="0" y="46"/>
                      </a:lnTo>
                      <a:lnTo>
                        <a:pt x="0" y="46"/>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7" name="Canada">
                  <a:extLst>
                    <a:ext uri="{FF2B5EF4-FFF2-40B4-BE49-F238E27FC236}">
                      <a16:creationId xmlns:a16="http://schemas.microsoft.com/office/drawing/2014/main" id="{C42C1FCB-12B8-4A53-65F5-2EA4C1B3A3E8}"/>
                    </a:ext>
                  </a:extLst>
                </p:cNvPr>
                <p:cNvSpPr>
                  <a:spLocks noGrp="1" noRot="1" noMove="1" noResize="1" noEditPoints="1" noAdjustHandles="1" noChangeArrowheads="1" noChangeShapeType="1"/>
                </p:cNvSpPr>
                <p:nvPr/>
              </p:nvSpPr>
              <p:spPr bwMode="gray">
                <a:xfrm>
                  <a:off x="2510034" y="2156905"/>
                  <a:ext cx="711727" cy="563201"/>
                </a:xfrm>
                <a:custGeom>
                  <a:avLst/>
                  <a:gdLst/>
                  <a:ahLst/>
                  <a:cxnLst>
                    <a:cxn ang="0">
                      <a:pos x="0" y="55"/>
                    </a:cxn>
                    <a:cxn ang="0">
                      <a:pos x="19" y="9"/>
                    </a:cxn>
                    <a:cxn ang="0">
                      <a:pos x="69" y="3"/>
                    </a:cxn>
                    <a:cxn ang="0">
                      <a:pos x="51" y="43"/>
                    </a:cxn>
                    <a:cxn ang="0">
                      <a:pos x="46" y="64"/>
                    </a:cxn>
                    <a:cxn ang="0">
                      <a:pos x="73" y="50"/>
                    </a:cxn>
                    <a:cxn ang="0">
                      <a:pos x="70" y="34"/>
                    </a:cxn>
                    <a:cxn ang="0">
                      <a:pos x="82" y="25"/>
                    </a:cxn>
                    <a:cxn ang="0">
                      <a:pos x="85" y="20"/>
                    </a:cxn>
                    <a:cxn ang="0">
                      <a:pos x="87" y="12"/>
                    </a:cxn>
                    <a:cxn ang="0">
                      <a:pos x="115" y="2"/>
                    </a:cxn>
                    <a:cxn ang="0">
                      <a:pos x="128" y="19"/>
                    </a:cxn>
                    <a:cxn ang="0">
                      <a:pos x="139" y="32"/>
                    </a:cxn>
                    <a:cxn ang="0">
                      <a:pos x="169" y="25"/>
                    </a:cxn>
                    <a:cxn ang="0">
                      <a:pos x="215" y="43"/>
                    </a:cxn>
                    <a:cxn ang="0">
                      <a:pos x="225" y="47"/>
                    </a:cxn>
                    <a:cxn ang="0">
                      <a:pos x="230" y="58"/>
                    </a:cxn>
                    <a:cxn ang="0">
                      <a:pos x="254" y="54"/>
                    </a:cxn>
                    <a:cxn ang="0">
                      <a:pos x="246" y="64"/>
                    </a:cxn>
                    <a:cxn ang="0">
                      <a:pos x="262" y="73"/>
                    </a:cxn>
                    <a:cxn ang="0">
                      <a:pos x="267" y="76"/>
                    </a:cxn>
                    <a:cxn ang="0">
                      <a:pos x="279" y="82"/>
                    </a:cxn>
                    <a:cxn ang="0">
                      <a:pos x="287" y="88"/>
                    </a:cxn>
                    <a:cxn ang="0">
                      <a:pos x="312" y="89"/>
                    </a:cxn>
                    <a:cxn ang="0">
                      <a:pos x="322" y="102"/>
                    </a:cxn>
                    <a:cxn ang="0">
                      <a:pos x="305" y="108"/>
                    </a:cxn>
                    <a:cxn ang="0">
                      <a:pos x="329" y="131"/>
                    </a:cxn>
                    <a:cxn ang="0">
                      <a:pos x="352" y="146"/>
                    </a:cxn>
                    <a:cxn ang="0">
                      <a:pos x="366" y="151"/>
                    </a:cxn>
                    <a:cxn ang="0">
                      <a:pos x="388" y="165"/>
                    </a:cxn>
                    <a:cxn ang="0">
                      <a:pos x="381" y="169"/>
                    </a:cxn>
                    <a:cxn ang="0">
                      <a:pos x="364" y="174"/>
                    </a:cxn>
                    <a:cxn ang="0">
                      <a:pos x="317" y="159"/>
                    </a:cxn>
                    <a:cxn ang="0">
                      <a:pos x="312" y="170"/>
                    </a:cxn>
                    <a:cxn ang="0">
                      <a:pos x="310" y="178"/>
                    </a:cxn>
                    <a:cxn ang="0">
                      <a:pos x="341" y="197"/>
                    </a:cxn>
                    <a:cxn ang="0">
                      <a:pos x="351" y="214"/>
                    </a:cxn>
                    <a:cxn ang="0">
                      <a:pos x="289" y="214"/>
                    </a:cxn>
                    <a:cxn ang="0">
                      <a:pos x="256" y="230"/>
                    </a:cxn>
                    <a:cxn ang="0">
                      <a:pos x="256" y="217"/>
                    </a:cxn>
                    <a:cxn ang="0">
                      <a:pos x="226" y="196"/>
                    </a:cxn>
                    <a:cxn ang="0">
                      <a:pos x="208" y="201"/>
                    </a:cxn>
                    <a:cxn ang="0">
                      <a:pos x="182" y="205"/>
                    </a:cxn>
                    <a:cxn ang="0">
                      <a:pos x="173" y="182"/>
                    </a:cxn>
                    <a:cxn ang="0">
                      <a:pos x="212" y="167"/>
                    </a:cxn>
                    <a:cxn ang="0">
                      <a:pos x="221" y="115"/>
                    </a:cxn>
                    <a:cxn ang="0">
                      <a:pos x="215" y="107"/>
                    </a:cxn>
                    <a:cxn ang="0">
                      <a:pos x="182" y="107"/>
                    </a:cxn>
                    <a:cxn ang="0">
                      <a:pos x="170" y="91"/>
                    </a:cxn>
                    <a:cxn ang="0">
                      <a:pos x="147" y="77"/>
                    </a:cxn>
                    <a:cxn ang="0">
                      <a:pos x="115" y="84"/>
                    </a:cxn>
                    <a:cxn ang="0">
                      <a:pos x="26" y="80"/>
                    </a:cxn>
                    <a:cxn ang="0">
                      <a:pos x="39" y="64"/>
                    </a:cxn>
                    <a:cxn ang="0">
                      <a:pos x="0" y="55"/>
                    </a:cxn>
                  </a:cxnLst>
                  <a:rect l="0" t="0" r="r" b="b"/>
                  <a:pathLst>
                    <a:path w="392" h="250">
                      <a:moveTo>
                        <a:pt x="0" y="55"/>
                      </a:moveTo>
                      <a:lnTo>
                        <a:pt x="0" y="55"/>
                      </a:lnTo>
                      <a:lnTo>
                        <a:pt x="3" y="28"/>
                      </a:lnTo>
                      <a:lnTo>
                        <a:pt x="19" y="9"/>
                      </a:lnTo>
                      <a:lnTo>
                        <a:pt x="46" y="0"/>
                      </a:lnTo>
                      <a:lnTo>
                        <a:pt x="69" y="3"/>
                      </a:lnTo>
                      <a:lnTo>
                        <a:pt x="45" y="28"/>
                      </a:lnTo>
                      <a:lnTo>
                        <a:pt x="51" y="43"/>
                      </a:lnTo>
                      <a:lnTo>
                        <a:pt x="69" y="58"/>
                      </a:lnTo>
                      <a:lnTo>
                        <a:pt x="46" y="64"/>
                      </a:lnTo>
                      <a:lnTo>
                        <a:pt x="70" y="64"/>
                      </a:lnTo>
                      <a:lnTo>
                        <a:pt x="73" y="50"/>
                      </a:lnTo>
                      <a:lnTo>
                        <a:pt x="55" y="42"/>
                      </a:lnTo>
                      <a:lnTo>
                        <a:pt x="70" y="34"/>
                      </a:lnTo>
                      <a:lnTo>
                        <a:pt x="59" y="21"/>
                      </a:lnTo>
                      <a:lnTo>
                        <a:pt x="82" y="25"/>
                      </a:lnTo>
                      <a:lnTo>
                        <a:pt x="61" y="19"/>
                      </a:lnTo>
                      <a:lnTo>
                        <a:pt x="85" y="20"/>
                      </a:lnTo>
                      <a:lnTo>
                        <a:pt x="68" y="11"/>
                      </a:lnTo>
                      <a:lnTo>
                        <a:pt x="87" y="12"/>
                      </a:lnTo>
                      <a:lnTo>
                        <a:pt x="100" y="3"/>
                      </a:lnTo>
                      <a:lnTo>
                        <a:pt x="115" y="2"/>
                      </a:lnTo>
                      <a:lnTo>
                        <a:pt x="116" y="14"/>
                      </a:lnTo>
                      <a:lnTo>
                        <a:pt x="128" y="19"/>
                      </a:lnTo>
                      <a:lnTo>
                        <a:pt x="124" y="43"/>
                      </a:lnTo>
                      <a:lnTo>
                        <a:pt x="139" y="32"/>
                      </a:lnTo>
                      <a:lnTo>
                        <a:pt x="148" y="37"/>
                      </a:lnTo>
                      <a:lnTo>
                        <a:pt x="169" y="25"/>
                      </a:lnTo>
                      <a:lnTo>
                        <a:pt x="202" y="32"/>
                      </a:lnTo>
                      <a:lnTo>
                        <a:pt x="215" y="43"/>
                      </a:lnTo>
                      <a:lnTo>
                        <a:pt x="206" y="50"/>
                      </a:lnTo>
                      <a:lnTo>
                        <a:pt x="225" y="47"/>
                      </a:lnTo>
                      <a:lnTo>
                        <a:pt x="219" y="55"/>
                      </a:lnTo>
                      <a:lnTo>
                        <a:pt x="230" y="58"/>
                      </a:lnTo>
                      <a:lnTo>
                        <a:pt x="239" y="49"/>
                      </a:lnTo>
                      <a:lnTo>
                        <a:pt x="254" y="54"/>
                      </a:lnTo>
                      <a:lnTo>
                        <a:pt x="258" y="61"/>
                      </a:lnTo>
                      <a:lnTo>
                        <a:pt x="246" y="64"/>
                      </a:lnTo>
                      <a:lnTo>
                        <a:pt x="265" y="64"/>
                      </a:lnTo>
                      <a:lnTo>
                        <a:pt x="262" y="73"/>
                      </a:lnTo>
                      <a:lnTo>
                        <a:pt x="275" y="68"/>
                      </a:lnTo>
                      <a:lnTo>
                        <a:pt x="267" y="76"/>
                      </a:lnTo>
                      <a:lnTo>
                        <a:pt x="294" y="74"/>
                      </a:lnTo>
                      <a:lnTo>
                        <a:pt x="279" y="82"/>
                      </a:lnTo>
                      <a:lnTo>
                        <a:pt x="292" y="82"/>
                      </a:lnTo>
                      <a:lnTo>
                        <a:pt x="287" y="88"/>
                      </a:lnTo>
                      <a:lnTo>
                        <a:pt x="300" y="80"/>
                      </a:lnTo>
                      <a:lnTo>
                        <a:pt x="312" y="89"/>
                      </a:lnTo>
                      <a:lnTo>
                        <a:pt x="289" y="96"/>
                      </a:lnTo>
                      <a:lnTo>
                        <a:pt x="322" y="102"/>
                      </a:lnTo>
                      <a:lnTo>
                        <a:pt x="294" y="104"/>
                      </a:lnTo>
                      <a:lnTo>
                        <a:pt x="305" y="108"/>
                      </a:lnTo>
                      <a:lnTo>
                        <a:pt x="296" y="115"/>
                      </a:lnTo>
                      <a:lnTo>
                        <a:pt x="329" y="131"/>
                      </a:lnTo>
                      <a:lnTo>
                        <a:pt x="345" y="128"/>
                      </a:lnTo>
                      <a:lnTo>
                        <a:pt x="352" y="146"/>
                      </a:lnTo>
                      <a:lnTo>
                        <a:pt x="369" y="144"/>
                      </a:lnTo>
                      <a:lnTo>
                        <a:pt x="366" y="151"/>
                      </a:lnTo>
                      <a:lnTo>
                        <a:pt x="391" y="156"/>
                      </a:lnTo>
                      <a:lnTo>
                        <a:pt x="388" y="165"/>
                      </a:lnTo>
                      <a:lnTo>
                        <a:pt x="376" y="164"/>
                      </a:lnTo>
                      <a:lnTo>
                        <a:pt x="381" y="169"/>
                      </a:lnTo>
                      <a:lnTo>
                        <a:pt x="375" y="178"/>
                      </a:lnTo>
                      <a:lnTo>
                        <a:pt x="364" y="174"/>
                      </a:lnTo>
                      <a:lnTo>
                        <a:pt x="361" y="192"/>
                      </a:lnTo>
                      <a:lnTo>
                        <a:pt x="317" y="159"/>
                      </a:lnTo>
                      <a:lnTo>
                        <a:pt x="300" y="163"/>
                      </a:lnTo>
                      <a:lnTo>
                        <a:pt x="312" y="170"/>
                      </a:lnTo>
                      <a:lnTo>
                        <a:pt x="303" y="178"/>
                      </a:lnTo>
                      <a:lnTo>
                        <a:pt x="310" y="178"/>
                      </a:lnTo>
                      <a:lnTo>
                        <a:pt x="320" y="194"/>
                      </a:lnTo>
                      <a:lnTo>
                        <a:pt x="341" y="197"/>
                      </a:lnTo>
                      <a:lnTo>
                        <a:pt x="339" y="206"/>
                      </a:lnTo>
                      <a:lnTo>
                        <a:pt x="351" y="214"/>
                      </a:lnTo>
                      <a:lnTo>
                        <a:pt x="345" y="237"/>
                      </a:lnTo>
                      <a:lnTo>
                        <a:pt x="289" y="214"/>
                      </a:lnTo>
                      <a:lnTo>
                        <a:pt x="327" y="249"/>
                      </a:lnTo>
                      <a:lnTo>
                        <a:pt x="256" y="230"/>
                      </a:lnTo>
                      <a:lnTo>
                        <a:pt x="246" y="218"/>
                      </a:lnTo>
                      <a:lnTo>
                        <a:pt x="256" y="217"/>
                      </a:lnTo>
                      <a:lnTo>
                        <a:pt x="233" y="210"/>
                      </a:lnTo>
                      <a:lnTo>
                        <a:pt x="226" y="196"/>
                      </a:lnTo>
                      <a:lnTo>
                        <a:pt x="209" y="192"/>
                      </a:lnTo>
                      <a:lnTo>
                        <a:pt x="208" y="201"/>
                      </a:lnTo>
                      <a:lnTo>
                        <a:pt x="197" y="196"/>
                      </a:lnTo>
                      <a:lnTo>
                        <a:pt x="182" y="205"/>
                      </a:lnTo>
                      <a:lnTo>
                        <a:pt x="162" y="196"/>
                      </a:lnTo>
                      <a:lnTo>
                        <a:pt x="173" y="182"/>
                      </a:lnTo>
                      <a:lnTo>
                        <a:pt x="225" y="182"/>
                      </a:lnTo>
                      <a:lnTo>
                        <a:pt x="212" y="167"/>
                      </a:lnTo>
                      <a:lnTo>
                        <a:pt x="242" y="144"/>
                      </a:lnTo>
                      <a:lnTo>
                        <a:pt x="221" y="115"/>
                      </a:lnTo>
                      <a:lnTo>
                        <a:pt x="207" y="112"/>
                      </a:lnTo>
                      <a:lnTo>
                        <a:pt x="215" y="107"/>
                      </a:lnTo>
                      <a:lnTo>
                        <a:pt x="183" y="115"/>
                      </a:lnTo>
                      <a:lnTo>
                        <a:pt x="182" y="107"/>
                      </a:lnTo>
                      <a:lnTo>
                        <a:pt x="194" y="102"/>
                      </a:lnTo>
                      <a:lnTo>
                        <a:pt x="170" y="91"/>
                      </a:lnTo>
                      <a:lnTo>
                        <a:pt x="169" y="82"/>
                      </a:lnTo>
                      <a:lnTo>
                        <a:pt x="147" y="77"/>
                      </a:lnTo>
                      <a:lnTo>
                        <a:pt x="153" y="89"/>
                      </a:lnTo>
                      <a:lnTo>
                        <a:pt x="115" y="84"/>
                      </a:lnTo>
                      <a:lnTo>
                        <a:pt x="124" y="92"/>
                      </a:lnTo>
                      <a:lnTo>
                        <a:pt x="26" y="80"/>
                      </a:lnTo>
                      <a:lnTo>
                        <a:pt x="8" y="64"/>
                      </a:lnTo>
                      <a:lnTo>
                        <a:pt x="39" y="64"/>
                      </a:lnTo>
                      <a:lnTo>
                        <a:pt x="0" y="55"/>
                      </a:lnTo>
                      <a:lnTo>
                        <a:pt x="0" y="5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8" name="Canada">
                  <a:extLst>
                    <a:ext uri="{FF2B5EF4-FFF2-40B4-BE49-F238E27FC236}">
                      <a16:creationId xmlns:a16="http://schemas.microsoft.com/office/drawing/2014/main" id="{B2FA3091-638A-6CDC-2FD0-E73EAE9E3900}"/>
                    </a:ext>
                  </a:extLst>
                </p:cNvPr>
                <p:cNvSpPr>
                  <a:spLocks noGrp="1" noRot="1" noMove="1" noResize="1" noEditPoints="1" noAdjustHandles="1" noChangeArrowheads="1" noChangeShapeType="1"/>
                </p:cNvSpPr>
                <p:nvPr/>
              </p:nvSpPr>
              <p:spPr bwMode="gray">
                <a:xfrm>
                  <a:off x="2580844" y="2544387"/>
                  <a:ext cx="167038" cy="123905"/>
                </a:xfrm>
                <a:custGeom>
                  <a:avLst/>
                  <a:gdLst/>
                  <a:ahLst/>
                  <a:cxnLst>
                    <a:cxn ang="0">
                      <a:pos x="0" y="43"/>
                    </a:cxn>
                    <a:cxn ang="0">
                      <a:pos x="0" y="43"/>
                    </a:cxn>
                    <a:cxn ang="0">
                      <a:pos x="14" y="33"/>
                    </a:cxn>
                    <a:cxn ang="0">
                      <a:pos x="22" y="0"/>
                    </a:cxn>
                    <a:cxn ang="0">
                      <a:pos x="30" y="11"/>
                    </a:cxn>
                    <a:cxn ang="0">
                      <a:pos x="51" y="14"/>
                    </a:cxn>
                    <a:cxn ang="0">
                      <a:pos x="91" y="40"/>
                    </a:cxn>
                    <a:cxn ang="0">
                      <a:pos x="85" y="48"/>
                    </a:cxn>
                    <a:cxn ang="0">
                      <a:pos x="49" y="36"/>
                    </a:cxn>
                    <a:cxn ang="0">
                      <a:pos x="26" y="54"/>
                    </a:cxn>
                    <a:cxn ang="0">
                      <a:pos x="21" y="40"/>
                    </a:cxn>
                    <a:cxn ang="0">
                      <a:pos x="0" y="43"/>
                    </a:cxn>
                    <a:cxn ang="0">
                      <a:pos x="0" y="43"/>
                    </a:cxn>
                  </a:cxnLst>
                  <a:rect l="0" t="0" r="r" b="b"/>
                  <a:pathLst>
                    <a:path w="92" h="55">
                      <a:moveTo>
                        <a:pt x="0" y="43"/>
                      </a:moveTo>
                      <a:lnTo>
                        <a:pt x="0" y="43"/>
                      </a:lnTo>
                      <a:lnTo>
                        <a:pt x="14" y="33"/>
                      </a:lnTo>
                      <a:lnTo>
                        <a:pt x="22" y="0"/>
                      </a:lnTo>
                      <a:lnTo>
                        <a:pt x="30" y="11"/>
                      </a:lnTo>
                      <a:lnTo>
                        <a:pt x="51" y="14"/>
                      </a:lnTo>
                      <a:lnTo>
                        <a:pt x="91" y="40"/>
                      </a:lnTo>
                      <a:lnTo>
                        <a:pt x="85" y="48"/>
                      </a:lnTo>
                      <a:lnTo>
                        <a:pt x="49" y="36"/>
                      </a:lnTo>
                      <a:lnTo>
                        <a:pt x="26" y="54"/>
                      </a:lnTo>
                      <a:lnTo>
                        <a:pt x="21" y="40"/>
                      </a:lnTo>
                      <a:lnTo>
                        <a:pt x="0" y="43"/>
                      </a:lnTo>
                      <a:lnTo>
                        <a:pt x="0" y="43"/>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9" name="Canada">
                  <a:extLst>
                    <a:ext uri="{FF2B5EF4-FFF2-40B4-BE49-F238E27FC236}">
                      <a16:creationId xmlns:a16="http://schemas.microsoft.com/office/drawing/2014/main" id="{EBD9D8E6-7344-2A34-BBD3-658154A2B2E2}"/>
                    </a:ext>
                  </a:extLst>
                </p:cNvPr>
                <p:cNvSpPr>
                  <a:spLocks noGrp="1" noRot="1" noMove="1" noResize="1" noEditPoints="1" noAdjustHandles="1" noChangeArrowheads="1" noChangeShapeType="1"/>
                </p:cNvSpPr>
                <p:nvPr/>
              </p:nvSpPr>
              <p:spPr bwMode="gray">
                <a:xfrm>
                  <a:off x="3270783" y="3121105"/>
                  <a:ext cx="168854" cy="177971"/>
                </a:xfrm>
                <a:custGeom>
                  <a:avLst/>
                  <a:gdLst/>
                  <a:ahLst/>
                  <a:cxnLst>
                    <a:cxn ang="0">
                      <a:pos x="0" y="61"/>
                    </a:cxn>
                    <a:cxn ang="0">
                      <a:pos x="0" y="61"/>
                    </a:cxn>
                    <a:cxn ang="0">
                      <a:pos x="38" y="4"/>
                    </a:cxn>
                    <a:cxn ang="0">
                      <a:pos x="52" y="0"/>
                    </a:cxn>
                    <a:cxn ang="0">
                      <a:pos x="35" y="30"/>
                    </a:cxn>
                    <a:cxn ang="0">
                      <a:pos x="47" y="23"/>
                    </a:cxn>
                    <a:cxn ang="0">
                      <a:pos x="55" y="36"/>
                    </a:cxn>
                    <a:cxn ang="0">
                      <a:pos x="79" y="36"/>
                    </a:cxn>
                    <a:cxn ang="0">
                      <a:pos x="74" y="48"/>
                    </a:cxn>
                    <a:cxn ang="0">
                      <a:pos x="86" y="48"/>
                    </a:cxn>
                    <a:cxn ang="0">
                      <a:pos x="78" y="60"/>
                    </a:cxn>
                    <a:cxn ang="0">
                      <a:pos x="89" y="53"/>
                    </a:cxn>
                    <a:cxn ang="0">
                      <a:pos x="92" y="65"/>
                    </a:cxn>
                    <a:cxn ang="0">
                      <a:pos x="80" y="78"/>
                    </a:cxn>
                    <a:cxn ang="0">
                      <a:pos x="79" y="69"/>
                    </a:cxn>
                    <a:cxn ang="0">
                      <a:pos x="73" y="74"/>
                    </a:cxn>
                    <a:cxn ang="0">
                      <a:pos x="73" y="59"/>
                    </a:cxn>
                    <a:cxn ang="0">
                      <a:pos x="51" y="74"/>
                    </a:cxn>
                    <a:cxn ang="0">
                      <a:pos x="64" y="64"/>
                    </a:cxn>
                    <a:cxn ang="0">
                      <a:pos x="45" y="65"/>
                    </a:cxn>
                    <a:cxn ang="0">
                      <a:pos x="50" y="59"/>
                    </a:cxn>
                    <a:cxn ang="0">
                      <a:pos x="0" y="61"/>
                    </a:cxn>
                    <a:cxn ang="0">
                      <a:pos x="0" y="61"/>
                    </a:cxn>
                  </a:cxnLst>
                  <a:rect l="0" t="0" r="r" b="b"/>
                  <a:pathLst>
                    <a:path w="93" h="79">
                      <a:moveTo>
                        <a:pt x="0" y="61"/>
                      </a:moveTo>
                      <a:lnTo>
                        <a:pt x="0" y="61"/>
                      </a:lnTo>
                      <a:lnTo>
                        <a:pt x="38" y="4"/>
                      </a:lnTo>
                      <a:lnTo>
                        <a:pt x="52" y="0"/>
                      </a:lnTo>
                      <a:lnTo>
                        <a:pt x="35" y="30"/>
                      </a:lnTo>
                      <a:lnTo>
                        <a:pt x="47" y="23"/>
                      </a:lnTo>
                      <a:lnTo>
                        <a:pt x="55" y="36"/>
                      </a:lnTo>
                      <a:lnTo>
                        <a:pt x="79" y="36"/>
                      </a:lnTo>
                      <a:lnTo>
                        <a:pt x="74" y="48"/>
                      </a:lnTo>
                      <a:lnTo>
                        <a:pt x="86" y="48"/>
                      </a:lnTo>
                      <a:lnTo>
                        <a:pt x="78" y="60"/>
                      </a:lnTo>
                      <a:lnTo>
                        <a:pt x="89" y="53"/>
                      </a:lnTo>
                      <a:lnTo>
                        <a:pt x="92" y="65"/>
                      </a:lnTo>
                      <a:lnTo>
                        <a:pt x="80" y="78"/>
                      </a:lnTo>
                      <a:lnTo>
                        <a:pt x="79" y="69"/>
                      </a:lnTo>
                      <a:lnTo>
                        <a:pt x="73" y="74"/>
                      </a:lnTo>
                      <a:lnTo>
                        <a:pt x="73" y="59"/>
                      </a:lnTo>
                      <a:lnTo>
                        <a:pt x="51" y="74"/>
                      </a:lnTo>
                      <a:lnTo>
                        <a:pt x="64" y="64"/>
                      </a:lnTo>
                      <a:lnTo>
                        <a:pt x="45" y="65"/>
                      </a:lnTo>
                      <a:lnTo>
                        <a:pt x="50" y="59"/>
                      </a:lnTo>
                      <a:lnTo>
                        <a:pt x="0" y="61"/>
                      </a:lnTo>
                      <a:lnTo>
                        <a:pt x="0" y="61"/>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50" name="Canada">
                  <a:extLst>
                    <a:ext uri="{FF2B5EF4-FFF2-40B4-BE49-F238E27FC236}">
                      <a16:creationId xmlns:a16="http://schemas.microsoft.com/office/drawing/2014/main" id="{B7F44CA8-7BAA-9A74-BEC2-C2DD191B6086}"/>
                    </a:ext>
                  </a:extLst>
                </p:cNvPr>
                <p:cNvSpPr>
                  <a:spLocks noGrp="1" noRot="1" noMove="1" noResize="1" noEditPoints="1" noAdjustHandles="1" noChangeArrowheads="1" noChangeShapeType="1"/>
                </p:cNvSpPr>
                <p:nvPr/>
              </p:nvSpPr>
              <p:spPr bwMode="gray">
                <a:xfrm>
                  <a:off x="1248172" y="2253775"/>
                  <a:ext cx="2117025" cy="1200744"/>
                </a:xfrm>
                <a:custGeom>
                  <a:avLst/>
                  <a:gdLst/>
                  <a:ahLst/>
                  <a:cxnLst>
                    <a:cxn ang="0">
                      <a:pos x="93" y="74"/>
                    </a:cxn>
                    <a:cxn ang="0">
                      <a:pos x="110" y="62"/>
                    </a:cxn>
                    <a:cxn ang="0">
                      <a:pos x="176" y="31"/>
                    </a:cxn>
                    <a:cxn ang="0">
                      <a:pos x="250" y="46"/>
                    </a:cxn>
                    <a:cxn ang="0">
                      <a:pos x="347" y="85"/>
                    </a:cxn>
                    <a:cxn ang="0">
                      <a:pos x="453" y="111"/>
                    </a:cxn>
                    <a:cxn ang="0">
                      <a:pos x="450" y="83"/>
                    </a:cxn>
                    <a:cxn ang="0">
                      <a:pos x="514" y="83"/>
                    </a:cxn>
                    <a:cxn ang="0">
                      <a:pos x="595" y="95"/>
                    </a:cxn>
                    <a:cxn ang="0">
                      <a:pos x="597" y="76"/>
                    </a:cxn>
                    <a:cxn ang="0">
                      <a:pos x="624" y="102"/>
                    </a:cxn>
                    <a:cxn ang="0">
                      <a:pos x="632" y="70"/>
                    </a:cxn>
                    <a:cxn ang="0">
                      <a:pos x="620" y="16"/>
                    </a:cxn>
                    <a:cxn ang="0">
                      <a:pos x="676" y="40"/>
                    </a:cxn>
                    <a:cxn ang="0">
                      <a:pos x="685" y="54"/>
                    </a:cxn>
                    <a:cxn ang="0">
                      <a:pos x="721" y="68"/>
                    </a:cxn>
                    <a:cxn ang="0">
                      <a:pos x="743" y="98"/>
                    </a:cxn>
                    <a:cxn ang="0">
                      <a:pos x="797" y="50"/>
                    </a:cxn>
                    <a:cxn ang="0">
                      <a:pos x="797" y="76"/>
                    </a:cxn>
                    <a:cxn ang="0">
                      <a:pos x="782" y="123"/>
                    </a:cxn>
                    <a:cxn ang="0">
                      <a:pos x="695" y="129"/>
                    </a:cxn>
                    <a:cxn ang="0">
                      <a:pos x="698" y="164"/>
                    </a:cxn>
                    <a:cxn ang="0">
                      <a:pos x="689" y="187"/>
                    </a:cxn>
                    <a:cxn ang="0">
                      <a:pos x="661" y="203"/>
                    </a:cxn>
                    <a:cxn ang="0">
                      <a:pos x="653" y="263"/>
                    </a:cxn>
                    <a:cxn ang="0">
                      <a:pos x="759" y="322"/>
                    </a:cxn>
                    <a:cxn ang="0">
                      <a:pos x="800" y="362"/>
                    </a:cxn>
                    <a:cxn ang="0">
                      <a:pos x="817" y="394"/>
                    </a:cxn>
                    <a:cxn ang="0">
                      <a:pos x="836" y="336"/>
                    </a:cxn>
                    <a:cxn ang="0">
                      <a:pos x="849" y="263"/>
                    </a:cxn>
                    <a:cxn ang="0">
                      <a:pos x="857" y="226"/>
                    </a:cxn>
                    <a:cxn ang="0">
                      <a:pos x="899" y="201"/>
                    </a:cxn>
                    <a:cxn ang="0">
                      <a:pos x="974" y="223"/>
                    </a:cxn>
                    <a:cxn ang="0">
                      <a:pos x="980" y="254"/>
                    </a:cxn>
                    <a:cxn ang="0">
                      <a:pos x="978" y="280"/>
                    </a:cxn>
                    <a:cxn ang="0">
                      <a:pos x="1022" y="269"/>
                    </a:cxn>
                    <a:cxn ang="0">
                      <a:pos x="1061" y="256"/>
                    </a:cxn>
                    <a:cxn ang="0">
                      <a:pos x="1058" y="268"/>
                    </a:cxn>
                    <a:cxn ang="0">
                      <a:pos x="1079" y="283"/>
                    </a:cxn>
                    <a:cxn ang="0">
                      <a:pos x="1082" y="301"/>
                    </a:cxn>
                    <a:cxn ang="0">
                      <a:pos x="1118" y="325"/>
                    </a:cxn>
                    <a:cxn ang="0">
                      <a:pos x="1143" y="342"/>
                    </a:cxn>
                    <a:cxn ang="0">
                      <a:pos x="1156" y="359"/>
                    </a:cxn>
                    <a:cxn ang="0">
                      <a:pos x="984" y="428"/>
                    </a:cxn>
                    <a:cxn ang="0">
                      <a:pos x="1047" y="433"/>
                    </a:cxn>
                    <a:cxn ang="0">
                      <a:pos x="1052" y="473"/>
                    </a:cxn>
                    <a:cxn ang="0">
                      <a:pos x="1108" y="469"/>
                    </a:cxn>
                    <a:cxn ang="0">
                      <a:pos x="1022" y="495"/>
                    </a:cxn>
                    <a:cxn ang="0">
                      <a:pos x="1010" y="484"/>
                    </a:cxn>
                    <a:cxn ang="0">
                      <a:pos x="960" y="483"/>
                    </a:cxn>
                    <a:cxn ang="0">
                      <a:pos x="846" y="514"/>
                    </a:cxn>
                    <a:cxn ang="0">
                      <a:pos x="797" y="522"/>
                    </a:cxn>
                    <a:cxn ang="0">
                      <a:pos x="820" y="493"/>
                    </a:cxn>
                    <a:cxn ang="0">
                      <a:pos x="770" y="465"/>
                    </a:cxn>
                    <a:cxn ang="0">
                      <a:pos x="735" y="430"/>
                    </a:cxn>
                    <a:cxn ang="0">
                      <a:pos x="634" y="430"/>
                    </a:cxn>
                    <a:cxn ang="0">
                      <a:pos x="244" y="414"/>
                    </a:cxn>
                    <a:cxn ang="0">
                      <a:pos x="187" y="387"/>
                    </a:cxn>
                    <a:cxn ang="0">
                      <a:pos x="148" y="328"/>
                    </a:cxn>
                    <a:cxn ang="0">
                      <a:pos x="48" y="261"/>
                    </a:cxn>
                    <a:cxn ang="0">
                      <a:pos x="0" y="236"/>
                    </a:cxn>
                  </a:cxnLst>
                  <a:rect l="0" t="0" r="r" b="b"/>
                  <a:pathLst>
                    <a:path w="1166" h="533">
                      <a:moveTo>
                        <a:pt x="0" y="236"/>
                      </a:moveTo>
                      <a:lnTo>
                        <a:pt x="0" y="236"/>
                      </a:lnTo>
                      <a:lnTo>
                        <a:pt x="0" y="49"/>
                      </a:lnTo>
                      <a:lnTo>
                        <a:pt x="93" y="74"/>
                      </a:lnTo>
                      <a:lnTo>
                        <a:pt x="88" y="64"/>
                      </a:lnTo>
                      <a:lnTo>
                        <a:pt x="97" y="58"/>
                      </a:lnTo>
                      <a:lnTo>
                        <a:pt x="154" y="37"/>
                      </a:lnTo>
                      <a:lnTo>
                        <a:pt x="110" y="62"/>
                      </a:lnTo>
                      <a:lnTo>
                        <a:pt x="135" y="55"/>
                      </a:lnTo>
                      <a:lnTo>
                        <a:pt x="135" y="60"/>
                      </a:lnTo>
                      <a:lnTo>
                        <a:pt x="182" y="38"/>
                      </a:lnTo>
                      <a:lnTo>
                        <a:pt x="176" y="31"/>
                      </a:lnTo>
                      <a:lnTo>
                        <a:pt x="207" y="57"/>
                      </a:lnTo>
                      <a:lnTo>
                        <a:pt x="227" y="41"/>
                      </a:lnTo>
                      <a:lnTo>
                        <a:pt x="225" y="57"/>
                      </a:lnTo>
                      <a:lnTo>
                        <a:pt x="250" y="46"/>
                      </a:lnTo>
                      <a:lnTo>
                        <a:pt x="319" y="66"/>
                      </a:lnTo>
                      <a:lnTo>
                        <a:pt x="350" y="65"/>
                      </a:lnTo>
                      <a:lnTo>
                        <a:pt x="368" y="76"/>
                      </a:lnTo>
                      <a:lnTo>
                        <a:pt x="347" y="85"/>
                      </a:lnTo>
                      <a:lnTo>
                        <a:pt x="359" y="89"/>
                      </a:lnTo>
                      <a:lnTo>
                        <a:pt x="422" y="85"/>
                      </a:lnTo>
                      <a:lnTo>
                        <a:pt x="449" y="100"/>
                      </a:lnTo>
                      <a:lnTo>
                        <a:pt x="453" y="111"/>
                      </a:lnTo>
                      <a:lnTo>
                        <a:pt x="460" y="104"/>
                      </a:lnTo>
                      <a:lnTo>
                        <a:pt x="449" y="89"/>
                      </a:lnTo>
                      <a:lnTo>
                        <a:pt x="478" y="72"/>
                      </a:lnTo>
                      <a:lnTo>
                        <a:pt x="450" y="83"/>
                      </a:lnTo>
                      <a:lnTo>
                        <a:pt x="440" y="78"/>
                      </a:lnTo>
                      <a:lnTo>
                        <a:pt x="475" y="64"/>
                      </a:lnTo>
                      <a:lnTo>
                        <a:pt x="494" y="84"/>
                      </a:lnTo>
                      <a:lnTo>
                        <a:pt x="514" y="83"/>
                      </a:lnTo>
                      <a:lnTo>
                        <a:pt x="527" y="91"/>
                      </a:lnTo>
                      <a:lnTo>
                        <a:pt x="582" y="89"/>
                      </a:lnTo>
                      <a:lnTo>
                        <a:pt x="580" y="84"/>
                      </a:lnTo>
                      <a:lnTo>
                        <a:pt x="595" y="95"/>
                      </a:lnTo>
                      <a:lnTo>
                        <a:pt x="597" y="85"/>
                      </a:lnTo>
                      <a:lnTo>
                        <a:pt x="586" y="88"/>
                      </a:lnTo>
                      <a:lnTo>
                        <a:pt x="577" y="77"/>
                      </a:lnTo>
                      <a:lnTo>
                        <a:pt x="597" y="76"/>
                      </a:lnTo>
                      <a:lnTo>
                        <a:pt x="605" y="85"/>
                      </a:lnTo>
                      <a:lnTo>
                        <a:pt x="613" y="81"/>
                      </a:lnTo>
                      <a:lnTo>
                        <a:pt x="609" y="95"/>
                      </a:lnTo>
                      <a:lnTo>
                        <a:pt x="624" y="102"/>
                      </a:lnTo>
                      <a:lnTo>
                        <a:pt x="620" y="84"/>
                      </a:lnTo>
                      <a:lnTo>
                        <a:pt x="647" y="72"/>
                      </a:lnTo>
                      <a:lnTo>
                        <a:pt x="640" y="64"/>
                      </a:lnTo>
                      <a:lnTo>
                        <a:pt x="632" y="70"/>
                      </a:lnTo>
                      <a:lnTo>
                        <a:pt x="646" y="54"/>
                      </a:lnTo>
                      <a:lnTo>
                        <a:pt x="606" y="43"/>
                      </a:lnTo>
                      <a:lnTo>
                        <a:pt x="610" y="15"/>
                      </a:lnTo>
                      <a:lnTo>
                        <a:pt x="620" y="16"/>
                      </a:lnTo>
                      <a:lnTo>
                        <a:pt x="625" y="0"/>
                      </a:lnTo>
                      <a:lnTo>
                        <a:pt x="655" y="15"/>
                      </a:lnTo>
                      <a:lnTo>
                        <a:pt x="655" y="25"/>
                      </a:lnTo>
                      <a:lnTo>
                        <a:pt x="676" y="40"/>
                      </a:lnTo>
                      <a:lnTo>
                        <a:pt x="663" y="39"/>
                      </a:lnTo>
                      <a:lnTo>
                        <a:pt x="668" y="44"/>
                      </a:lnTo>
                      <a:lnTo>
                        <a:pt x="660" y="50"/>
                      </a:lnTo>
                      <a:lnTo>
                        <a:pt x="685" y="54"/>
                      </a:lnTo>
                      <a:lnTo>
                        <a:pt x="677" y="57"/>
                      </a:lnTo>
                      <a:lnTo>
                        <a:pt x="691" y="80"/>
                      </a:lnTo>
                      <a:lnTo>
                        <a:pt x="704" y="59"/>
                      </a:lnTo>
                      <a:lnTo>
                        <a:pt x="721" y="68"/>
                      </a:lnTo>
                      <a:lnTo>
                        <a:pt x="726" y="81"/>
                      </a:lnTo>
                      <a:lnTo>
                        <a:pt x="717" y="85"/>
                      </a:lnTo>
                      <a:lnTo>
                        <a:pt x="733" y="102"/>
                      </a:lnTo>
                      <a:lnTo>
                        <a:pt x="743" y="98"/>
                      </a:lnTo>
                      <a:lnTo>
                        <a:pt x="755" y="72"/>
                      </a:lnTo>
                      <a:lnTo>
                        <a:pt x="769" y="70"/>
                      </a:lnTo>
                      <a:lnTo>
                        <a:pt x="758" y="48"/>
                      </a:lnTo>
                      <a:lnTo>
                        <a:pt x="797" y="50"/>
                      </a:lnTo>
                      <a:lnTo>
                        <a:pt x="813" y="62"/>
                      </a:lnTo>
                      <a:lnTo>
                        <a:pt x="807" y="69"/>
                      </a:lnTo>
                      <a:lnTo>
                        <a:pt x="814" y="72"/>
                      </a:lnTo>
                      <a:lnTo>
                        <a:pt x="797" y="76"/>
                      </a:lnTo>
                      <a:lnTo>
                        <a:pt x="813" y="104"/>
                      </a:lnTo>
                      <a:lnTo>
                        <a:pt x="787" y="120"/>
                      </a:lnTo>
                      <a:lnTo>
                        <a:pt x="778" y="113"/>
                      </a:lnTo>
                      <a:lnTo>
                        <a:pt x="782" y="123"/>
                      </a:lnTo>
                      <a:lnTo>
                        <a:pt x="743" y="116"/>
                      </a:lnTo>
                      <a:lnTo>
                        <a:pt x="751" y="125"/>
                      </a:lnTo>
                      <a:lnTo>
                        <a:pt x="735" y="140"/>
                      </a:lnTo>
                      <a:lnTo>
                        <a:pt x="695" y="129"/>
                      </a:lnTo>
                      <a:lnTo>
                        <a:pt x="710" y="140"/>
                      </a:lnTo>
                      <a:lnTo>
                        <a:pt x="739" y="143"/>
                      </a:lnTo>
                      <a:lnTo>
                        <a:pt x="719" y="166"/>
                      </a:lnTo>
                      <a:lnTo>
                        <a:pt x="698" y="164"/>
                      </a:lnTo>
                      <a:lnTo>
                        <a:pt x="687" y="177"/>
                      </a:lnTo>
                      <a:lnTo>
                        <a:pt x="650" y="166"/>
                      </a:lnTo>
                      <a:lnTo>
                        <a:pt x="685" y="177"/>
                      </a:lnTo>
                      <a:lnTo>
                        <a:pt x="689" y="187"/>
                      </a:lnTo>
                      <a:lnTo>
                        <a:pt x="663" y="190"/>
                      </a:lnTo>
                      <a:lnTo>
                        <a:pt x="668" y="193"/>
                      </a:lnTo>
                      <a:lnTo>
                        <a:pt x="661" y="194"/>
                      </a:lnTo>
                      <a:lnTo>
                        <a:pt x="661" y="203"/>
                      </a:lnTo>
                      <a:lnTo>
                        <a:pt x="633" y="216"/>
                      </a:lnTo>
                      <a:lnTo>
                        <a:pt x="627" y="259"/>
                      </a:lnTo>
                      <a:lnTo>
                        <a:pt x="638" y="268"/>
                      </a:lnTo>
                      <a:lnTo>
                        <a:pt x="653" y="263"/>
                      </a:lnTo>
                      <a:lnTo>
                        <a:pt x="659" y="296"/>
                      </a:lnTo>
                      <a:lnTo>
                        <a:pt x="681" y="289"/>
                      </a:lnTo>
                      <a:lnTo>
                        <a:pt x="707" y="298"/>
                      </a:lnTo>
                      <a:lnTo>
                        <a:pt x="759" y="322"/>
                      </a:lnTo>
                      <a:lnTo>
                        <a:pt x="755" y="331"/>
                      </a:lnTo>
                      <a:lnTo>
                        <a:pt x="760" y="324"/>
                      </a:lnTo>
                      <a:lnTo>
                        <a:pt x="800" y="326"/>
                      </a:lnTo>
                      <a:lnTo>
                        <a:pt x="800" y="362"/>
                      </a:lnTo>
                      <a:lnTo>
                        <a:pt x="812" y="374"/>
                      </a:lnTo>
                      <a:lnTo>
                        <a:pt x="803" y="376"/>
                      </a:lnTo>
                      <a:lnTo>
                        <a:pt x="823" y="383"/>
                      </a:lnTo>
                      <a:lnTo>
                        <a:pt x="817" y="394"/>
                      </a:lnTo>
                      <a:lnTo>
                        <a:pt x="836" y="394"/>
                      </a:lnTo>
                      <a:lnTo>
                        <a:pt x="861" y="374"/>
                      </a:lnTo>
                      <a:lnTo>
                        <a:pt x="850" y="370"/>
                      </a:lnTo>
                      <a:lnTo>
                        <a:pt x="836" y="336"/>
                      </a:lnTo>
                      <a:lnTo>
                        <a:pt x="884" y="307"/>
                      </a:lnTo>
                      <a:lnTo>
                        <a:pt x="877" y="307"/>
                      </a:lnTo>
                      <a:lnTo>
                        <a:pt x="866" y="271"/>
                      </a:lnTo>
                      <a:lnTo>
                        <a:pt x="849" y="263"/>
                      </a:lnTo>
                      <a:lnTo>
                        <a:pt x="872" y="248"/>
                      </a:lnTo>
                      <a:lnTo>
                        <a:pt x="864" y="241"/>
                      </a:lnTo>
                      <a:lnTo>
                        <a:pt x="867" y="228"/>
                      </a:lnTo>
                      <a:lnTo>
                        <a:pt x="857" y="226"/>
                      </a:lnTo>
                      <a:lnTo>
                        <a:pt x="867" y="214"/>
                      </a:lnTo>
                      <a:lnTo>
                        <a:pt x="856" y="205"/>
                      </a:lnTo>
                      <a:lnTo>
                        <a:pt x="862" y="194"/>
                      </a:lnTo>
                      <a:lnTo>
                        <a:pt x="899" y="201"/>
                      </a:lnTo>
                      <a:lnTo>
                        <a:pt x="916" y="196"/>
                      </a:lnTo>
                      <a:lnTo>
                        <a:pt x="947" y="214"/>
                      </a:lnTo>
                      <a:lnTo>
                        <a:pt x="947" y="221"/>
                      </a:lnTo>
                      <a:lnTo>
                        <a:pt x="974" y="223"/>
                      </a:lnTo>
                      <a:lnTo>
                        <a:pt x="977" y="240"/>
                      </a:lnTo>
                      <a:lnTo>
                        <a:pt x="952" y="240"/>
                      </a:lnTo>
                      <a:lnTo>
                        <a:pt x="973" y="243"/>
                      </a:lnTo>
                      <a:lnTo>
                        <a:pt x="980" y="254"/>
                      </a:lnTo>
                      <a:lnTo>
                        <a:pt x="958" y="269"/>
                      </a:lnTo>
                      <a:lnTo>
                        <a:pt x="990" y="261"/>
                      </a:lnTo>
                      <a:lnTo>
                        <a:pt x="992" y="274"/>
                      </a:lnTo>
                      <a:lnTo>
                        <a:pt x="978" y="280"/>
                      </a:lnTo>
                      <a:lnTo>
                        <a:pt x="997" y="267"/>
                      </a:lnTo>
                      <a:lnTo>
                        <a:pt x="1000" y="275"/>
                      </a:lnTo>
                      <a:lnTo>
                        <a:pt x="1018" y="262"/>
                      </a:lnTo>
                      <a:lnTo>
                        <a:pt x="1022" y="269"/>
                      </a:lnTo>
                      <a:lnTo>
                        <a:pt x="1034" y="251"/>
                      </a:lnTo>
                      <a:lnTo>
                        <a:pt x="1030" y="247"/>
                      </a:lnTo>
                      <a:lnTo>
                        <a:pt x="1045" y="236"/>
                      </a:lnTo>
                      <a:lnTo>
                        <a:pt x="1061" y="256"/>
                      </a:lnTo>
                      <a:lnTo>
                        <a:pt x="1047" y="261"/>
                      </a:lnTo>
                      <a:lnTo>
                        <a:pt x="1062" y="258"/>
                      </a:lnTo>
                      <a:lnTo>
                        <a:pt x="1068" y="266"/>
                      </a:lnTo>
                      <a:lnTo>
                        <a:pt x="1058" y="268"/>
                      </a:lnTo>
                      <a:lnTo>
                        <a:pt x="1071" y="270"/>
                      </a:lnTo>
                      <a:lnTo>
                        <a:pt x="1062" y="276"/>
                      </a:lnTo>
                      <a:lnTo>
                        <a:pt x="1072" y="274"/>
                      </a:lnTo>
                      <a:lnTo>
                        <a:pt x="1079" y="283"/>
                      </a:lnTo>
                      <a:lnTo>
                        <a:pt x="1074" y="287"/>
                      </a:lnTo>
                      <a:lnTo>
                        <a:pt x="1087" y="294"/>
                      </a:lnTo>
                      <a:lnTo>
                        <a:pt x="1066" y="301"/>
                      </a:lnTo>
                      <a:lnTo>
                        <a:pt x="1082" y="301"/>
                      </a:lnTo>
                      <a:lnTo>
                        <a:pt x="1078" y="308"/>
                      </a:lnTo>
                      <a:lnTo>
                        <a:pt x="1101" y="315"/>
                      </a:lnTo>
                      <a:lnTo>
                        <a:pt x="1110" y="331"/>
                      </a:lnTo>
                      <a:lnTo>
                        <a:pt x="1118" y="325"/>
                      </a:lnTo>
                      <a:lnTo>
                        <a:pt x="1141" y="336"/>
                      </a:lnTo>
                      <a:lnTo>
                        <a:pt x="1091" y="350"/>
                      </a:lnTo>
                      <a:lnTo>
                        <a:pt x="1101" y="357"/>
                      </a:lnTo>
                      <a:lnTo>
                        <a:pt x="1143" y="342"/>
                      </a:lnTo>
                      <a:lnTo>
                        <a:pt x="1143" y="355"/>
                      </a:lnTo>
                      <a:lnTo>
                        <a:pt x="1162" y="352"/>
                      </a:lnTo>
                      <a:lnTo>
                        <a:pt x="1165" y="359"/>
                      </a:lnTo>
                      <a:lnTo>
                        <a:pt x="1156" y="359"/>
                      </a:lnTo>
                      <a:lnTo>
                        <a:pt x="1165" y="375"/>
                      </a:lnTo>
                      <a:lnTo>
                        <a:pt x="1106" y="406"/>
                      </a:lnTo>
                      <a:lnTo>
                        <a:pt x="1020" y="406"/>
                      </a:lnTo>
                      <a:lnTo>
                        <a:pt x="984" y="428"/>
                      </a:lnTo>
                      <a:lnTo>
                        <a:pt x="955" y="460"/>
                      </a:lnTo>
                      <a:lnTo>
                        <a:pt x="984" y="436"/>
                      </a:lnTo>
                      <a:lnTo>
                        <a:pt x="1031" y="421"/>
                      </a:lnTo>
                      <a:lnTo>
                        <a:pt x="1047" y="433"/>
                      </a:lnTo>
                      <a:lnTo>
                        <a:pt x="1017" y="441"/>
                      </a:lnTo>
                      <a:lnTo>
                        <a:pt x="1041" y="446"/>
                      </a:lnTo>
                      <a:lnTo>
                        <a:pt x="1034" y="455"/>
                      </a:lnTo>
                      <a:lnTo>
                        <a:pt x="1052" y="473"/>
                      </a:lnTo>
                      <a:lnTo>
                        <a:pt x="1088" y="480"/>
                      </a:lnTo>
                      <a:lnTo>
                        <a:pt x="1098" y="457"/>
                      </a:lnTo>
                      <a:lnTo>
                        <a:pt x="1098" y="471"/>
                      </a:lnTo>
                      <a:lnTo>
                        <a:pt x="1108" y="469"/>
                      </a:lnTo>
                      <a:lnTo>
                        <a:pt x="1091" y="484"/>
                      </a:lnTo>
                      <a:lnTo>
                        <a:pt x="1049" y="493"/>
                      </a:lnTo>
                      <a:lnTo>
                        <a:pt x="1033" y="510"/>
                      </a:lnTo>
                      <a:lnTo>
                        <a:pt x="1022" y="495"/>
                      </a:lnTo>
                      <a:lnTo>
                        <a:pt x="1061" y="482"/>
                      </a:lnTo>
                      <a:lnTo>
                        <a:pt x="1041" y="482"/>
                      </a:lnTo>
                      <a:lnTo>
                        <a:pt x="1045" y="473"/>
                      </a:lnTo>
                      <a:lnTo>
                        <a:pt x="1010" y="484"/>
                      </a:lnTo>
                      <a:lnTo>
                        <a:pt x="1000" y="477"/>
                      </a:lnTo>
                      <a:lnTo>
                        <a:pt x="1000" y="457"/>
                      </a:lnTo>
                      <a:lnTo>
                        <a:pt x="977" y="451"/>
                      </a:lnTo>
                      <a:lnTo>
                        <a:pt x="960" y="483"/>
                      </a:lnTo>
                      <a:lnTo>
                        <a:pt x="890" y="495"/>
                      </a:lnTo>
                      <a:lnTo>
                        <a:pt x="843" y="507"/>
                      </a:lnTo>
                      <a:lnTo>
                        <a:pt x="835" y="513"/>
                      </a:lnTo>
                      <a:lnTo>
                        <a:pt x="846" y="514"/>
                      </a:lnTo>
                      <a:lnTo>
                        <a:pt x="848" y="520"/>
                      </a:lnTo>
                      <a:lnTo>
                        <a:pt x="790" y="532"/>
                      </a:lnTo>
                      <a:lnTo>
                        <a:pt x="794" y="526"/>
                      </a:lnTo>
                      <a:lnTo>
                        <a:pt x="797" y="522"/>
                      </a:lnTo>
                      <a:lnTo>
                        <a:pt x="799" y="517"/>
                      </a:lnTo>
                      <a:lnTo>
                        <a:pt x="808" y="512"/>
                      </a:lnTo>
                      <a:lnTo>
                        <a:pt x="810" y="484"/>
                      </a:lnTo>
                      <a:lnTo>
                        <a:pt x="820" y="493"/>
                      </a:lnTo>
                      <a:lnTo>
                        <a:pt x="837" y="490"/>
                      </a:lnTo>
                      <a:lnTo>
                        <a:pt x="822" y="473"/>
                      </a:lnTo>
                      <a:lnTo>
                        <a:pt x="772" y="465"/>
                      </a:lnTo>
                      <a:lnTo>
                        <a:pt x="770" y="465"/>
                      </a:lnTo>
                      <a:lnTo>
                        <a:pt x="765" y="442"/>
                      </a:lnTo>
                      <a:lnTo>
                        <a:pt x="755" y="444"/>
                      </a:lnTo>
                      <a:lnTo>
                        <a:pt x="746" y="430"/>
                      </a:lnTo>
                      <a:lnTo>
                        <a:pt x="735" y="430"/>
                      </a:lnTo>
                      <a:lnTo>
                        <a:pt x="735" y="437"/>
                      </a:lnTo>
                      <a:lnTo>
                        <a:pt x="722" y="426"/>
                      </a:lnTo>
                      <a:lnTo>
                        <a:pt x="699" y="442"/>
                      </a:lnTo>
                      <a:lnTo>
                        <a:pt x="634" y="430"/>
                      </a:lnTo>
                      <a:lnTo>
                        <a:pt x="626" y="419"/>
                      </a:lnTo>
                      <a:lnTo>
                        <a:pt x="625" y="427"/>
                      </a:lnTo>
                      <a:lnTo>
                        <a:pt x="249" y="427"/>
                      </a:lnTo>
                      <a:lnTo>
                        <a:pt x="244" y="414"/>
                      </a:lnTo>
                      <a:lnTo>
                        <a:pt x="223" y="411"/>
                      </a:lnTo>
                      <a:lnTo>
                        <a:pt x="224" y="403"/>
                      </a:lnTo>
                      <a:lnTo>
                        <a:pt x="182" y="392"/>
                      </a:lnTo>
                      <a:lnTo>
                        <a:pt x="187" y="387"/>
                      </a:lnTo>
                      <a:lnTo>
                        <a:pt x="178" y="372"/>
                      </a:lnTo>
                      <a:lnTo>
                        <a:pt x="167" y="370"/>
                      </a:lnTo>
                      <a:lnTo>
                        <a:pt x="144" y="338"/>
                      </a:lnTo>
                      <a:lnTo>
                        <a:pt x="148" y="328"/>
                      </a:lnTo>
                      <a:lnTo>
                        <a:pt x="149" y="310"/>
                      </a:lnTo>
                      <a:lnTo>
                        <a:pt x="123" y="301"/>
                      </a:lnTo>
                      <a:lnTo>
                        <a:pt x="75" y="245"/>
                      </a:lnTo>
                      <a:lnTo>
                        <a:pt x="48" y="261"/>
                      </a:lnTo>
                      <a:lnTo>
                        <a:pt x="41" y="253"/>
                      </a:lnTo>
                      <a:lnTo>
                        <a:pt x="39" y="252"/>
                      </a:lnTo>
                      <a:lnTo>
                        <a:pt x="25" y="236"/>
                      </a:lnTo>
                      <a:lnTo>
                        <a:pt x="0" y="236"/>
                      </a:lnTo>
                      <a:lnTo>
                        <a:pt x="0" y="236"/>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grpSp>
          <p:nvGrpSpPr>
            <p:cNvPr id="6" name="Middle East">
              <a:extLst>
                <a:ext uri="{FF2B5EF4-FFF2-40B4-BE49-F238E27FC236}">
                  <a16:creationId xmlns:a16="http://schemas.microsoft.com/office/drawing/2014/main" id="{5551D5EF-0DAE-DF0A-63CE-8343B53D5C43}"/>
                </a:ext>
              </a:extLst>
            </p:cNvPr>
            <p:cNvGrpSpPr>
              <a:grpSpLocks noGrp="1" noUngrp="1" noRot="1" noMove="1" noResize="1"/>
            </p:cNvGrpSpPr>
            <p:nvPr/>
          </p:nvGrpSpPr>
          <p:grpSpPr>
            <a:xfrm>
              <a:off x="5662447" y="3937124"/>
              <a:ext cx="2677781" cy="2049556"/>
              <a:chOff x="5390022" y="3303182"/>
              <a:chExt cx="1338676" cy="1024778"/>
            </a:xfrm>
            <a:grpFill/>
          </p:grpSpPr>
          <p:sp>
            <p:nvSpPr>
              <p:cNvPr id="207" name="Yemen">
                <a:extLst>
                  <a:ext uri="{FF2B5EF4-FFF2-40B4-BE49-F238E27FC236}">
                    <a16:creationId xmlns:a16="http://schemas.microsoft.com/office/drawing/2014/main" id="{A4A3C882-56E5-8CF0-0FB5-F190B7E36D5D}"/>
                  </a:ext>
                </a:extLst>
              </p:cNvPr>
              <p:cNvSpPr>
                <a:spLocks noGrp="1" noRot="1" noMove="1" noResize="1" noEditPoints="1" noAdjustHandles="1" noChangeArrowheads="1" noChangeShapeType="1"/>
              </p:cNvSpPr>
              <p:nvPr/>
            </p:nvSpPr>
            <p:spPr bwMode="gray">
              <a:xfrm>
                <a:off x="5803029" y="4150563"/>
                <a:ext cx="254195" cy="177397"/>
              </a:xfrm>
              <a:custGeom>
                <a:avLst/>
                <a:gdLst>
                  <a:gd name="connsiteX0" fmla="*/ 0 w 9925"/>
                  <a:gd name="connsiteY0" fmla="*/ 9875 h 9875"/>
                  <a:gd name="connsiteX1" fmla="*/ 0 w 9925"/>
                  <a:gd name="connsiteY1" fmla="*/ 9875 h 9875"/>
                  <a:gd name="connsiteX2" fmla="*/ 1993 w 9925"/>
                  <a:gd name="connsiteY2" fmla="*/ 7750 h 9875"/>
                  <a:gd name="connsiteX3" fmla="*/ 2180 w 9925"/>
                  <a:gd name="connsiteY3" fmla="*/ 6625 h 9875"/>
                  <a:gd name="connsiteX4" fmla="*/ 2932 w 9925"/>
                  <a:gd name="connsiteY4" fmla="*/ 5375 h 9875"/>
                  <a:gd name="connsiteX5" fmla="*/ 5564 w 9925"/>
                  <a:gd name="connsiteY5" fmla="*/ 1125 h 9875"/>
                  <a:gd name="connsiteX6" fmla="*/ 8872 w 9925"/>
                  <a:gd name="connsiteY6" fmla="*/ 0 h 9875"/>
                  <a:gd name="connsiteX7" fmla="*/ 9925 w 9925"/>
                  <a:gd name="connsiteY7" fmla="*/ 3875 h 9875"/>
                  <a:gd name="connsiteX8" fmla="*/ 9098 w 9925"/>
                  <a:gd name="connsiteY8" fmla="*/ 5375 h 9875"/>
                  <a:gd name="connsiteX9" fmla="*/ 5263 w 9925"/>
                  <a:gd name="connsiteY9" fmla="*/ 8000 h 9875"/>
                  <a:gd name="connsiteX10" fmla="*/ 0 w 9925"/>
                  <a:gd name="connsiteY10" fmla="*/ 9875 h 9875"/>
                  <a:gd name="connsiteX11" fmla="*/ 0 w 9925"/>
                  <a:gd name="connsiteY11" fmla="*/ 9875 h 9875"/>
                  <a:gd name="connsiteX0" fmla="*/ 0 w 10000"/>
                  <a:gd name="connsiteY0" fmla="*/ 10000 h 10000"/>
                  <a:gd name="connsiteX1" fmla="*/ 0 w 10000"/>
                  <a:gd name="connsiteY1" fmla="*/ 10000 h 10000"/>
                  <a:gd name="connsiteX2" fmla="*/ 2008 w 10000"/>
                  <a:gd name="connsiteY2" fmla="*/ 7848 h 10000"/>
                  <a:gd name="connsiteX3" fmla="*/ 1810 w 10000"/>
                  <a:gd name="connsiteY3" fmla="*/ 5900 h 10000"/>
                  <a:gd name="connsiteX4" fmla="*/ 2954 w 10000"/>
                  <a:gd name="connsiteY4" fmla="*/ 5443 h 10000"/>
                  <a:gd name="connsiteX5" fmla="*/ 5606 w 10000"/>
                  <a:gd name="connsiteY5" fmla="*/ 1139 h 10000"/>
                  <a:gd name="connsiteX6" fmla="*/ 8939 w 10000"/>
                  <a:gd name="connsiteY6" fmla="*/ 0 h 10000"/>
                  <a:gd name="connsiteX7" fmla="*/ 10000 w 10000"/>
                  <a:gd name="connsiteY7" fmla="*/ 3924 h 10000"/>
                  <a:gd name="connsiteX8" fmla="*/ 9167 w 10000"/>
                  <a:gd name="connsiteY8" fmla="*/ 5443 h 10000"/>
                  <a:gd name="connsiteX9" fmla="*/ 5303 w 10000"/>
                  <a:gd name="connsiteY9" fmla="*/ 8101 h 10000"/>
                  <a:gd name="connsiteX10" fmla="*/ 0 w 10000"/>
                  <a:gd name="connsiteY10" fmla="*/ 10000 h 10000"/>
                  <a:gd name="connsiteX11" fmla="*/ 0 w 10000"/>
                  <a:gd name="connsiteY11" fmla="*/ 10000 h 10000"/>
                  <a:gd name="connsiteX0" fmla="*/ 0 w 10000"/>
                  <a:gd name="connsiteY0" fmla="*/ 10000 h 10000"/>
                  <a:gd name="connsiteX1" fmla="*/ 0 w 10000"/>
                  <a:gd name="connsiteY1" fmla="*/ 10000 h 10000"/>
                  <a:gd name="connsiteX2" fmla="*/ 850 w 10000"/>
                  <a:gd name="connsiteY2" fmla="*/ 6392 h 10000"/>
                  <a:gd name="connsiteX3" fmla="*/ 1810 w 10000"/>
                  <a:gd name="connsiteY3" fmla="*/ 5900 h 10000"/>
                  <a:gd name="connsiteX4" fmla="*/ 2954 w 10000"/>
                  <a:gd name="connsiteY4" fmla="*/ 5443 h 10000"/>
                  <a:gd name="connsiteX5" fmla="*/ 5606 w 10000"/>
                  <a:gd name="connsiteY5" fmla="*/ 1139 h 10000"/>
                  <a:gd name="connsiteX6" fmla="*/ 8939 w 10000"/>
                  <a:gd name="connsiteY6" fmla="*/ 0 h 10000"/>
                  <a:gd name="connsiteX7" fmla="*/ 10000 w 10000"/>
                  <a:gd name="connsiteY7" fmla="*/ 3924 h 10000"/>
                  <a:gd name="connsiteX8" fmla="*/ 9167 w 10000"/>
                  <a:gd name="connsiteY8" fmla="*/ 5443 h 10000"/>
                  <a:gd name="connsiteX9" fmla="*/ 5303 w 10000"/>
                  <a:gd name="connsiteY9" fmla="*/ 8101 h 10000"/>
                  <a:gd name="connsiteX10" fmla="*/ 0 w 10000"/>
                  <a:gd name="connsiteY10" fmla="*/ 10000 h 10000"/>
                  <a:gd name="connsiteX11" fmla="*/ 0 w 10000"/>
                  <a:gd name="connsiteY11" fmla="*/ 10000 h 10000"/>
                  <a:gd name="connsiteX0" fmla="*/ 0 w 10000"/>
                  <a:gd name="connsiteY0" fmla="*/ 10000 h 10000"/>
                  <a:gd name="connsiteX1" fmla="*/ 0 w 10000"/>
                  <a:gd name="connsiteY1" fmla="*/ 10000 h 10000"/>
                  <a:gd name="connsiteX2" fmla="*/ 850 w 10000"/>
                  <a:gd name="connsiteY2" fmla="*/ 6392 h 10000"/>
                  <a:gd name="connsiteX3" fmla="*/ 1553 w 10000"/>
                  <a:gd name="connsiteY3" fmla="*/ 4606 h 10000"/>
                  <a:gd name="connsiteX4" fmla="*/ 2954 w 10000"/>
                  <a:gd name="connsiteY4" fmla="*/ 5443 h 10000"/>
                  <a:gd name="connsiteX5" fmla="*/ 5606 w 10000"/>
                  <a:gd name="connsiteY5" fmla="*/ 1139 h 10000"/>
                  <a:gd name="connsiteX6" fmla="*/ 8939 w 10000"/>
                  <a:gd name="connsiteY6" fmla="*/ 0 h 10000"/>
                  <a:gd name="connsiteX7" fmla="*/ 10000 w 10000"/>
                  <a:gd name="connsiteY7" fmla="*/ 3924 h 10000"/>
                  <a:gd name="connsiteX8" fmla="*/ 9167 w 10000"/>
                  <a:gd name="connsiteY8" fmla="*/ 5443 h 10000"/>
                  <a:gd name="connsiteX9" fmla="*/ 5303 w 10000"/>
                  <a:gd name="connsiteY9" fmla="*/ 8101 h 10000"/>
                  <a:gd name="connsiteX10" fmla="*/ 0 w 10000"/>
                  <a:gd name="connsiteY10" fmla="*/ 10000 h 10000"/>
                  <a:gd name="connsiteX11" fmla="*/ 0 w 10000"/>
                  <a:gd name="connsiteY11" fmla="*/ 10000 h 10000"/>
                  <a:gd name="connsiteX0" fmla="*/ 0 w 10000"/>
                  <a:gd name="connsiteY0" fmla="*/ 10000 h 10000"/>
                  <a:gd name="connsiteX1" fmla="*/ 0 w 10000"/>
                  <a:gd name="connsiteY1" fmla="*/ 10000 h 10000"/>
                  <a:gd name="connsiteX2" fmla="*/ 850 w 10000"/>
                  <a:gd name="connsiteY2" fmla="*/ 6392 h 10000"/>
                  <a:gd name="connsiteX3" fmla="*/ 1553 w 10000"/>
                  <a:gd name="connsiteY3" fmla="*/ 4606 h 10000"/>
                  <a:gd name="connsiteX4" fmla="*/ 2954 w 10000"/>
                  <a:gd name="connsiteY4" fmla="*/ 5443 h 10000"/>
                  <a:gd name="connsiteX5" fmla="*/ 5606 w 10000"/>
                  <a:gd name="connsiteY5" fmla="*/ 1139 h 10000"/>
                  <a:gd name="connsiteX6" fmla="*/ 8939 w 10000"/>
                  <a:gd name="connsiteY6" fmla="*/ 0 h 10000"/>
                  <a:gd name="connsiteX7" fmla="*/ 10000 w 10000"/>
                  <a:gd name="connsiteY7" fmla="*/ 3924 h 10000"/>
                  <a:gd name="connsiteX8" fmla="*/ 9167 w 10000"/>
                  <a:gd name="connsiteY8" fmla="*/ 5443 h 10000"/>
                  <a:gd name="connsiteX9" fmla="*/ 5303 w 10000"/>
                  <a:gd name="connsiteY9" fmla="*/ 8101 h 10000"/>
                  <a:gd name="connsiteX10" fmla="*/ 0 w 10000"/>
                  <a:gd name="connsiteY10" fmla="*/ 10000 h 10000"/>
                  <a:gd name="connsiteX11" fmla="*/ 0 w 10000"/>
                  <a:gd name="connsiteY11" fmla="*/ 10000 h 10000"/>
                  <a:gd name="connsiteX0" fmla="*/ 0 w 10000"/>
                  <a:gd name="connsiteY0" fmla="*/ 10000 h 10000"/>
                  <a:gd name="connsiteX1" fmla="*/ 0 w 10000"/>
                  <a:gd name="connsiteY1" fmla="*/ 10000 h 10000"/>
                  <a:gd name="connsiteX2" fmla="*/ 850 w 10000"/>
                  <a:gd name="connsiteY2" fmla="*/ 6392 h 10000"/>
                  <a:gd name="connsiteX3" fmla="*/ 1553 w 10000"/>
                  <a:gd name="connsiteY3" fmla="*/ 4606 h 10000"/>
                  <a:gd name="connsiteX4" fmla="*/ 2954 w 10000"/>
                  <a:gd name="connsiteY4" fmla="*/ 5443 h 10000"/>
                  <a:gd name="connsiteX5" fmla="*/ 5606 w 10000"/>
                  <a:gd name="connsiteY5" fmla="*/ 1139 h 10000"/>
                  <a:gd name="connsiteX6" fmla="*/ 8939 w 10000"/>
                  <a:gd name="connsiteY6" fmla="*/ 0 h 10000"/>
                  <a:gd name="connsiteX7" fmla="*/ 10000 w 10000"/>
                  <a:gd name="connsiteY7" fmla="*/ 3924 h 10000"/>
                  <a:gd name="connsiteX8" fmla="*/ 9167 w 10000"/>
                  <a:gd name="connsiteY8" fmla="*/ 5443 h 10000"/>
                  <a:gd name="connsiteX9" fmla="*/ 5303 w 10000"/>
                  <a:gd name="connsiteY9" fmla="*/ 8101 h 10000"/>
                  <a:gd name="connsiteX10" fmla="*/ 0 w 10000"/>
                  <a:gd name="connsiteY10" fmla="*/ 10000 h 10000"/>
                  <a:gd name="connsiteX11" fmla="*/ 0 w 10000"/>
                  <a:gd name="connsiteY11" fmla="*/ 10000 h 10000"/>
                  <a:gd name="connsiteX0" fmla="*/ 0 w 10000"/>
                  <a:gd name="connsiteY0" fmla="*/ 10000 h 10000"/>
                  <a:gd name="connsiteX1" fmla="*/ 0 w 10000"/>
                  <a:gd name="connsiteY1" fmla="*/ 10000 h 10000"/>
                  <a:gd name="connsiteX2" fmla="*/ 850 w 10000"/>
                  <a:gd name="connsiteY2" fmla="*/ 6392 h 10000"/>
                  <a:gd name="connsiteX3" fmla="*/ 1553 w 10000"/>
                  <a:gd name="connsiteY3" fmla="*/ 4606 h 10000"/>
                  <a:gd name="connsiteX4" fmla="*/ 2954 w 10000"/>
                  <a:gd name="connsiteY4" fmla="*/ 5443 h 10000"/>
                  <a:gd name="connsiteX5" fmla="*/ 5606 w 10000"/>
                  <a:gd name="connsiteY5" fmla="*/ 1139 h 10000"/>
                  <a:gd name="connsiteX6" fmla="*/ 8939 w 10000"/>
                  <a:gd name="connsiteY6" fmla="*/ 0 h 10000"/>
                  <a:gd name="connsiteX7" fmla="*/ 10000 w 10000"/>
                  <a:gd name="connsiteY7" fmla="*/ 3924 h 10000"/>
                  <a:gd name="connsiteX8" fmla="*/ 9167 w 10000"/>
                  <a:gd name="connsiteY8" fmla="*/ 5443 h 10000"/>
                  <a:gd name="connsiteX9" fmla="*/ 5303 w 10000"/>
                  <a:gd name="connsiteY9" fmla="*/ 8101 h 10000"/>
                  <a:gd name="connsiteX10" fmla="*/ 0 w 10000"/>
                  <a:gd name="connsiteY10" fmla="*/ 10000 h 10000"/>
                  <a:gd name="connsiteX11" fmla="*/ 0 w 10000"/>
                  <a:gd name="connsiteY11" fmla="*/ 10000 h 10000"/>
                  <a:gd name="connsiteX0" fmla="*/ 0 w 10000"/>
                  <a:gd name="connsiteY0" fmla="*/ 10000 h 10000"/>
                  <a:gd name="connsiteX1" fmla="*/ 0 w 10000"/>
                  <a:gd name="connsiteY1" fmla="*/ 10000 h 10000"/>
                  <a:gd name="connsiteX2" fmla="*/ 850 w 10000"/>
                  <a:gd name="connsiteY2" fmla="*/ 6392 h 10000"/>
                  <a:gd name="connsiteX3" fmla="*/ 1553 w 10000"/>
                  <a:gd name="connsiteY3" fmla="*/ 4606 h 10000"/>
                  <a:gd name="connsiteX4" fmla="*/ 2954 w 10000"/>
                  <a:gd name="connsiteY4" fmla="*/ 5443 h 10000"/>
                  <a:gd name="connsiteX5" fmla="*/ 5606 w 10000"/>
                  <a:gd name="connsiteY5" fmla="*/ 1139 h 10000"/>
                  <a:gd name="connsiteX6" fmla="*/ 8939 w 10000"/>
                  <a:gd name="connsiteY6" fmla="*/ 0 h 10000"/>
                  <a:gd name="connsiteX7" fmla="*/ 10000 w 10000"/>
                  <a:gd name="connsiteY7" fmla="*/ 3924 h 10000"/>
                  <a:gd name="connsiteX8" fmla="*/ 9167 w 10000"/>
                  <a:gd name="connsiteY8" fmla="*/ 5443 h 10000"/>
                  <a:gd name="connsiteX9" fmla="*/ 5303 w 10000"/>
                  <a:gd name="connsiteY9" fmla="*/ 8101 h 10000"/>
                  <a:gd name="connsiteX10" fmla="*/ 0 w 10000"/>
                  <a:gd name="connsiteY10" fmla="*/ 10000 h 10000"/>
                  <a:gd name="connsiteX11" fmla="*/ 0 w 10000"/>
                  <a:gd name="connsiteY11" fmla="*/ 10000 h 10000"/>
                  <a:gd name="connsiteX0" fmla="*/ 0 w 10000"/>
                  <a:gd name="connsiteY0" fmla="*/ 10000 h 10000"/>
                  <a:gd name="connsiteX1" fmla="*/ 0 w 10000"/>
                  <a:gd name="connsiteY1" fmla="*/ 10000 h 10000"/>
                  <a:gd name="connsiteX2" fmla="*/ 850 w 10000"/>
                  <a:gd name="connsiteY2" fmla="*/ 6392 h 10000"/>
                  <a:gd name="connsiteX3" fmla="*/ 1553 w 10000"/>
                  <a:gd name="connsiteY3" fmla="*/ 4606 h 10000"/>
                  <a:gd name="connsiteX4" fmla="*/ 2954 w 10000"/>
                  <a:gd name="connsiteY4" fmla="*/ 5443 h 10000"/>
                  <a:gd name="connsiteX5" fmla="*/ 5606 w 10000"/>
                  <a:gd name="connsiteY5" fmla="*/ 1139 h 10000"/>
                  <a:gd name="connsiteX6" fmla="*/ 8939 w 10000"/>
                  <a:gd name="connsiteY6" fmla="*/ 0 h 10000"/>
                  <a:gd name="connsiteX7" fmla="*/ 10000 w 10000"/>
                  <a:gd name="connsiteY7" fmla="*/ 3924 h 10000"/>
                  <a:gd name="connsiteX8" fmla="*/ 9167 w 10000"/>
                  <a:gd name="connsiteY8" fmla="*/ 5443 h 10000"/>
                  <a:gd name="connsiteX9" fmla="*/ 5303 w 10000"/>
                  <a:gd name="connsiteY9" fmla="*/ 8101 h 10000"/>
                  <a:gd name="connsiteX10" fmla="*/ 0 w 10000"/>
                  <a:gd name="connsiteY10" fmla="*/ 10000 h 10000"/>
                  <a:gd name="connsiteX11" fmla="*/ 0 w 10000"/>
                  <a:gd name="connsiteY11" fmla="*/ 10000 h 10000"/>
                  <a:gd name="connsiteX0" fmla="*/ 0 w 10000"/>
                  <a:gd name="connsiteY0" fmla="*/ 10000 h 10000"/>
                  <a:gd name="connsiteX1" fmla="*/ 0 w 10000"/>
                  <a:gd name="connsiteY1" fmla="*/ 10000 h 10000"/>
                  <a:gd name="connsiteX2" fmla="*/ 850 w 10000"/>
                  <a:gd name="connsiteY2" fmla="*/ 6392 h 10000"/>
                  <a:gd name="connsiteX3" fmla="*/ 1553 w 10000"/>
                  <a:gd name="connsiteY3" fmla="*/ 4606 h 10000"/>
                  <a:gd name="connsiteX4" fmla="*/ 2954 w 10000"/>
                  <a:gd name="connsiteY4" fmla="*/ 5443 h 10000"/>
                  <a:gd name="connsiteX5" fmla="*/ 5606 w 10000"/>
                  <a:gd name="connsiteY5" fmla="*/ 1139 h 10000"/>
                  <a:gd name="connsiteX6" fmla="*/ 8939 w 10000"/>
                  <a:gd name="connsiteY6" fmla="*/ 0 h 10000"/>
                  <a:gd name="connsiteX7" fmla="*/ 10000 w 10000"/>
                  <a:gd name="connsiteY7" fmla="*/ 3924 h 10000"/>
                  <a:gd name="connsiteX8" fmla="*/ 9167 w 10000"/>
                  <a:gd name="connsiteY8" fmla="*/ 5443 h 10000"/>
                  <a:gd name="connsiteX9" fmla="*/ 5303 w 10000"/>
                  <a:gd name="connsiteY9" fmla="*/ 8101 h 10000"/>
                  <a:gd name="connsiteX10" fmla="*/ 0 w 10000"/>
                  <a:gd name="connsiteY10" fmla="*/ 10000 h 10000"/>
                  <a:gd name="connsiteX11" fmla="*/ 0 w 10000"/>
                  <a:gd name="connsiteY11" fmla="*/ 10000 h 10000"/>
                  <a:gd name="connsiteX0" fmla="*/ 0 w 10000"/>
                  <a:gd name="connsiteY0" fmla="*/ 10000 h 10000"/>
                  <a:gd name="connsiteX1" fmla="*/ 0 w 10000"/>
                  <a:gd name="connsiteY1" fmla="*/ 10000 h 10000"/>
                  <a:gd name="connsiteX2" fmla="*/ 850 w 10000"/>
                  <a:gd name="connsiteY2" fmla="*/ 6392 h 10000"/>
                  <a:gd name="connsiteX3" fmla="*/ 1553 w 10000"/>
                  <a:gd name="connsiteY3" fmla="*/ 4606 h 10000"/>
                  <a:gd name="connsiteX4" fmla="*/ 2954 w 10000"/>
                  <a:gd name="connsiteY4" fmla="*/ 5443 h 10000"/>
                  <a:gd name="connsiteX5" fmla="*/ 5606 w 10000"/>
                  <a:gd name="connsiteY5" fmla="*/ 1139 h 10000"/>
                  <a:gd name="connsiteX6" fmla="*/ 8939 w 10000"/>
                  <a:gd name="connsiteY6" fmla="*/ 0 h 10000"/>
                  <a:gd name="connsiteX7" fmla="*/ 10000 w 10000"/>
                  <a:gd name="connsiteY7" fmla="*/ 3924 h 10000"/>
                  <a:gd name="connsiteX8" fmla="*/ 9167 w 10000"/>
                  <a:gd name="connsiteY8" fmla="*/ 5443 h 10000"/>
                  <a:gd name="connsiteX9" fmla="*/ 5303 w 10000"/>
                  <a:gd name="connsiteY9" fmla="*/ 8101 h 10000"/>
                  <a:gd name="connsiteX10" fmla="*/ 0 w 10000"/>
                  <a:gd name="connsiteY10" fmla="*/ 10000 h 10000"/>
                  <a:gd name="connsiteX11" fmla="*/ 0 w 10000"/>
                  <a:gd name="connsiteY11" fmla="*/ 10000 h 10000"/>
                  <a:gd name="connsiteX0" fmla="*/ 0 w 10000"/>
                  <a:gd name="connsiteY0" fmla="*/ 10000 h 10000"/>
                  <a:gd name="connsiteX1" fmla="*/ 0 w 10000"/>
                  <a:gd name="connsiteY1" fmla="*/ 10000 h 10000"/>
                  <a:gd name="connsiteX2" fmla="*/ 850 w 10000"/>
                  <a:gd name="connsiteY2" fmla="*/ 6392 h 10000"/>
                  <a:gd name="connsiteX3" fmla="*/ 1553 w 10000"/>
                  <a:gd name="connsiteY3" fmla="*/ 4606 h 10000"/>
                  <a:gd name="connsiteX4" fmla="*/ 2954 w 10000"/>
                  <a:gd name="connsiteY4" fmla="*/ 5443 h 10000"/>
                  <a:gd name="connsiteX5" fmla="*/ 5606 w 10000"/>
                  <a:gd name="connsiteY5" fmla="*/ 1139 h 10000"/>
                  <a:gd name="connsiteX6" fmla="*/ 8939 w 10000"/>
                  <a:gd name="connsiteY6" fmla="*/ 0 h 10000"/>
                  <a:gd name="connsiteX7" fmla="*/ 10000 w 10000"/>
                  <a:gd name="connsiteY7" fmla="*/ 3924 h 10000"/>
                  <a:gd name="connsiteX8" fmla="*/ 9167 w 10000"/>
                  <a:gd name="connsiteY8" fmla="*/ 5443 h 10000"/>
                  <a:gd name="connsiteX9" fmla="*/ 5303 w 10000"/>
                  <a:gd name="connsiteY9" fmla="*/ 8101 h 10000"/>
                  <a:gd name="connsiteX10" fmla="*/ 0 w 10000"/>
                  <a:gd name="connsiteY10" fmla="*/ 10000 h 10000"/>
                  <a:gd name="connsiteX11" fmla="*/ 0 w 10000"/>
                  <a:gd name="connsiteY11" fmla="*/ 10000 h 10000"/>
                  <a:gd name="connsiteX0" fmla="*/ 0 w 10000"/>
                  <a:gd name="connsiteY0" fmla="*/ 10000 h 10000"/>
                  <a:gd name="connsiteX1" fmla="*/ 0 w 10000"/>
                  <a:gd name="connsiteY1" fmla="*/ 10000 h 10000"/>
                  <a:gd name="connsiteX2" fmla="*/ 850 w 10000"/>
                  <a:gd name="connsiteY2" fmla="*/ 6392 h 10000"/>
                  <a:gd name="connsiteX3" fmla="*/ 1553 w 10000"/>
                  <a:gd name="connsiteY3" fmla="*/ 4606 h 10000"/>
                  <a:gd name="connsiteX4" fmla="*/ 2954 w 10000"/>
                  <a:gd name="connsiteY4" fmla="*/ 5443 h 10000"/>
                  <a:gd name="connsiteX5" fmla="*/ 5606 w 10000"/>
                  <a:gd name="connsiteY5" fmla="*/ 1139 h 10000"/>
                  <a:gd name="connsiteX6" fmla="*/ 8939 w 10000"/>
                  <a:gd name="connsiteY6" fmla="*/ 0 h 10000"/>
                  <a:gd name="connsiteX7" fmla="*/ 10000 w 10000"/>
                  <a:gd name="connsiteY7" fmla="*/ 3924 h 10000"/>
                  <a:gd name="connsiteX8" fmla="*/ 9167 w 10000"/>
                  <a:gd name="connsiteY8" fmla="*/ 5443 h 10000"/>
                  <a:gd name="connsiteX9" fmla="*/ 5303 w 10000"/>
                  <a:gd name="connsiteY9" fmla="*/ 8101 h 10000"/>
                  <a:gd name="connsiteX10" fmla="*/ 0 w 10000"/>
                  <a:gd name="connsiteY10" fmla="*/ 10000 h 10000"/>
                  <a:gd name="connsiteX11" fmla="*/ 0 w 10000"/>
                  <a:gd name="connsiteY11" fmla="*/ 10000 h 10000"/>
                  <a:gd name="connsiteX0" fmla="*/ 0 w 10000"/>
                  <a:gd name="connsiteY0" fmla="*/ 10000 h 10000"/>
                  <a:gd name="connsiteX1" fmla="*/ 0 w 10000"/>
                  <a:gd name="connsiteY1" fmla="*/ 10000 h 10000"/>
                  <a:gd name="connsiteX2" fmla="*/ 850 w 10000"/>
                  <a:gd name="connsiteY2" fmla="*/ 6392 h 10000"/>
                  <a:gd name="connsiteX3" fmla="*/ 1553 w 10000"/>
                  <a:gd name="connsiteY3" fmla="*/ 4606 h 10000"/>
                  <a:gd name="connsiteX4" fmla="*/ 2954 w 10000"/>
                  <a:gd name="connsiteY4" fmla="*/ 5443 h 10000"/>
                  <a:gd name="connsiteX5" fmla="*/ 5606 w 10000"/>
                  <a:gd name="connsiteY5" fmla="*/ 1139 h 10000"/>
                  <a:gd name="connsiteX6" fmla="*/ 8939 w 10000"/>
                  <a:gd name="connsiteY6" fmla="*/ 0 h 10000"/>
                  <a:gd name="connsiteX7" fmla="*/ 10000 w 10000"/>
                  <a:gd name="connsiteY7" fmla="*/ 3924 h 10000"/>
                  <a:gd name="connsiteX8" fmla="*/ 9167 w 10000"/>
                  <a:gd name="connsiteY8" fmla="*/ 5443 h 10000"/>
                  <a:gd name="connsiteX9" fmla="*/ 5303 w 10000"/>
                  <a:gd name="connsiteY9" fmla="*/ 8101 h 10000"/>
                  <a:gd name="connsiteX10" fmla="*/ 0 w 10000"/>
                  <a:gd name="connsiteY10" fmla="*/ 10000 h 10000"/>
                  <a:gd name="connsiteX11" fmla="*/ 0 w 10000"/>
                  <a:gd name="connsiteY11" fmla="*/ 10000 h 10000"/>
                  <a:gd name="connsiteX0" fmla="*/ 0 w 10000"/>
                  <a:gd name="connsiteY0" fmla="*/ 10000 h 10000"/>
                  <a:gd name="connsiteX1" fmla="*/ 0 w 10000"/>
                  <a:gd name="connsiteY1" fmla="*/ 10000 h 10000"/>
                  <a:gd name="connsiteX2" fmla="*/ 850 w 10000"/>
                  <a:gd name="connsiteY2" fmla="*/ 6392 h 10000"/>
                  <a:gd name="connsiteX3" fmla="*/ 1038 w 10000"/>
                  <a:gd name="connsiteY3" fmla="*/ 2018 h 10000"/>
                  <a:gd name="connsiteX4" fmla="*/ 2954 w 10000"/>
                  <a:gd name="connsiteY4" fmla="*/ 5443 h 10000"/>
                  <a:gd name="connsiteX5" fmla="*/ 5606 w 10000"/>
                  <a:gd name="connsiteY5" fmla="*/ 1139 h 10000"/>
                  <a:gd name="connsiteX6" fmla="*/ 8939 w 10000"/>
                  <a:gd name="connsiteY6" fmla="*/ 0 h 10000"/>
                  <a:gd name="connsiteX7" fmla="*/ 10000 w 10000"/>
                  <a:gd name="connsiteY7" fmla="*/ 3924 h 10000"/>
                  <a:gd name="connsiteX8" fmla="*/ 9167 w 10000"/>
                  <a:gd name="connsiteY8" fmla="*/ 5443 h 10000"/>
                  <a:gd name="connsiteX9" fmla="*/ 5303 w 10000"/>
                  <a:gd name="connsiteY9" fmla="*/ 8101 h 10000"/>
                  <a:gd name="connsiteX10" fmla="*/ 0 w 10000"/>
                  <a:gd name="connsiteY10" fmla="*/ 10000 h 10000"/>
                  <a:gd name="connsiteX11" fmla="*/ 0 w 10000"/>
                  <a:gd name="connsiteY11" fmla="*/ 10000 h 10000"/>
                  <a:gd name="connsiteX0" fmla="*/ 437 w 10437"/>
                  <a:gd name="connsiteY0" fmla="*/ 10000 h 10000"/>
                  <a:gd name="connsiteX1" fmla="*/ 437 w 10437"/>
                  <a:gd name="connsiteY1" fmla="*/ 10000 h 10000"/>
                  <a:gd name="connsiteX2" fmla="*/ 0 w 10437"/>
                  <a:gd name="connsiteY2" fmla="*/ 3966 h 10000"/>
                  <a:gd name="connsiteX3" fmla="*/ 1475 w 10437"/>
                  <a:gd name="connsiteY3" fmla="*/ 2018 h 10000"/>
                  <a:gd name="connsiteX4" fmla="*/ 3391 w 10437"/>
                  <a:gd name="connsiteY4" fmla="*/ 5443 h 10000"/>
                  <a:gd name="connsiteX5" fmla="*/ 6043 w 10437"/>
                  <a:gd name="connsiteY5" fmla="*/ 1139 h 10000"/>
                  <a:gd name="connsiteX6" fmla="*/ 9376 w 10437"/>
                  <a:gd name="connsiteY6" fmla="*/ 0 h 10000"/>
                  <a:gd name="connsiteX7" fmla="*/ 10437 w 10437"/>
                  <a:gd name="connsiteY7" fmla="*/ 3924 h 10000"/>
                  <a:gd name="connsiteX8" fmla="*/ 9604 w 10437"/>
                  <a:gd name="connsiteY8" fmla="*/ 5443 h 10000"/>
                  <a:gd name="connsiteX9" fmla="*/ 5740 w 10437"/>
                  <a:gd name="connsiteY9" fmla="*/ 8101 h 10000"/>
                  <a:gd name="connsiteX10" fmla="*/ 437 w 10437"/>
                  <a:gd name="connsiteY10" fmla="*/ 10000 h 10000"/>
                  <a:gd name="connsiteX11" fmla="*/ 437 w 10437"/>
                  <a:gd name="connsiteY11" fmla="*/ 10000 h 10000"/>
                  <a:gd name="connsiteX0" fmla="*/ 437 w 10437"/>
                  <a:gd name="connsiteY0" fmla="*/ 10000 h 10000"/>
                  <a:gd name="connsiteX1" fmla="*/ 437 w 10437"/>
                  <a:gd name="connsiteY1" fmla="*/ 10000 h 10000"/>
                  <a:gd name="connsiteX2" fmla="*/ 0 w 10437"/>
                  <a:gd name="connsiteY2" fmla="*/ 3966 h 10000"/>
                  <a:gd name="connsiteX3" fmla="*/ 1475 w 10437"/>
                  <a:gd name="connsiteY3" fmla="*/ 2018 h 10000"/>
                  <a:gd name="connsiteX4" fmla="*/ 2369 w 10437"/>
                  <a:gd name="connsiteY4" fmla="*/ 3652 h 10000"/>
                  <a:gd name="connsiteX5" fmla="*/ 3391 w 10437"/>
                  <a:gd name="connsiteY5" fmla="*/ 5443 h 10000"/>
                  <a:gd name="connsiteX6" fmla="*/ 6043 w 10437"/>
                  <a:gd name="connsiteY6" fmla="*/ 1139 h 10000"/>
                  <a:gd name="connsiteX7" fmla="*/ 9376 w 10437"/>
                  <a:gd name="connsiteY7" fmla="*/ 0 h 10000"/>
                  <a:gd name="connsiteX8" fmla="*/ 10437 w 10437"/>
                  <a:gd name="connsiteY8" fmla="*/ 3924 h 10000"/>
                  <a:gd name="connsiteX9" fmla="*/ 9604 w 10437"/>
                  <a:gd name="connsiteY9" fmla="*/ 5443 h 10000"/>
                  <a:gd name="connsiteX10" fmla="*/ 5740 w 10437"/>
                  <a:gd name="connsiteY10" fmla="*/ 8101 h 10000"/>
                  <a:gd name="connsiteX11" fmla="*/ 437 w 10437"/>
                  <a:gd name="connsiteY11" fmla="*/ 10000 h 10000"/>
                  <a:gd name="connsiteX12" fmla="*/ 437 w 10437"/>
                  <a:gd name="connsiteY12" fmla="*/ 10000 h 10000"/>
                  <a:gd name="connsiteX0" fmla="*/ 437 w 10437"/>
                  <a:gd name="connsiteY0" fmla="*/ 10000 h 10000"/>
                  <a:gd name="connsiteX1" fmla="*/ 437 w 10437"/>
                  <a:gd name="connsiteY1" fmla="*/ 10000 h 10000"/>
                  <a:gd name="connsiteX2" fmla="*/ 0 w 10437"/>
                  <a:gd name="connsiteY2" fmla="*/ 3966 h 10000"/>
                  <a:gd name="connsiteX3" fmla="*/ 1475 w 10437"/>
                  <a:gd name="connsiteY3" fmla="*/ 2018 h 10000"/>
                  <a:gd name="connsiteX4" fmla="*/ 2369 w 10437"/>
                  <a:gd name="connsiteY4" fmla="*/ 3652 h 10000"/>
                  <a:gd name="connsiteX5" fmla="*/ 3391 w 10437"/>
                  <a:gd name="connsiteY5" fmla="*/ 5443 h 10000"/>
                  <a:gd name="connsiteX6" fmla="*/ 6043 w 10437"/>
                  <a:gd name="connsiteY6" fmla="*/ 1139 h 10000"/>
                  <a:gd name="connsiteX7" fmla="*/ 9376 w 10437"/>
                  <a:gd name="connsiteY7" fmla="*/ 0 h 10000"/>
                  <a:gd name="connsiteX8" fmla="*/ 10437 w 10437"/>
                  <a:gd name="connsiteY8" fmla="*/ 3924 h 10000"/>
                  <a:gd name="connsiteX9" fmla="*/ 9604 w 10437"/>
                  <a:gd name="connsiteY9" fmla="*/ 5443 h 10000"/>
                  <a:gd name="connsiteX10" fmla="*/ 5740 w 10437"/>
                  <a:gd name="connsiteY10" fmla="*/ 8101 h 10000"/>
                  <a:gd name="connsiteX11" fmla="*/ 437 w 10437"/>
                  <a:gd name="connsiteY11" fmla="*/ 10000 h 10000"/>
                  <a:gd name="connsiteX12" fmla="*/ 437 w 10437"/>
                  <a:gd name="connsiteY12" fmla="*/ 10000 h 10000"/>
                  <a:gd name="connsiteX0" fmla="*/ 437 w 10437"/>
                  <a:gd name="connsiteY0" fmla="*/ 10000 h 10000"/>
                  <a:gd name="connsiteX1" fmla="*/ 437 w 10437"/>
                  <a:gd name="connsiteY1" fmla="*/ 10000 h 10000"/>
                  <a:gd name="connsiteX2" fmla="*/ 0 w 10437"/>
                  <a:gd name="connsiteY2" fmla="*/ 3966 h 10000"/>
                  <a:gd name="connsiteX3" fmla="*/ 1475 w 10437"/>
                  <a:gd name="connsiteY3" fmla="*/ 2018 h 10000"/>
                  <a:gd name="connsiteX4" fmla="*/ 3656 w 10437"/>
                  <a:gd name="connsiteY4" fmla="*/ 3652 h 10000"/>
                  <a:gd name="connsiteX5" fmla="*/ 3391 w 10437"/>
                  <a:gd name="connsiteY5" fmla="*/ 5443 h 10000"/>
                  <a:gd name="connsiteX6" fmla="*/ 6043 w 10437"/>
                  <a:gd name="connsiteY6" fmla="*/ 1139 h 10000"/>
                  <a:gd name="connsiteX7" fmla="*/ 9376 w 10437"/>
                  <a:gd name="connsiteY7" fmla="*/ 0 h 10000"/>
                  <a:gd name="connsiteX8" fmla="*/ 10437 w 10437"/>
                  <a:gd name="connsiteY8" fmla="*/ 3924 h 10000"/>
                  <a:gd name="connsiteX9" fmla="*/ 9604 w 10437"/>
                  <a:gd name="connsiteY9" fmla="*/ 5443 h 10000"/>
                  <a:gd name="connsiteX10" fmla="*/ 5740 w 10437"/>
                  <a:gd name="connsiteY10" fmla="*/ 8101 h 10000"/>
                  <a:gd name="connsiteX11" fmla="*/ 437 w 10437"/>
                  <a:gd name="connsiteY11" fmla="*/ 10000 h 10000"/>
                  <a:gd name="connsiteX12" fmla="*/ 437 w 10437"/>
                  <a:gd name="connsiteY12" fmla="*/ 10000 h 10000"/>
                  <a:gd name="connsiteX0" fmla="*/ 437 w 10437"/>
                  <a:gd name="connsiteY0" fmla="*/ 10000 h 10000"/>
                  <a:gd name="connsiteX1" fmla="*/ 437 w 10437"/>
                  <a:gd name="connsiteY1" fmla="*/ 10000 h 10000"/>
                  <a:gd name="connsiteX2" fmla="*/ 0 w 10437"/>
                  <a:gd name="connsiteY2" fmla="*/ 3966 h 10000"/>
                  <a:gd name="connsiteX3" fmla="*/ 1475 w 10437"/>
                  <a:gd name="connsiteY3" fmla="*/ 4841 h 10000"/>
                  <a:gd name="connsiteX4" fmla="*/ 3656 w 10437"/>
                  <a:gd name="connsiteY4" fmla="*/ 3652 h 10000"/>
                  <a:gd name="connsiteX5" fmla="*/ 3391 w 10437"/>
                  <a:gd name="connsiteY5" fmla="*/ 5443 h 10000"/>
                  <a:gd name="connsiteX6" fmla="*/ 6043 w 10437"/>
                  <a:gd name="connsiteY6" fmla="*/ 1139 h 10000"/>
                  <a:gd name="connsiteX7" fmla="*/ 9376 w 10437"/>
                  <a:gd name="connsiteY7" fmla="*/ 0 h 10000"/>
                  <a:gd name="connsiteX8" fmla="*/ 10437 w 10437"/>
                  <a:gd name="connsiteY8" fmla="*/ 3924 h 10000"/>
                  <a:gd name="connsiteX9" fmla="*/ 9604 w 10437"/>
                  <a:gd name="connsiteY9" fmla="*/ 5443 h 10000"/>
                  <a:gd name="connsiteX10" fmla="*/ 5740 w 10437"/>
                  <a:gd name="connsiteY10" fmla="*/ 8101 h 10000"/>
                  <a:gd name="connsiteX11" fmla="*/ 437 w 10437"/>
                  <a:gd name="connsiteY11" fmla="*/ 10000 h 10000"/>
                  <a:gd name="connsiteX12" fmla="*/ 437 w 10437"/>
                  <a:gd name="connsiteY12" fmla="*/ 10000 h 10000"/>
                  <a:gd name="connsiteX0" fmla="*/ 437 w 10437"/>
                  <a:gd name="connsiteY0" fmla="*/ 10000 h 10000"/>
                  <a:gd name="connsiteX1" fmla="*/ 437 w 10437"/>
                  <a:gd name="connsiteY1" fmla="*/ 10000 h 10000"/>
                  <a:gd name="connsiteX2" fmla="*/ 0 w 10437"/>
                  <a:gd name="connsiteY2" fmla="*/ 3966 h 10000"/>
                  <a:gd name="connsiteX3" fmla="*/ 1475 w 10437"/>
                  <a:gd name="connsiteY3" fmla="*/ 2516 h 10000"/>
                  <a:gd name="connsiteX4" fmla="*/ 3656 w 10437"/>
                  <a:gd name="connsiteY4" fmla="*/ 3652 h 10000"/>
                  <a:gd name="connsiteX5" fmla="*/ 3391 w 10437"/>
                  <a:gd name="connsiteY5" fmla="*/ 5443 h 10000"/>
                  <a:gd name="connsiteX6" fmla="*/ 6043 w 10437"/>
                  <a:gd name="connsiteY6" fmla="*/ 1139 h 10000"/>
                  <a:gd name="connsiteX7" fmla="*/ 9376 w 10437"/>
                  <a:gd name="connsiteY7" fmla="*/ 0 h 10000"/>
                  <a:gd name="connsiteX8" fmla="*/ 10437 w 10437"/>
                  <a:gd name="connsiteY8" fmla="*/ 3924 h 10000"/>
                  <a:gd name="connsiteX9" fmla="*/ 9604 w 10437"/>
                  <a:gd name="connsiteY9" fmla="*/ 5443 h 10000"/>
                  <a:gd name="connsiteX10" fmla="*/ 5740 w 10437"/>
                  <a:gd name="connsiteY10" fmla="*/ 8101 h 10000"/>
                  <a:gd name="connsiteX11" fmla="*/ 437 w 10437"/>
                  <a:gd name="connsiteY11" fmla="*/ 10000 h 10000"/>
                  <a:gd name="connsiteX12" fmla="*/ 437 w 10437"/>
                  <a:gd name="connsiteY12" fmla="*/ 10000 h 10000"/>
                  <a:gd name="connsiteX0" fmla="*/ 437 w 10437"/>
                  <a:gd name="connsiteY0" fmla="*/ 10000 h 10000"/>
                  <a:gd name="connsiteX1" fmla="*/ 437 w 10437"/>
                  <a:gd name="connsiteY1" fmla="*/ 10000 h 10000"/>
                  <a:gd name="connsiteX2" fmla="*/ 0 w 10437"/>
                  <a:gd name="connsiteY2" fmla="*/ 3966 h 10000"/>
                  <a:gd name="connsiteX3" fmla="*/ 1475 w 10437"/>
                  <a:gd name="connsiteY3" fmla="*/ 2516 h 10000"/>
                  <a:gd name="connsiteX4" fmla="*/ 3656 w 10437"/>
                  <a:gd name="connsiteY4" fmla="*/ 3818 h 10000"/>
                  <a:gd name="connsiteX5" fmla="*/ 3391 w 10437"/>
                  <a:gd name="connsiteY5" fmla="*/ 5443 h 10000"/>
                  <a:gd name="connsiteX6" fmla="*/ 6043 w 10437"/>
                  <a:gd name="connsiteY6" fmla="*/ 1139 h 10000"/>
                  <a:gd name="connsiteX7" fmla="*/ 9376 w 10437"/>
                  <a:gd name="connsiteY7" fmla="*/ 0 h 10000"/>
                  <a:gd name="connsiteX8" fmla="*/ 10437 w 10437"/>
                  <a:gd name="connsiteY8" fmla="*/ 3924 h 10000"/>
                  <a:gd name="connsiteX9" fmla="*/ 9604 w 10437"/>
                  <a:gd name="connsiteY9" fmla="*/ 5443 h 10000"/>
                  <a:gd name="connsiteX10" fmla="*/ 5740 w 10437"/>
                  <a:gd name="connsiteY10" fmla="*/ 8101 h 10000"/>
                  <a:gd name="connsiteX11" fmla="*/ 437 w 10437"/>
                  <a:gd name="connsiteY11" fmla="*/ 10000 h 10000"/>
                  <a:gd name="connsiteX12" fmla="*/ 437 w 10437"/>
                  <a:gd name="connsiteY12" fmla="*/ 10000 h 10000"/>
                  <a:gd name="connsiteX0" fmla="*/ 16 w 10016"/>
                  <a:gd name="connsiteY0" fmla="*/ 10000 h 10000"/>
                  <a:gd name="connsiteX1" fmla="*/ 16 w 10016"/>
                  <a:gd name="connsiteY1" fmla="*/ 10000 h 10000"/>
                  <a:gd name="connsiteX2" fmla="*/ 636 w 10016"/>
                  <a:gd name="connsiteY2" fmla="*/ 6125 h 10000"/>
                  <a:gd name="connsiteX3" fmla="*/ 1054 w 10016"/>
                  <a:gd name="connsiteY3" fmla="*/ 2516 h 10000"/>
                  <a:gd name="connsiteX4" fmla="*/ 3235 w 10016"/>
                  <a:gd name="connsiteY4" fmla="*/ 3818 h 10000"/>
                  <a:gd name="connsiteX5" fmla="*/ 2970 w 10016"/>
                  <a:gd name="connsiteY5" fmla="*/ 5443 h 10000"/>
                  <a:gd name="connsiteX6" fmla="*/ 5622 w 10016"/>
                  <a:gd name="connsiteY6" fmla="*/ 1139 h 10000"/>
                  <a:gd name="connsiteX7" fmla="*/ 8955 w 10016"/>
                  <a:gd name="connsiteY7" fmla="*/ 0 h 10000"/>
                  <a:gd name="connsiteX8" fmla="*/ 10016 w 10016"/>
                  <a:gd name="connsiteY8" fmla="*/ 3924 h 10000"/>
                  <a:gd name="connsiteX9" fmla="*/ 9183 w 10016"/>
                  <a:gd name="connsiteY9" fmla="*/ 5443 h 10000"/>
                  <a:gd name="connsiteX10" fmla="*/ 5319 w 10016"/>
                  <a:gd name="connsiteY10" fmla="*/ 8101 h 10000"/>
                  <a:gd name="connsiteX11" fmla="*/ 16 w 10016"/>
                  <a:gd name="connsiteY11" fmla="*/ 10000 h 10000"/>
                  <a:gd name="connsiteX12" fmla="*/ 16 w 10016"/>
                  <a:gd name="connsiteY12" fmla="*/ 10000 h 10000"/>
                  <a:gd name="connsiteX0" fmla="*/ 305 w 10305"/>
                  <a:gd name="connsiteY0" fmla="*/ 10000 h 10000"/>
                  <a:gd name="connsiteX1" fmla="*/ 305 w 10305"/>
                  <a:gd name="connsiteY1" fmla="*/ 10000 h 10000"/>
                  <a:gd name="connsiteX2" fmla="*/ 0 w 10305"/>
                  <a:gd name="connsiteY2" fmla="*/ 3966 h 10000"/>
                  <a:gd name="connsiteX3" fmla="*/ 1343 w 10305"/>
                  <a:gd name="connsiteY3" fmla="*/ 2516 h 10000"/>
                  <a:gd name="connsiteX4" fmla="*/ 3524 w 10305"/>
                  <a:gd name="connsiteY4" fmla="*/ 3818 h 10000"/>
                  <a:gd name="connsiteX5" fmla="*/ 3259 w 10305"/>
                  <a:gd name="connsiteY5" fmla="*/ 5443 h 10000"/>
                  <a:gd name="connsiteX6" fmla="*/ 5911 w 10305"/>
                  <a:gd name="connsiteY6" fmla="*/ 1139 h 10000"/>
                  <a:gd name="connsiteX7" fmla="*/ 9244 w 10305"/>
                  <a:gd name="connsiteY7" fmla="*/ 0 h 10000"/>
                  <a:gd name="connsiteX8" fmla="*/ 10305 w 10305"/>
                  <a:gd name="connsiteY8" fmla="*/ 3924 h 10000"/>
                  <a:gd name="connsiteX9" fmla="*/ 9472 w 10305"/>
                  <a:gd name="connsiteY9" fmla="*/ 5443 h 10000"/>
                  <a:gd name="connsiteX10" fmla="*/ 5608 w 10305"/>
                  <a:gd name="connsiteY10" fmla="*/ 8101 h 10000"/>
                  <a:gd name="connsiteX11" fmla="*/ 305 w 10305"/>
                  <a:gd name="connsiteY11" fmla="*/ 10000 h 10000"/>
                  <a:gd name="connsiteX12" fmla="*/ 305 w 10305"/>
                  <a:gd name="connsiteY12" fmla="*/ 10000 h 10000"/>
                  <a:gd name="connsiteX0" fmla="*/ 1627 w 11627"/>
                  <a:gd name="connsiteY0" fmla="*/ 10000 h 10000"/>
                  <a:gd name="connsiteX1" fmla="*/ 1627 w 11627"/>
                  <a:gd name="connsiteY1" fmla="*/ 10000 h 10000"/>
                  <a:gd name="connsiteX2" fmla="*/ 0 w 11627"/>
                  <a:gd name="connsiteY2" fmla="*/ 5294 h 10000"/>
                  <a:gd name="connsiteX3" fmla="*/ 2665 w 11627"/>
                  <a:gd name="connsiteY3" fmla="*/ 2516 h 10000"/>
                  <a:gd name="connsiteX4" fmla="*/ 4846 w 11627"/>
                  <a:gd name="connsiteY4" fmla="*/ 3818 h 10000"/>
                  <a:gd name="connsiteX5" fmla="*/ 4581 w 11627"/>
                  <a:gd name="connsiteY5" fmla="*/ 5443 h 10000"/>
                  <a:gd name="connsiteX6" fmla="*/ 7233 w 11627"/>
                  <a:gd name="connsiteY6" fmla="*/ 1139 h 10000"/>
                  <a:gd name="connsiteX7" fmla="*/ 10566 w 11627"/>
                  <a:gd name="connsiteY7" fmla="*/ 0 h 10000"/>
                  <a:gd name="connsiteX8" fmla="*/ 11627 w 11627"/>
                  <a:gd name="connsiteY8" fmla="*/ 3924 h 10000"/>
                  <a:gd name="connsiteX9" fmla="*/ 10794 w 11627"/>
                  <a:gd name="connsiteY9" fmla="*/ 5443 h 10000"/>
                  <a:gd name="connsiteX10" fmla="*/ 6930 w 11627"/>
                  <a:gd name="connsiteY10" fmla="*/ 8101 h 10000"/>
                  <a:gd name="connsiteX11" fmla="*/ 1627 w 11627"/>
                  <a:gd name="connsiteY11" fmla="*/ 10000 h 10000"/>
                  <a:gd name="connsiteX12" fmla="*/ 1627 w 11627"/>
                  <a:gd name="connsiteY12" fmla="*/ 10000 h 10000"/>
                  <a:gd name="connsiteX0" fmla="*/ 570 w 10570"/>
                  <a:gd name="connsiteY0" fmla="*/ 10000 h 10000"/>
                  <a:gd name="connsiteX1" fmla="*/ 570 w 10570"/>
                  <a:gd name="connsiteY1" fmla="*/ 10000 h 10000"/>
                  <a:gd name="connsiteX2" fmla="*/ 0 w 10570"/>
                  <a:gd name="connsiteY2" fmla="*/ 3966 h 10000"/>
                  <a:gd name="connsiteX3" fmla="*/ 1608 w 10570"/>
                  <a:gd name="connsiteY3" fmla="*/ 2516 h 10000"/>
                  <a:gd name="connsiteX4" fmla="*/ 3789 w 10570"/>
                  <a:gd name="connsiteY4" fmla="*/ 3818 h 10000"/>
                  <a:gd name="connsiteX5" fmla="*/ 3524 w 10570"/>
                  <a:gd name="connsiteY5" fmla="*/ 5443 h 10000"/>
                  <a:gd name="connsiteX6" fmla="*/ 6176 w 10570"/>
                  <a:gd name="connsiteY6" fmla="*/ 1139 h 10000"/>
                  <a:gd name="connsiteX7" fmla="*/ 9509 w 10570"/>
                  <a:gd name="connsiteY7" fmla="*/ 0 h 10000"/>
                  <a:gd name="connsiteX8" fmla="*/ 10570 w 10570"/>
                  <a:gd name="connsiteY8" fmla="*/ 3924 h 10000"/>
                  <a:gd name="connsiteX9" fmla="*/ 9737 w 10570"/>
                  <a:gd name="connsiteY9" fmla="*/ 5443 h 10000"/>
                  <a:gd name="connsiteX10" fmla="*/ 5873 w 10570"/>
                  <a:gd name="connsiteY10" fmla="*/ 8101 h 10000"/>
                  <a:gd name="connsiteX11" fmla="*/ 570 w 10570"/>
                  <a:gd name="connsiteY11" fmla="*/ 10000 h 10000"/>
                  <a:gd name="connsiteX12" fmla="*/ 570 w 10570"/>
                  <a:gd name="connsiteY12" fmla="*/ 10000 h 10000"/>
                  <a:gd name="connsiteX0" fmla="*/ 570 w 10570"/>
                  <a:gd name="connsiteY0" fmla="*/ 10499 h 10499"/>
                  <a:gd name="connsiteX1" fmla="*/ 570 w 10570"/>
                  <a:gd name="connsiteY1" fmla="*/ 10499 h 10499"/>
                  <a:gd name="connsiteX2" fmla="*/ 0 w 10570"/>
                  <a:gd name="connsiteY2" fmla="*/ 4465 h 10499"/>
                  <a:gd name="connsiteX3" fmla="*/ 1608 w 10570"/>
                  <a:gd name="connsiteY3" fmla="*/ 3015 h 10499"/>
                  <a:gd name="connsiteX4" fmla="*/ 2599 w 10570"/>
                  <a:gd name="connsiteY4" fmla="*/ 0 h 10499"/>
                  <a:gd name="connsiteX5" fmla="*/ 3524 w 10570"/>
                  <a:gd name="connsiteY5" fmla="*/ 5942 h 10499"/>
                  <a:gd name="connsiteX6" fmla="*/ 6176 w 10570"/>
                  <a:gd name="connsiteY6" fmla="*/ 1638 h 10499"/>
                  <a:gd name="connsiteX7" fmla="*/ 9509 w 10570"/>
                  <a:gd name="connsiteY7" fmla="*/ 499 h 10499"/>
                  <a:gd name="connsiteX8" fmla="*/ 10570 w 10570"/>
                  <a:gd name="connsiteY8" fmla="*/ 4423 h 10499"/>
                  <a:gd name="connsiteX9" fmla="*/ 9737 w 10570"/>
                  <a:gd name="connsiteY9" fmla="*/ 5942 h 10499"/>
                  <a:gd name="connsiteX10" fmla="*/ 5873 w 10570"/>
                  <a:gd name="connsiteY10" fmla="*/ 8600 h 10499"/>
                  <a:gd name="connsiteX11" fmla="*/ 570 w 10570"/>
                  <a:gd name="connsiteY11" fmla="*/ 10499 h 10499"/>
                  <a:gd name="connsiteX12" fmla="*/ 570 w 10570"/>
                  <a:gd name="connsiteY12" fmla="*/ 10499 h 10499"/>
                  <a:gd name="connsiteX0" fmla="*/ 570 w 10570"/>
                  <a:gd name="connsiteY0" fmla="*/ 10000 h 10000"/>
                  <a:gd name="connsiteX1" fmla="*/ 570 w 10570"/>
                  <a:gd name="connsiteY1" fmla="*/ 10000 h 10000"/>
                  <a:gd name="connsiteX2" fmla="*/ 0 w 10570"/>
                  <a:gd name="connsiteY2" fmla="*/ 3966 h 10000"/>
                  <a:gd name="connsiteX3" fmla="*/ 1608 w 10570"/>
                  <a:gd name="connsiteY3" fmla="*/ 2516 h 10000"/>
                  <a:gd name="connsiteX4" fmla="*/ 3656 w 10570"/>
                  <a:gd name="connsiteY4" fmla="*/ 3652 h 10000"/>
                  <a:gd name="connsiteX5" fmla="*/ 3524 w 10570"/>
                  <a:gd name="connsiteY5" fmla="*/ 5443 h 10000"/>
                  <a:gd name="connsiteX6" fmla="*/ 6176 w 10570"/>
                  <a:gd name="connsiteY6" fmla="*/ 1139 h 10000"/>
                  <a:gd name="connsiteX7" fmla="*/ 9509 w 10570"/>
                  <a:gd name="connsiteY7" fmla="*/ 0 h 10000"/>
                  <a:gd name="connsiteX8" fmla="*/ 10570 w 10570"/>
                  <a:gd name="connsiteY8" fmla="*/ 3924 h 10000"/>
                  <a:gd name="connsiteX9" fmla="*/ 9737 w 10570"/>
                  <a:gd name="connsiteY9" fmla="*/ 5443 h 10000"/>
                  <a:gd name="connsiteX10" fmla="*/ 5873 w 10570"/>
                  <a:gd name="connsiteY10" fmla="*/ 8101 h 10000"/>
                  <a:gd name="connsiteX11" fmla="*/ 570 w 10570"/>
                  <a:gd name="connsiteY11" fmla="*/ 10000 h 10000"/>
                  <a:gd name="connsiteX12" fmla="*/ 570 w 1057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70" h="10000">
                    <a:moveTo>
                      <a:pt x="570" y="10000"/>
                    </a:moveTo>
                    <a:lnTo>
                      <a:pt x="570" y="10000"/>
                    </a:lnTo>
                    <a:cubicBezTo>
                      <a:pt x="424" y="7989"/>
                      <a:pt x="146" y="5977"/>
                      <a:pt x="0" y="3966"/>
                    </a:cubicBezTo>
                    <a:cubicBezTo>
                      <a:pt x="63" y="3586"/>
                      <a:pt x="1546" y="2896"/>
                      <a:pt x="1608" y="2516"/>
                    </a:cubicBezTo>
                    <a:lnTo>
                      <a:pt x="3656" y="3652"/>
                    </a:lnTo>
                    <a:cubicBezTo>
                      <a:pt x="3568" y="4249"/>
                      <a:pt x="3612" y="4846"/>
                      <a:pt x="3524" y="5443"/>
                    </a:cubicBezTo>
                    <a:lnTo>
                      <a:pt x="6176" y="1139"/>
                    </a:lnTo>
                    <a:lnTo>
                      <a:pt x="9509" y="0"/>
                    </a:lnTo>
                    <a:lnTo>
                      <a:pt x="10570" y="3924"/>
                    </a:lnTo>
                    <a:lnTo>
                      <a:pt x="9737" y="5443"/>
                    </a:lnTo>
                    <a:lnTo>
                      <a:pt x="5873" y="8101"/>
                    </a:lnTo>
                    <a:lnTo>
                      <a:pt x="570" y="10000"/>
                    </a:lnTo>
                    <a:lnTo>
                      <a:pt x="570" y="1000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8" name="Uzbekistan">
                <a:extLst>
                  <a:ext uri="{FF2B5EF4-FFF2-40B4-BE49-F238E27FC236}">
                    <a16:creationId xmlns:a16="http://schemas.microsoft.com/office/drawing/2014/main" id="{595A0E59-63EE-F24B-D3EE-979803C16958}"/>
                  </a:ext>
                </a:extLst>
              </p:cNvPr>
              <p:cNvSpPr>
                <a:spLocks noGrp="1" noRot="1" noChangeAspect="1" noMove="1" noResize="1" noEditPoints="1" noAdjustHandles="1" noChangeArrowheads="1" noChangeShapeType="1"/>
              </p:cNvSpPr>
              <p:nvPr/>
            </p:nvSpPr>
            <p:spPr bwMode="gray">
              <a:xfrm>
                <a:off x="6108095" y="3303182"/>
                <a:ext cx="454473" cy="309049"/>
              </a:xfrm>
              <a:custGeom>
                <a:avLst/>
                <a:gdLst>
                  <a:gd name="T0" fmla="*/ 24 w 250"/>
                  <a:gd name="T1" fmla="*/ 68 h 153"/>
                  <a:gd name="T2" fmla="*/ 28 w 250"/>
                  <a:gd name="T3" fmla="*/ 57 h 153"/>
                  <a:gd name="T4" fmla="*/ 34 w 250"/>
                  <a:gd name="T5" fmla="*/ 52 h 153"/>
                  <a:gd name="T6" fmla="*/ 45 w 250"/>
                  <a:gd name="T7" fmla="*/ 54 h 153"/>
                  <a:gd name="T8" fmla="*/ 57 w 250"/>
                  <a:gd name="T9" fmla="*/ 58 h 153"/>
                  <a:gd name="T10" fmla="*/ 60 w 250"/>
                  <a:gd name="T11" fmla="*/ 61 h 153"/>
                  <a:gd name="T12" fmla="*/ 68 w 250"/>
                  <a:gd name="T13" fmla="*/ 68 h 153"/>
                  <a:gd name="T14" fmla="*/ 74 w 250"/>
                  <a:gd name="T15" fmla="*/ 86 h 153"/>
                  <a:gd name="T16" fmla="*/ 83 w 250"/>
                  <a:gd name="T17" fmla="*/ 84 h 153"/>
                  <a:gd name="T18" fmla="*/ 97 w 250"/>
                  <a:gd name="T19" fmla="*/ 86 h 153"/>
                  <a:gd name="T20" fmla="*/ 117 w 250"/>
                  <a:gd name="T21" fmla="*/ 106 h 153"/>
                  <a:gd name="T22" fmla="*/ 138 w 250"/>
                  <a:gd name="T23" fmla="*/ 118 h 153"/>
                  <a:gd name="T24" fmla="*/ 158 w 250"/>
                  <a:gd name="T25" fmla="*/ 131 h 153"/>
                  <a:gd name="T26" fmla="*/ 166 w 250"/>
                  <a:gd name="T27" fmla="*/ 152 h 153"/>
                  <a:gd name="T28" fmla="*/ 178 w 250"/>
                  <a:gd name="T29" fmla="*/ 135 h 153"/>
                  <a:gd name="T30" fmla="*/ 180 w 250"/>
                  <a:gd name="T31" fmla="*/ 120 h 153"/>
                  <a:gd name="T32" fmla="*/ 172 w 250"/>
                  <a:gd name="T33" fmla="*/ 97 h 153"/>
                  <a:gd name="T34" fmla="*/ 189 w 250"/>
                  <a:gd name="T35" fmla="*/ 92 h 153"/>
                  <a:gd name="T36" fmla="*/ 210 w 250"/>
                  <a:gd name="T37" fmla="*/ 97 h 153"/>
                  <a:gd name="T38" fmla="*/ 244 w 250"/>
                  <a:gd name="T39" fmla="*/ 94 h 153"/>
                  <a:gd name="T40" fmla="*/ 244 w 250"/>
                  <a:gd name="T41" fmla="*/ 81 h 153"/>
                  <a:gd name="T42" fmla="*/ 203 w 250"/>
                  <a:gd name="T43" fmla="*/ 81 h 153"/>
                  <a:gd name="T44" fmla="*/ 183 w 250"/>
                  <a:gd name="T45" fmla="*/ 79 h 153"/>
                  <a:gd name="T46" fmla="*/ 165 w 250"/>
                  <a:gd name="T47" fmla="*/ 86 h 153"/>
                  <a:gd name="T48" fmla="*/ 153 w 250"/>
                  <a:gd name="T49" fmla="*/ 84 h 153"/>
                  <a:gd name="T50" fmla="*/ 143 w 250"/>
                  <a:gd name="T51" fmla="*/ 85 h 153"/>
                  <a:gd name="T52" fmla="*/ 131 w 250"/>
                  <a:gd name="T53" fmla="*/ 79 h 153"/>
                  <a:gd name="T54" fmla="*/ 131 w 250"/>
                  <a:gd name="T55" fmla="*/ 74 h 153"/>
                  <a:gd name="T56" fmla="*/ 129 w 250"/>
                  <a:gd name="T57" fmla="*/ 57 h 153"/>
                  <a:gd name="T58" fmla="*/ 90 w 250"/>
                  <a:gd name="T59" fmla="*/ 43 h 153"/>
                  <a:gd name="T60" fmla="*/ 70 w 250"/>
                  <a:gd name="T61" fmla="*/ 30 h 153"/>
                  <a:gd name="T62" fmla="*/ 45 w 250"/>
                  <a:gd name="T63" fmla="*/ 36 h 153"/>
                  <a:gd name="T64" fmla="*/ 29 w 250"/>
                  <a:gd name="T65" fmla="*/ 16 h 153"/>
                  <a:gd name="T66" fmla="*/ 30 w 250"/>
                  <a:gd name="T67" fmla="*/ 0 h 153"/>
                  <a:gd name="T68" fmla="*/ 18 w 250"/>
                  <a:gd name="T69" fmla="*/ 70 h 1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0"/>
                  <a:gd name="T106" fmla="*/ 0 h 153"/>
                  <a:gd name="T107" fmla="*/ 250 w 250"/>
                  <a:gd name="T108" fmla="*/ 153 h 1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0" h="153">
                    <a:moveTo>
                      <a:pt x="18" y="70"/>
                    </a:moveTo>
                    <a:lnTo>
                      <a:pt x="24" y="68"/>
                    </a:lnTo>
                    <a:lnTo>
                      <a:pt x="26" y="62"/>
                    </a:lnTo>
                    <a:lnTo>
                      <a:pt x="28" y="57"/>
                    </a:lnTo>
                    <a:lnTo>
                      <a:pt x="36" y="60"/>
                    </a:lnTo>
                    <a:lnTo>
                      <a:pt x="34" y="52"/>
                    </a:lnTo>
                    <a:lnTo>
                      <a:pt x="41" y="49"/>
                    </a:lnTo>
                    <a:lnTo>
                      <a:pt x="45" y="54"/>
                    </a:lnTo>
                    <a:lnTo>
                      <a:pt x="51" y="54"/>
                    </a:lnTo>
                    <a:lnTo>
                      <a:pt x="57" y="58"/>
                    </a:lnTo>
                    <a:lnTo>
                      <a:pt x="60" y="60"/>
                    </a:lnTo>
                    <a:lnTo>
                      <a:pt x="60" y="61"/>
                    </a:lnTo>
                    <a:lnTo>
                      <a:pt x="61" y="66"/>
                    </a:lnTo>
                    <a:lnTo>
                      <a:pt x="68" y="68"/>
                    </a:lnTo>
                    <a:lnTo>
                      <a:pt x="68" y="75"/>
                    </a:lnTo>
                    <a:lnTo>
                      <a:pt x="74" y="86"/>
                    </a:lnTo>
                    <a:lnTo>
                      <a:pt x="81" y="87"/>
                    </a:lnTo>
                    <a:lnTo>
                      <a:pt x="83" y="84"/>
                    </a:lnTo>
                    <a:lnTo>
                      <a:pt x="91" y="80"/>
                    </a:lnTo>
                    <a:lnTo>
                      <a:pt x="97" y="86"/>
                    </a:lnTo>
                    <a:lnTo>
                      <a:pt x="105" y="94"/>
                    </a:lnTo>
                    <a:lnTo>
                      <a:pt x="117" y="106"/>
                    </a:lnTo>
                    <a:lnTo>
                      <a:pt x="137" y="111"/>
                    </a:lnTo>
                    <a:lnTo>
                      <a:pt x="138" y="118"/>
                    </a:lnTo>
                    <a:lnTo>
                      <a:pt x="151" y="124"/>
                    </a:lnTo>
                    <a:lnTo>
                      <a:pt x="158" y="131"/>
                    </a:lnTo>
                    <a:lnTo>
                      <a:pt x="153" y="152"/>
                    </a:lnTo>
                    <a:lnTo>
                      <a:pt x="166" y="152"/>
                    </a:lnTo>
                    <a:lnTo>
                      <a:pt x="173" y="141"/>
                    </a:lnTo>
                    <a:lnTo>
                      <a:pt x="178" y="135"/>
                    </a:lnTo>
                    <a:lnTo>
                      <a:pt x="182" y="130"/>
                    </a:lnTo>
                    <a:lnTo>
                      <a:pt x="180" y="120"/>
                    </a:lnTo>
                    <a:lnTo>
                      <a:pt x="170" y="116"/>
                    </a:lnTo>
                    <a:lnTo>
                      <a:pt x="172" y="97"/>
                    </a:lnTo>
                    <a:lnTo>
                      <a:pt x="181" y="90"/>
                    </a:lnTo>
                    <a:lnTo>
                      <a:pt x="189" y="92"/>
                    </a:lnTo>
                    <a:lnTo>
                      <a:pt x="207" y="89"/>
                    </a:lnTo>
                    <a:lnTo>
                      <a:pt x="210" y="97"/>
                    </a:lnTo>
                    <a:lnTo>
                      <a:pt x="221" y="96"/>
                    </a:lnTo>
                    <a:lnTo>
                      <a:pt x="244" y="94"/>
                    </a:lnTo>
                    <a:lnTo>
                      <a:pt x="249" y="86"/>
                    </a:lnTo>
                    <a:lnTo>
                      <a:pt x="244" y="81"/>
                    </a:lnTo>
                    <a:lnTo>
                      <a:pt x="229" y="81"/>
                    </a:lnTo>
                    <a:lnTo>
                      <a:pt x="203" y="81"/>
                    </a:lnTo>
                    <a:lnTo>
                      <a:pt x="193" y="81"/>
                    </a:lnTo>
                    <a:lnTo>
                      <a:pt x="183" y="79"/>
                    </a:lnTo>
                    <a:lnTo>
                      <a:pt x="167" y="87"/>
                    </a:lnTo>
                    <a:lnTo>
                      <a:pt x="165" y="86"/>
                    </a:lnTo>
                    <a:lnTo>
                      <a:pt x="161" y="82"/>
                    </a:lnTo>
                    <a:lnTo>
                      <a:pt x="153" y="84"/>
                    </a:lnTo>
                    <a:lnTo>
                      <a:pt x="145" y="87"/>
                    </a:lnTo>
                    <a:lnTo>
                      <a:pt x="143" y="85"/>
                    </a:lnTo>
                    <a:lnTo>
                      <a:pt x="141" y="82"/>
                    </a:lnTo>
                    <a:lnTo>
                      <a:pt x="131" y="79"/>
                    </a:lnTo>
                    <a:lnTo>
                      <a:pt x="129" y="78"/>
                    </a:lnTo>
                    <a:lnTo>
                      <a:pt x="131" y="74"/>
                    </a:lnTo>
                    <a:lnTo>
                      <a:pt x="136" y="71"/>
                    </a:lnTo>
                    <a:lnTo>
                      <a:pt x="129" y="57"/>
                    </a:lnTo>
                    <a:lnTo>
                      <a:pt x="118" y="36"/>
                    </a:lnTo>
                    <a:lnTo>
                      <a:pt x="90" y="43"/>
                    </a:lnTo>
                    <a:lnTo>
                      <a:pt x="83" y="36"/>
                    </a:lnTo>
                    <a:lnTo>
                      <a:pt x="70" y="30"/>
                    </a:lnTo>
                    <a:lnTo>
                      <a:pt x="58" y="39"/>
                    </a:lnTo>
                    <a:lnTo>
                      <a:pt x="45" y="36"/>
                    </a:lnTo>
                    <a:lnTo>
                      <a:pt x="32" y="27"/>
                    </a:lnTo>
                    <a:lnTo>
                      <a:pt x="29" y="16"/>
                    </a:lnTo>
                    <a:lnTo>
                      <a:pt x="31" y="8"/>
                    </a:lnTo>
                    <a:lnTo>
                      <a:pt x="30" y="0"/>
                    </a:lnTo>
                    <a:lnTo>
                      <a:pt x="0" y="16"/>
                    </a:lnTo>
                    <a:lnTo>
                      <a:pt x="18" y="70"/>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9" name="United Arab Emirates">
                <a:extLst>
                  <a:ext uri="{FF2B5EF4-FFF2-40B4-BE49-F238E27FC236}">
                    <a16:creationId xmlns:a16="http://schemas.microsoft.com/office/drawing/2014/main" id="{11A26C49-D2FB-7193-0FC6-B506D42B56FB}"/>
                  </a:ext>
                </a:extLst>
              </p:cNvPr>
              <p:cNvSpPr>
                <a:spLocks noGrp="1" noRot="1" noMove="1" noResize="1" noEditPoints="1" noAdjustHandles="1" noChangeArrowheads="1" noChangeShapeType="1"/>
              </p:cNvSpPr>
              <p:nvPr/>
            </p:nvSpPr>
            <p:spPr bwMode="gray">
              <a:xfrm>
                <a:off x="6007578" y="3944307"/>
                <a:ext cx="130802" cy="102020"/>
              </a:xfrm>
              <a:custGeom>
                <a:avLst/>
                <a:gdLst/>
                <a:ahLst/>
                <a:cxnLst>
                  <a:cxn ang="0">
                    <a:pos x="0" y="20"/>
                  </a:cxn>
                  <a:cxn ang="0">
                    <a:pos x="0" y="20"/>
                  </a:cxn>
                  <a:cxn ang="0">
                    <a:pos x="4" y="19"/>
                  </a:cxn>
                  <a:cxn ang="0">
                    <a:pos x="9" y="26"/>
                  </a:cxn>
                  <a:cxn ang="0">
                    <a:pos x="40" y="26"/>
                  </a:cxn>
                  <a:cxn ang="0">
                    <a:pos x="67" y="0"/>
                  </a:cxn>
                  <a:cxn ang="0">
                    <a:pos x="71" y="16"/>
                  </a:cxn>
                  <a:cxn ang="0">
                    <a:pos x="63" y="16"/>
                  </a:cxn>
                  <a:cxn ang="0">
                    <a:pos x="67" y="26"/>
                  </a:cxn>
                  <a:cxn ang="0">
                    <a:pos x="56" y="44"/>
                  </a:cxn>
                  <a:cxn ang="0">
                    <a:pos x="13" y="39"/>
                  </a:cxn>
                  <a:cxn ang="0">
                    <a:pos x="0" y="20"/>
                  </a:cxn>
                  <a:cxn ang="0">
                    <a:pos x="0" y="20"/>
                  </a:cxn>
                </a:cxnLst>
                <a:rect l="0" t="0" r="r" b="b"/>
                <a:pathLst>
                  <a:path w="72" h="45">
                    <a:moveTo>
                      <a:pt x="0" y="20"/>
                    </a:moveTo>
                    <a:lnTo>
                      <a:pt x="0" y="20"/>
                    </a:lnTo>
                    <a:lnTo>
                      <a:pt x="4" y="19"/>
                    </a:lnTo>
                    <a:lnTo>
                      <a:pt x="9" y="26"/>
                    </a:lnTo>
                    <a:lnTo>
                      <a:pt x="40" y="26"/>
                    </a:lnTo>
                    <a:lnTo>
                      <a:pt x="67" y="0"/>
                    </a:lnTo>
                    <a:lnTo>
                      <a:pt x="71" y="16"/>
                    </a:lnTo>
                    <a:lnTo>
                      <a:pt x="63" y="16"/>
                    </a:lnTo>
                    <a:lnTo>
                      <a:pt x="67" y="26"/>
                    </a:lnTo>
                    <a:lnTo>
                      <a:pt x="56" y="44"/>
                    </a:lnTo>
                    <a:lnTo>
                      <a:pt x="13" y="39"/>
                    </a:lnTo>
                    <a:lnTo>
                      <a:pt x="0" y="20"/>
                    </a:lnTo>
                    <a:lnTo>
                      <a:pt x="0" y="2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0" name="Turkmenistan">
                <a:extLst>
                  <a:ext uri="{FF2B5EF4-FFF2-40B4-BE49-F238E27FC236}">
                    <a16:creationId xmlns:a16="http://schemas.microsoft.com/office/drawing/2014/main" id="{3CD4D0DE-BB53-A072-67A1-C8F2CDA51460}"/>
                  </a:ext>
                </a:extLst>
              </p:cNvPr>
              <p:cNvSpPr>
                <a:spLocks noGrp="1" noRot="1" noChangeAspect="1" noMove="1" noResize="1" noEditPoints="1" noAdjustHandles="1" noChangeArrowheads="1" noChangeShapeType="1"/>
              </p:cNvSpPr>
              <p:nvPr/>
            </p:nvSpPr>
            <p:spPr bwMode="gray">
              <a:xfrm>
                <a:off x="6050809" y="3403357"/>
                <a:ext cx="345629" cy="270684"/>
              </a:xfrm>
              <a:custGeom>
                <a:avLst/>
                <a:gdLst>
                  <a:gd name="T0" fmla="*/ 0 w 191"/>
                  <a:gd name="T1" fmla="*/ 19 h 134"/>
                  <a:gd name="T2" fmla="*/ 1 w 191"/>
                  <a:gd name="T3" fmla="*/ 37 h 134"/>
                  <a:gd name="T4" fmla="*/ 11 w 191"/>
                  <a:gd name="T5" fmla="*/ 26 h 134"/>
                  <a:gd name="T6" fmla="*/ 25 w 191"/>
                  <a:gd name="T7" fmla="*/ 40 h 134"/>
                  <a:gd name="T8" fmla="*/ 19 w 191"/>
                  <a:gd name="T9" fmla="*/ 48 h 134"/>
                  <a:gd name="T10" fmla="*/ 2 w 191"/>
                  <a:gd name="T11" fmla="*/ 40 h 134"/>
                  <a:gd name="T12" fmla="*/ 0 w 191"/>
                  <a:gd name="T13" fmla="*/ 52 h 134"/>
                  <a:gd name="T14" fmla="*/ 2 w 191"/>
                  <a:gd name="T15" fmla="*/ 59 h 134"/>
                  <a:gd name="T16" fmla="*/ 11 w 191"/>
                  <a:gd name="T17" fmla="*/ 60 h 134"/>
                  <a:gd name="T18" fmla="*/ 7 w 191"/>
                  <a:gd name="T19" fmla="*/ 68 h 134"/>
                  <a:gd name="T20" fmla="*/ 15 w 191"/>
                  <a:gd name="T21" fmla="*/ 73 h 134"/>
                  <a:gd name="T22" fmla="*/ 15 w 191"/>
                  <a:gd name="T23" fmla="*/ 97 h 134"/>
                  <a:gd name="T24" fmla="*/ 41 w 191"/>
                  <a:gd name="T25" fmla="*/ 90 h 134"/>
                  <a:gd name="T26" fmla="*/ 56 w 191"/>
                  <a:gd name="T27" fmla="*/ 83 h 134"/>
                  <a:gd name="T28" fmla="*/ 90 w 191"/>
                  <a:gd name="T29" fmla="*/ 99 h 134"/>
                  <a:gd name="T30" fmla="*/ 110 w 191"/>
                  <a:gd name="T31" fmla="*/ 108 h 134"/>
                  <a:gd name="T32" fmla="*/ 115 w 191"/>
                  <a:gd name="T33" fmla="*/ 113 h 134"/>
                  <a:gd name="T34" fmla="*/ 117 w 191"/>
                  <a:gd name="T35" fmla="*/ 124 h 134"/>
                  <a:gd name="T36" fmla="*/ 137 w 191"/>
                  <a:gd name="T37" fmla="*/ 133 h 134"/>
                  <a:gd name="T38" fmla="*/ 166 w 191"/>
                  <a:gd name="T39" fmla="*/ 101 h 134"/>
                  <a:gd name="T40" fmla="*/ 185 w 191"/>
                  <a:gd name="T41" fmla="*/ 101 h 134"/>
                  <a:gd name="T42" fmla="*/ 188 w 191"/>
                  <a:gd name="T43" fmla="*/ 88 h 134"/>
                  <a:gd name="T44" fmla="*/ 190 w 191"/>
                  <a:gd name="T45" fmla="*/ 82 h 134"/>
                  <a:gd name="T46" fmla="*/ 184 w 191"/>
                  <a:gd name="T47" fmla="*/ 74 h 134"/>
                  <a:gd name="T48" fmla="*/ 170 w 191"/>
                  <a:gd name="T49" fmla="*/ 69 h 134"/>
                  <a:gd name="T50" fmla="*/ 169 w 191"/>
                  <a:gd name="T51" fmla="*/ 62 h 134"/>
                  <a:gd name="T52" fmla="*/ 149 w 191"/>
                  <a:gd name="T53" fmla="*/ 57 h 134"/>
                  <a:gd name="T54" fmla="*/ 137 w 191"/>
                  <a:gd name="T55" fmla="*/ 45 h 134"/>
                  <a:gd name="T56" fmla="*/ 132 w 191"/>
                  <a:gd name="T57" fmla="*/ 38 h 134"/>
                  <a:gd name="T58" fmla="*/ 123 w 191"/>
                  <a:gd name="T59" fmla="*/ 31 h 134"/>
                  <a:gd name="T60" fmla="*/ 117 w 191"/>
                  <a:gd name="T61" fmla="*/ 35 h 134"/>
                  <a:gd name="T62" fmla="*/ 113 w 191"/>
                  <a:gd name="T63" fmla="*/ 38 h 134"/>
                  <a:gd name="T64" fmla="*/ 106 w 191"/>
                  <a:gd name="T65" fmla="*/ 37 h 134"/>
                  <a:gd name="T66" fmla="*/ 100 w 191"/>
                  <a:gd name="T67" fmla="*/ 26 h 134"/>
                  <a:gd name="T68" fmla="*/ 100 w 191"/>
                  <a:gd name="T69" fmla="*/ 19 h 134"/>
                  <a:gd name="T70" fmla="*/ 93 w 191"/>
                  <a:gd name="T71" fmla="*/ 17 h 134"/>
                  <a:gd name="T72" fmla="*/ 91 w 191"/>
                  <a:gd name="T73" fmla="*/ 11 h 134"/>
                  <a:gd name="T74" fmla="*/ 83 w 191"/>
                  <a:gd name="T75" fmla="*/ 5 h 134"/>
                  <a:gd name="T76" fmla="*/ 77 w 191"/>
                  <a:gd name="T77" fmla="*/ 5 h 134"/>
                  <a:gd name="T78" fmla="*/ 73 w 191"/>
                  <a:gd name="T79" fmla="*/ 0 h 134"/>
                  <a:gd name="T80" fmla="*/ 66 w 191"/>
                  <a:gd name="T81" fmla="*/ 3 h 134"/>
                  <a:gd name="T82" fmla="*/ 68 w 191"/>
                  <a:gd name="T83" fmla="*/ 11 h 134"/>
                  <a:gd name="T84" fmla="*/ 65 w 191"/>
                  <a:gd name="T85" fmla="*/ 9 h 134"/>
                  <a:gd name="T86" fmla="*/ 60 w 191"/>
                  <a:gd name="T87" fmla="*/ 8 h 134"/>
                  <a:gd name="T88" fmla="*/ 56 w 191"/>
                  <a:gd name="T89" fmla="*/ 19 h 134"/>
                  <a:gd name="T90" fmla="*/ 48 w 191"/>
                  <a:gd name="T91" fmla="*/ 21 h 134"/>
                  <a:gd name="T92" fmla="*/ 41 w 191"/>
                  <a:gd name="T93" fmla="*/ 19 h 134"/>
                  <a:gd name="T94" fmla="*/ 35 w 191"/>
                  <a:gd name="T95" fmla="*/ 24 h 134"/>
                  <a:gd name="T96" fmla="*/ 29 w 191"/>
                  <a:gd name="T97" fmla="*/ 19 h 134"/>
                  <a:gd name="T98" fmla="*/ 20 w 191"/>
                  <a:gd name="T99" fmla="*/ 14 h 134"/>
                  <a:gd name="T100" fmla="*/ 0 w 191"/>
                  <a:gd name="T101" fmla="*/ 19 h 134"/>
                  <a:gd name="T102" fmla="*/ 0 w 191"/>
                  <a:gd name="T103" fmla="*/ 19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1"/>
                  <a:gd name="T157" fmla="*/ 0 h 134"/>
                  <a:gd name="T158" fmla="*/ 191 w 191"/>
                  <a:gd name="T159" fmla="*/ 134 h 1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1" h="134">
                    <a:moveTo>
                      <a:pt x="0" y="19"/>
                    </a:moveTo>
                    <a:lnTo>
                      <a:pt x="1" y="37"/>
                    </a:lnTo>
                    <a:lnTo>
                      <a:pt x="11" y="26"/>
                    </a:lnTo>
                    <a:lnTo>
                      <a:pt x="25" y="40"/>
                    </a:lnTo>
                    <a:lnTo>
                      <a:pt x="19" y="48"/>
                    </a:lnTo>
                    <a:lnTo>
                      <a:pt x="2" y="40"/>
                    </a:lnTo>
                    <a:lnTo>
                      <a:pt x="0" y="52"/>
                    </a:lnTo>
                    <a:lnTo>
                      <a:pt x="2" y="59"/>
                    </a:lnTo>
                    <a:lnTo>
                      <a:pt x="11" y="60"/>
                    </a:lnTo>
                    <a:lnTo>
                      <a:pt x="7" y="68"/>
                    </a:lnTo>
                    <a:lnTo>
                      <a:pt x="15" y="73"/>
                    </a:lnTo>
                    <a:lnTo>
                      <a:pt x="15" y="97"/>
                    </a:lnTo>
                    <a:lnTo>
                      <a:pt x="41" y="90"/>
                    </a:lnTo>
                    <a:lnTo>
                      <a:pt x="56" y="83"/>
                    </a:lnTo>
                    <a:lnTo>
                      <a:pt x="90" y="99"/>
                    </a:lnTo>
                    <a:lnTo>
                      <a:pt x="110" y="108"/>
                    </a:lnTo>
                    <a:lnTo>
                      <a:pt x="115" y="113"/>
                    </a:lnTo>
                    <a:lnTo>
                      <a:pt x="117" y="124"/>
                    </a:lnTo>
                    <a:lnTo>
                      <a:pt x="137" y="133"/>
                    </a:lnTo>
                    <a:lnTo>
                      <a:pt x="166" y="101"/>
                    </a:lnTo>
                    <a:lnTo>
                      <a:pt x="185" y="101"/>
                    </a:lnTo>
                    <a:lnTo>
                      <a:pt x="188" y="88"/>
                    </a:lnTo>
                    <a:lnTo>
                      <a:pt x="190" y="82"/>
                    </a:lnTo>
                    <a:lnTo>
                      <a:pt x="184" y="74"/>
                    </a:lnTo>
                    <a:lnTo>
                      <a:pt x="170" y="69"/>
                    </a:lnTo>
                    <a:lnTo>
                      <a:pt x="169" y="62"/>
                    </a:lnTo>
                    <a:lnTo>
                      <a:pt x="149" y="57"/>
                    </a:lnTo>
                    <a:lnTo>
                      <a:pt x="137" y="45"/>
                    </a:lnTo>
                    <a:lnTo>
                      <a:pt x="132" y="38"/>
                    </a:lnTo>
                    <a:lnTo>
                      <a:pt x="123" y="31"/>
                    </a:lnTo>
                    <a:lnTo>
                      <a:pt x="117" y="35"/>
                    </a:lnTo>
                    <a:lnTo>
                      <a:pt x="113" y="38"/>
                    </a:lnTo>
                    <a:lnTo>
                      <a:pt x="106" y="37"/>
                    </a:lnTo>
                    <a:lnTo>
                      <a:pt x="100" y="26"/>
                    </a:lnTo>
                    <a:lnTo>
                      <a:pt x="100" y="19"/>
                    </a:lnTo>
                    <a:lnTo>
                      <a:pt x="93" y="17"/>
                    </a:lnTo>
                    <a:lnTo>
                      <a:pt x="91" y="11"/>
                    </a:lnTo>
                    <a:lnTo>
                      <a:pt x="83" y="5"/>
                    </a:lnTo>
                    <a:lnTo>
                      <a:pt x="77" y="5"/>
                    </a:lnTo>
                    <a:lnTo>
                      <a:pt x="73" y="0"/>
                    </a:lnTo>
                    <a:lnTo>
                      <a:pt x="66" y="3"/>
                    </a:lnTo>
                    <a:lnTo>
                      <a:pt x="68" y="11"/>
                    </a:lnTo>
                    <a:lnTo>
                      <a:pt x="65" y="9"/>
                    </a:lnTo>
                    <a:lnTo>
                      <a:pt x="60" y="8"/>
                    </a:lnTo>
                    <a:lnTo>
                      <a:pt x="56" y="19"/>
                    </a:lnTo>
                    <a:lnTo>
                      <a:pt x="48" y="21"/>
                    </a:lnTo>
                    <a:lnTo>
                      <a:pt x="41" y="19"/>
                    </a:lnTo>
                    <a:lnTo>
                      <a:pt x="35" y="24"/>
                    </a:lnTo>
                    <a:lnTo>
                      <a:pt x="29" y="19"/>
                    </a:lnTo>
                    <a:lnTo>
                      <a:pt x="20" y="14"/>
                    </a:lnTo>
                    <a:lnTo>
                      <a:pt x="0" y="19"/>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211" name="Tukey">
                <a:extLst>
                  <a:ext uri="{FF2B5EF4-FFF2-40B4-BE49-F238E27FC236}">
                    <a16:creationId xmlns:a16="http://schemas.microsoft.com/office/drawing/2014/main" id="{27626894-8BB0-9FF1-AA7C-46E41B2864E4}"/>
                  </a:ext>
                </a:extLst>
              </p:cNvPr>
              <p:cNvGrpSpPr>
                <a:grpSpLocks noGrp="1" noUngrp="1" noRot="1" noMove="1" noResize="1"/>
              </p:cNvGrpSpPr>
              <p:nvPr/>
            </p:nvGrpSpPr>
            <p:grpSpPr>
              <a:xfrm>
                <a:off x="5390022" y="3451952"/>
                <a:ext cx="463167" cy="197385"/>
                <a:chOff x="5390022" y="3451952"/>
                <a:chExt cx="463167" cy="197385"/>
              </a:xfrm>
              <a:grpFill/>
            </p:grpSpPr>
            <p:sp>
              <p:nvSpPr>
                <p:cNvPr id="226" name="Turkey">
                  <a:extLst>
                    <a:ext uri="{FF2B5EF4-FFF2-40B4-BE49-F238E27FC236}">
                      <a16:creationId xmlns:a16="http://schemas.microsoft.com/office/drawing/2014/main" id="{F17F846B-8E22-7179-168B-1AF688672002}"/>
                    </a:ext>
                  </a:extLst>
                </p:cNvPr>
                <p:cNvSpPr>
                  <a:spLocks noGrp="1" noRot="1" noMove="1" noResize="1" noEditPoints="1" noAdjustHandles="1" noChangeArrowheads="1" noChangeShapeType="1"/>
                </p:cNvSpPr>
                <p:nvPr/>
              </p:nvSpPr>
              <p:spPr bwMode="gray">
                <a:xfrm>
                  <a:off x="5390022" y="3458605"/>
                  <a:ext cx="70762" cy="57663"/>
                </a:xfrm>
                <a:custGeom>
                  <a:avLst/>
                  <a:gdLst/>
                  <a:ahLst/>
                  <a:cxnLst>
                    <a:cxn ang="0">
                      <a:pos x="0" y="17"/>
                    </a:cxn>
                    <a:cxn ang="0">
                      <a:pos x="0" y="17"/>
                    </a:cxn>
                    <a:cxn ang="0">
                      <a:pos x="4" y="1"/>
                    </a:cxn>
                    <a:cxn ang="0">
                      <a:pos x="26" y="0"/>
                    </a:cxn>
                    <a:cxn ang="0">
                      <a:pos x="38" y="12"/>
                    </a:cxn>
                    <a:cxn ang="0">
                      <a:pos x="21" y="13"/>
                    </a:cxn>
                    <a:cxn ang="0">
                      <a:pos x="2" y="25"/>
                    </a:cxn>
                    <a:cxn ang="0">
                      <a:pos x="10" y="19"/>
                    </a:cxn>
                    <a:cxn ang="0">
                      <a:pos x="0" y="17"/>
                    </a:cxn>
                    <a:cxn ang="0">
                      <a:pos x="0" y="17"/>
                    </a:cxn>
                  </a:cxnLst>
                  <a:rect l="0" t="0" r="r" b="b"/>
                  <a:pathLst>
                    <a:path w="39" h="26">
                      <a:moveTo>
                        <a:pt x="0" y="17"/>
                      </a:moveTo>
                      <a:lnTo>
                        <a:pt x="0" y="17"/>
                      </a:lnTo>
                      <a:lnTo>
                        <a:pt x="4" y="1"/>
                      </a:lnTo>
                      <a:lnTo>
                        <a:pt x="26" y="0"/>
                      </a:lnTo>
                      <a:lnTo>
                        <a:pt x="38" y="12"/>
                      </a:lnTo>
                      <a:lnTo>
                        <a:pt x="21" y="13"/>
                      </a:lnTo>
                      <a:lnTo>
                        <a:pt x="2" y="25"/>
                      </a:lnTo>
                      <a:lnTo>
                        <a:pt x="10" y="19"/>
                      </a:lnTo>
                      <a:lnTo>
                        <a:pt x="0" y="17"/>
                      </a:lnTo>
                      <a:lnTo>
                        <a:pt x="0" y="17"/>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7" name="Turkey">
                  <a:extLst>
                    <a:ext uri="{FF2B5EF4-FFF2-40B4-BE49-F238E27FC236}">
                      <a16:creationId xmlns:a16="http://schemas.microsoft.com/office/drawing/2014/main" id="{E0E2266C-2B48-8680-23C9-7F4494735F47}"/>
                    </a:ext>
                  </a:extLst>
                </p:cNvPr>
                <p:cNvSpPr>
                  <a:spLocks noGrp="1" noRot="1" noMove="1" noResize="1" noEditPoints="1" noAdjustHandles="1" noChangeArrowheads="1" noChangeShapeType="1"/>
                </p:cNvSpPr>
                <p:nvPr/>
              </p:nvSpPr>
              <p:spPr bwMode="gray">
                <a:xfrm>
                  <a:off x="5396454" y="3451952"/>
                  <a:ext cx="456735" cy="197385"/>
                </a:xfrm>
                <a:custGeom>
                  <a:avLst/>
                  <a:gdLst/>
                  <a:ahLst/>
                  <a:cxnLst>
                    <a:cxn ang="0">
                      <a:pos x="0" y="29"/>
                    </a:cxn>
                    <a:cxn ang="0">
                      <a:pos x="0" y="29"/>
                    </a:cxn>
                    <a:cxn ang="0">
                      <a:pos x="11" y="52"/>
                    </a:cxn>
                    <a:cxn ang="0">
                      <a:pos x="0" y="54"/>
                    </a:cxn>
                    <a:cxn ang="0">
                      <a:pos x="11" y="58"/>
                    </a:cxn>
                    <a:cxn ang="0">
                      <a:pos x="14" y="72"/>
                    </a:cxn>
                    <a:cxn ang="0">
                      <a:pos x="29" y="70"/>
                    </a:cxn>
                    <a:cxn ang="0">
                      <a:pos x="14" y="76"/>
                    </a:cxn>
                    <a:cxn ang="0">
                      <a:pos x="31" y="74"/>
                    </a:cxn>
                    <a:cxn ang="0">
                      <a:pos x="48" y="83"/>
                    </a:cxn>
                    <a:cxn ang="0">
                      <a:pos x="64" y="73"/>
                    </a:cxn>
                    <a:cxn ang="0">
                      <a:pos x="89" y="86"/>
                    </a:cxn>
                    <a:cxn ang="0">
                      <a:pos x="132" y="73"/>
                    </a:cxn>
                    <a:cxn ang="0">
                      <a:pos x="131" y="87"/>
                    </a:cxn>
                    <a:cxn ang="0">
                      <a:pos x="139" y="73"/>
                    </a:cxn>
                    <a:cxn ang="0">
                      <a:pos x="220" y="70"/>
                    </a:cxn>
                    <a:cxn ang="0">
                      <a:pos x="251" y="69"/>
                    </a:cxn>
                    <a:cxn ang="0">
                      <a:pos x="242" y="38"/>
                    </a:cxn>
                    <a:cxn ang="0">
                      <a:pos x="248" y="32"/>
                    </a:cxn>
                    <a:cxn ang="0">
                      <a:pos x="223" y="6"/>
                    </a:cxn>
                    <a:cxn ang="0">
                      <a:pos x="206" y="6"/>
                    </a:cxn>
                    <a:cxn ang="0">
                      <a:pos x="161" y="17"/>
                    </a:cxn>
                    <a:cxn ang="0">
                      <a:pos x="121" y="0"/>
                    </a:cxn>
                    <a:cxn ang="0">
                      <a:pos x="96" y="0"/>
                    </a:cxn>
                    <a:cxn ang="0">
                      <a:pos x="65" y="15"/>
                    </a:cxn>
                    <a:cxn ang="0">
                      <a:pos x="39" y="12"/>
                    </a:cxn>
                    <a:cxn ang="0">
                      <a:pos x="47" y="19"/>
                    </a:cxn>
                    <a:cxn ang="0">
                      <a:pos x="0" y="29"/>
                    </a:cxn>
                    <a:cxn ang="0">
                      <a:pos x="0" y="29"/>
                    </a:cxn>
                  </a:cxnLst>
                  <a:rect l="0" t="0" r="r" b="b"/>
                  <a:pathLst>
                    <a:path w="252" h="88">
                      <a:moveTo>
                        <a:pt x="0" y="29"/>
                      </a:moveTo>
                      <a:lnTo>
                        <a:pt x="0" y="29"/>
                      </a:lnTo>
                      <a:lnTo>
                        <a:pt x="11" y="52"/>
                      </a:lnTo>
                      <a:lnTo>
                        <a:pt x="0" y="54"/>
                      </a:lnTo>
                      <a:lnTo>
                        <a:pt x="11" y="58"/>
                      </a:lnTo>
                      <a:lnTo>
                        <a:pt x="14" y="72"/>
                      </a:lnTo>
                      <a:lnTo>
                        <a:pt x="29" y="70"/>
                      </a:lnTo>
                      <a:lnTo>
                        <a:pt x="14" y="76"/>
                      </a:lnTo>
                      <a:lnTo>
                        <a:pt x="31" y="74"/>
                      </a:lnTo>
                      <a:lnTo>
                        <a:pt x="48" y="83"/>
                      </a:lnTo>
                      <a:lnTo>
                        <a:pt x="64" y="73"/>
                      </a:lnTo>
                      <a:lnTo>
                        <a:pt x="89" y="86"/>
                      </a:lnTo>
                      <a:lnTo>
                        <a:pt x="132" y="73"/>
                      </a:lnTo>
                      <a:lnTo>
                        <a:pt x="131" y="87"/>
                      </a:lnTo>
                      <a:lnTo>
                        <a:pt x="139" y="73"/>
                      </a:lnTo>
                      <a:lnTo>
                        <a:pt x="220" y="70"/>
                      </a:lnTo>
                      <a:lnTo>
                        <a:pt x="251" y="69"/>
                      </a:lnTo>
                      <a:lnTo>
                        <a:pt x="242" y="38"/>
                      </a:lnTo>
                      <a:lnTo>
                        <a:pt x="248" y="32"/>
                      </a:lnTo>
                      <a:lnTo>
                        <a:pt x="223" y="6"/>
                      </a:lnTo>
                      <a:lnTo>
                        <a:pt x="206" y="6"/>
                      </a:lnTo>
                      <a:lnTo>
                        <a:pt x="161" y="17"/>
                      </a:lnTo>
                      <a:lnTo>
                        <a:pt x="121" y="0"/>
                      </a:lnTo>
                      <a:lnTo>
                        <a:pt x="96" y="0"/>
                      </a:lnTo>
                      <a:lnTo>
                        <a:pt x="65" y="15"/>
                      </a:lnTo>
                      <a:lnTo>
                        <a:pt x="39" y="12"/>
                      </a:lnTo>
                      <a:lnTo>
                        <a:pt x="47" y="19"/>
                      </a:lnTo>
                      <a:lnTo>
                        <a:pt x="0" y="29"/>
                      </a:lnTo>
                      <a:lnTo>
                        <a:pt x="0" y="29"/>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212" name="Tajikistan">
                <a:extLst>
                  <a:ext uri="{FF2B5EF4-FFF2-40B4-BE49-F238E27FC236}">
                    <a16:creationId xmlns:a16="http://schemas.microsoft.com/office/drawing/2014/main" id="{A375F0A0-E41F-0AA7-FA4D-0E77F483602B}"/>
                  </a:ext>
                </a:extLst>
              </p:cNvPr>
              <p:cNvSpPr>
                <a:spLocks noGrp="1" noRot="1" noChangeAspect="1" noMove="1" noResize="1" noEditPoints="1" noAdjustHandles="1" noChangeArrowheads="1" noChangeShapeType="1"/>
              </p:cNvSpPr>
              <p:nvPr/>
            </p:nvSpPr>
            <p:spPr bwMode="gray">
              <a:xfrm>
                <a:off x="6411714" y="3486481"/>
                <a:ext cx="187137" cy="140670"/>
              </a:xfrm>
              <a:custGeom>
                <a:avLst/>
                <a:gdLst>
                  <a:gd name="T0" fmla="*/ 0 w 102"/>
                  <a:gd name="T1" fmla="*/ 59 h 71"/>
                  <a:gd name="T2" fmla="*/ 1 w 102"/>
                  <a:gd name="T3" fmla="*/ 62 h 71"/>
                  <a:gd name="T4" fmla="*/ 8 w 102"/>
                  <a:gd name="T5" fmla="*/ 63 h 71"/>
                  <a:gd name="T6" fmla="*/ 26 w 102"/>
                  <a:gd name="T7" fmla="*/ 64 h 71"/>
                  <a:gd name="T8" fmla="*/ 47 w 102"/>
                  <a:gd name="T9" fmla="*/ 42 h 71"/>
                  <a:gd name="T10" fmla="*/ 53 w 102"/>
                  <a:gd name="T11" fmla="*/ 56 h 71"/>
                  <a:gd name="T12" fmla="*/ 59 w 102"/>
                  <a:gd name="T13" fmla="*/ 70 h 71"/>
                  <a:gd name="T14" fmla="*/ 72 w 102"/>
                  <a:gd name="T15" fmla="*/ 64 h 71"/>
                  <a:gd name="T16" fmla="*/ 86 w 102"/>
                  <a:gd name="T17" fmla="*/ 59 h 71"/>
                  <a:gd name="T18" fmla="*/ 100 w 102"/>
                  <a:gd name="T19" fmla="*/ 63 h 71"/>
                  <a:gd name="T20" fmla="*/ 101 w 102"/>
                  <a:gd name="T21" fmla="*/ 42 h 71"/>
                  <a:gd name="T22" fmla="*/ 91 w 102"/>
                  <a:gd name="T23" fmla="*/ 38 h 71"/>
                  <a:gd name="T24" fmla="*/ 85 w 102"/>
                  <a:gd name="T25" fmla="*/ 39 h 71"/>
                  <a:gd name="T26" fmla="*/ 89 w 102"/>
                  <a:gd name="T27" fmla="*/ 26 h 71"/>
                  <a:gd name="T28" fmla="*/ 77 w 102"/>
                  <a:gd name="T29" fmla="*/ 23 h 71"/>
                  <a:gd name="T30" fmla="*/ 67 w 102"/>
                  <a:gd name="T31" fmla="*/ 22 h 71"/>
                  <a:gd name="T32" fmla="*/ 53 w 102"/>
                  <a:gd name="T33" fmla="*/ 22 h 71"/>
                  <a:gd name="T34" fmla="*/ 42 w 102"/>
                  <a:gd name="T35" fmla="*/ 22 h 71"/>
                  <a:gd name="T36" fmla="*/ 28 w 102"/>
                  <a:gd name="T37" fmla="*/ 22 h 71"/>
                  <a:gd name="T38" fmla="*/ 17 w 102"/>
                  <a:gd name="T39" fmla="*/ 20 h 71"/>
                  <a:gd name="T40" fmla="*/ 15 w 102"/>
                  <a:gd name="T41" fmla="*/ 18 h 71"/>
                  <a:gd name="T42" fmla="*/ 17 w 102"/>
                  <a:gd name="T43" fmla="*/ 13 h 71"/>
                  <a:gd name="T44" fmla="*/ 22 w 102"/>
                  <a:gd name="T45" fmla="*/ 10 h 71"/>
                  <a:gd name="T46" fmla="*/ 41 w 102"/>
                  <a:gd name="T47" fmla="*/ 6 h 71"/>
                  <a:gd name="T48" fmla="*/ 40 w 102"/>
                  <a:gd name="T49" fmla="*/ 0 h 71"/>
                  <a:gd name="T50" fmla="*/ 26 w 102"/>
                  <a:gd name="T51" fmla="*/ 2 h 71"/>
                  <a:gd name="T52" fmla="*/ 13 w 102"/>
                  <a:gd name="T53" fmla="*/ 1 h 71"/>
                  <a:gd name="T54" fmla="*/ 5 w 102"/>
                  <a:gd name="T55" fmla="*/ 8 h 71"/>
                  <a:gd name="T56" fmla="*/ 2 w 102"/>
                  <a:gd name="T57" fmla="*/ 22 h 71"/>
                  <a:gd name="T58" fmla="*/ 3 w 102"/>
                  <a:gd name="T59" fmla="*/ 26 h 71"/>
                  <a:gd name="T60" fmla="*/ 2 w 102"/>
                  <a:gd name="T61" fmla="*/ 27 h 71"/>
                  <a:gd name="T62" fmla="*/ 11 w 102"/>
                  <a:gd name="T63" fmla="*/ 29 h 71"/>
                  <a:gd name="T64" fmla="*/ 15 w 102"/>
                  <a:gd name="T65" fmla="*/ 37 h 71"/>
                  <a:gd name="T66" fmla="*/ 13 w 102"/>
                  <a:gd name="T67" fmla="*/ 46 h 71"/>
                  <a:gd name="T68" fmla="*/ 10 w 102"/>
                  <a:gd name="T69" fmla="*/ 47 h 71"/>
                  <a:gd name="T70" fmla="*/ 7 w 102"/>
                  <a:gd name="T71" fmla="*/ 51 h 71"/>
                  <a:gd name="T72" fmla="*/ 0 w 102"/>
                  <a:gd name="T73" fmla="*/ 59 h 71"/>
                  <a:gd name="T74" fmla="*/ 0 w 102"/>
                  <a:gd name="T75" fmla="*/ 59 h 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2"/>
                  <a:gd name="T115" fmla="*/ 0 h 71"/>
                  <a:gd name="T116" fmla="*/ 102 w 102"/>
                  <a:gd name="T117" fmla="*/ 71 h 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2" h="71">
                    <a:moveTo>
                      <a:pt x="0" y="59"/>
                    </a:moveTo>
                    <a:lnTo>
                      <a:pt x="1" y="62"/>
                    </a:lnTo>
                    <a:lnTo>
                      <a:pt x="8" y="63"/>
                    </a:lnTo>
                    <a:lnTo>
                      <a:pt x="26" y="64"/>
                    </a:lnTo>
                    <a:lnTo>
                      <a:pt x="47" y="42"/>
                    </a:lnTo>
                    <a:lnTo>
                      <a:pt x="53" y="56"/>
                    </a:lnTo>
                    <a:lnTo>
                      <a:pt x="59" y="70"/>
                    </a:lnTo>
                    <a:lnTo>
                      <a:pt x="72" y="64"/>
                    </a:lnTo>
                    <a:lnTo>
                      <a:pt x="86" y="59"/>
                    </a:lnTo>
                    <a:lnTo>
                      <a:pt x="100" y="63"/>
                    </a:lnTo>
                    <a:lnTo>
                      <a:pt x="101" y="42"/>
                    </a:lnTo>
                    <a:lnTo>
                      <a:pt x="91" y="38"/>
                    </a:lnTo>
                    <a:lnTo>
                      <a:pt x="85" y="39"/>
                    </a:lnTo>
                    <a:lnTo>
                      <a:pt x="89" y="26"/>
                    </a:lnTo>
                    <a:lnTo>
                      <a:pt x="77" y="23"/>
                    </a:lnTo>
                    <a:lnTo>
                      <a:pt x="67" y="22"/>
                    </a:lnTo>
                    <a:lnTo>
                      <a:pt x="53" y="22"/>
                    </a:lnTo>
                    <a:lnTo>
                      <a:pt x="42" y="22"/>
                    </a:lnTo>
                    <a:lnTo>
                      <a:pt x="28" y="22"/>
                    </a:lnTo>
                    <a:lnTo>
                      <a:pt x="17" y="20"/>
                    </a:lnTo>
                    <a:lnTo>
                      <a:pt x="15" y="18"/>
                    </a:lnTo>
                    <a:lnTo>
                      <a:pt x="17" y="13"/>
                    </a:lnTo>
                    <a:lnTo>
                      <a:pt x="22" y="10"/>
                    </a:lnTo>
                    <a:lnTo>
                      <a:pt x="41" y="6"/>
                    </a:lnTo>
                    <a:lnTo>
                      <a:pt x="40" y="0"/>
                    </a:lnTo>
                    <a:lnTo>
                      <a:pt x="26" y="2"/>
                    </a:lnTo>
                    <a:lnTo>
                      <a:pt x="13" y="1"/>
                    </a:lnTo>
                    <a:lnTo>
                      <a:pt x="5" y="8"/>
                    </a:lnTo>
                    <a:lnTo>
                      <a:pt x="2" y="22"/>
                    </a:lnTo>
                    <a:lnTo>
                      <a:pt x="3" y="26"/>
                    </a:lnTo>
                    <a:lnTo>
                      <a:pt x="2" y="27"/>
                    </a:lnTo>
                    <a:lnTo>
                      <a:pt x="11" y="29"/>
                    </a:lnTo>
                    <a:lnTo>
                      <a:pt x="15" y="37"/>
                    </a:lnTo>
                    <a:lnTo>
                      <a:pt x="13" y="46"/>
                    </a:lnTo>
                    <a:lnTo>
                      <a:pt x="10" y="47"/>
                    </a:lnTo>
                    <a:lnTo>
                      <a:pt x="7" y="51"/>
                    </a:lnTo>
                    <a:lnTo>
                      <a:pt x="0" y="59"/>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3" name="Syria">
                <a:extLst>
                  <a:ext uri="{FF2B5EF4-FFF2-40B4-BE49-F238E27FC236}">
                    <a16:creationId xmlns:a16="http://schemas.microsoft.com/office/drawing/2014/main" id="{8F61084B-6885-45A5-19F7-9379EEEF2FFE}"/>
                  </a:ext>
                </a:extLst>
              </p:cNvPr>
              <p:cNvSpPr>
                <a:spLocks noGrp="1" noRot="1" noMove="1" noResize="1" noEditPoints="1" noAdjustHandles="1" noChangeArrowheads="1" noChangeShapeType="1"/>
              </p:cNvSpPr>
              <p:nvPr/>
            </p:nvSpPr>
            <p:spPr bwMode="gray">
              <a:xfrm>
                <a:off x="5621605" y="3609416"/>
                <a:ext cx="175832" cy="150811"/>
              </a:xfrm>
              <a:custGeom>
                <a:avLst/>
                <a:gdLst/>
                <a:ahLst/>
                <a:cxnLst>
                  <a:cxn ang="0">
                    <a:pos x="0" y="62"/>
                  </a:cxn>
                  <a:cxn ang="0">
                    <a:pos x="0" y="62"/>
                  </a:cxn>
                  <a:cxn ang="0">
                    <a:pos x="1" y="55"/>
                  </a:cxn>
                  <a:cxn ang="0">
                    <a:pos x="15" y="41"/>
                  </a:cxn>
                  <a:cxn ang="0">
                    <a:pos x="7" y="35"/>
                  </a:cxn>
                  <a:cxn ang="0">
                    <a:pos x="7" y="17"/>
                  </a:cxn>
                  <a:cxn ang="0">
                    <a:pos x="15" y="3"/>
                  </a:cxn>
                  <a:cxn ang="0">
                    <a:pos x="96" y="0"/>
                  </a:cxn>
                  <a:cxn ang="0">
                    <a:pos x="81" y="10"/>
                  </a:cxn>
                  <a:cxn ang="0">
                    <a:pos x="76" y="37"/>
                  </a:cxn>
                  <a:cxn ang="0">
                    <a:pos x="43" y="53"/>
                  </a:cxn>
                  <a:cxn ang="0">
                    <a:pos x="14" y="66"/>
                  </a:cxn>
                  <a:cxn ang="0">
                    <a:pos x="0" y="62"/>
                  </a:cxn>
                  <a:cxn ang="0">
                    <a:pos x="0" y="62"/>
                  </a:cxn>
                </a:cxnLst>
                <a:rect l="0" t="0" r="r" b="b"/>
                <a:pathLst>
                  <a:path w="97" h="67">
                    <a:moveTo>
                      <a:pt x="0" y="62"/>
                    </a:moveTo>
                    <a:lnTo>
                      <a:pt x="0" y="62"/>
                    </a:lnTo>
                    <a:lnTo>
                      <a:pt x="1" y="55"/>
                    </a:lnTo>
                    <a:lnTo>
                      <a:pt x="15" y="41"/>
                    </a:lnTo>
                    <a:lnTo>
                      <a:pt x="7" y="35"/>
                    </a:lnTo>
                    <a:lnTo>
                      <a:pt x="7" y="17"/>
                    </a:lnTo>
                    <a:lnTo>
                      <a:pt x="15" y="3"/>
                    </a:lnTo>
                    <a:lnTo>
                      <a:pt x="96" y="0"/>
                    </a:lnTo>
                    <a:lnTo>
                      <a:pt x="81" y="10"/>
                    </a:lnTo>
                    <a:lnTo>
                      <a:pt x="76" y="37"/>
                    </a:lnTo>
                    <a:lnTo>
                      <a:pt x="43" y="53"/>
                    </a:lnTo>
                    <a:lnTo>
                      <a:pt x="14" y="66"/>
                    </a:lnTo>
                    <a:lnTo>
                      <a:pt x="0" y="62"/>
                    </a:lnTo>
                    <a:lnTo>
                      <a:pt x="0" y="62"/>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4" name="Saudi Arabia">
                <a:extLst>
                  <a:ext uri="{FF2B5EF4-FFF2-40B4-BE49-F238E27FC236}">
                    <a16:creationId xmlns:a16="http://schemas.microsoft.com/office/drawing/2014/main" id="{1BEF3768-A301-3AF9-F5A2-D7712B63D85E}"/>
                  </a:ext>
                </a:extLst>
              </p:cNvPr>
              <p:cNvSpPr>
                <a:spLocks noGrp="1" noRot="1" noMove="1" noResize="1" noEditPoints="1" noAdjustHandles="1" noChangeArrowheads="1" noChangeShapeType="1"/>
              </p:cNvSpPr>
              <p:nvPr/>
            </p:nvSpPr>
            <p:spPr bwMode="gray">
              <a:xfrm>
                <a:off x="5602307" y="3762445"/>
                <a:ext cx="519239" cy="483467"/>
              </a:xfrm>
              <a:custGeom>
                <a:avLst/>
                <a:gdLst>
                  <a:gd name="connsiteX0" fmla="*/ 0 w 9965"/>
                  <a:gd name="connsiteY0" fmla="*/ 2593 h 9954"/>
                  <a:gd name="connsiteX1" fmla="*/ 0 w 9965"/>
                  <a:gd name="connsiteY1" fmla="*/ 2593 h 9954"/>
                  <a:gd name="connsiteX2" fmla="*/ 139 w 9965"/>
                  <a:gd name="connsiteY2" fmla="*/ 1713 h 9954"/>
                  <a:gd name="connsiteX3" fmla="*/ 660 w 9965"/>
                  <a:gd name="connsiteY3" fmla="*/ 1944 h 9954"/>
                  <a:gd name="connsiteX4" fmla="*/ 1285 w 9965"/>
                  <a:gd name="connsiteY4" fmla="*/ 1389 h 9954"/>
                  <a:gd name="connsiteX5" fmla="*/ 1563 w 9965"/>
                  <a:gd name="connsiteY5" fmla="*/ 1019 h 9954"/>
                  <a:gd name="connsiteX6" fmla="*/ 1042 w 9965"/>
                  <a:gd name="connsiteY6" fmla="*/ 417 h 9954"/>
                  <a:gd name="connsiteX7" fmla="*/ 2118 w 9965"/>
                  <a:gd name="connsiteY7" fmla="*/ 0 h 9954"/>
                  <a:gd name="connsiteX8" fmla="*/ 4236 w 9965"/>
                  <a:gd name="connsiteY8" fmla="*/ 1157 h 9954"/>
                  <a:gd name="connsiteX9" fmla="*/ 4271 w 9965"/>
                  <a:gd name="connsiteY9" fmla="*/ 1574 h 9954"/>
                  <a:gd name="connsiteX10" fmla="*/ 4757 w 9965"/>
                  <a:gd name="connsiteY10" fmla="*/ 1852 h 9954"/>
                  <a:gd name="connsiteX11" fmla="*/ 5625 w 9965"/>
                  <a:gd name="connsiteY11" fmla="*/ 1944 h 9954"/>
                  <a:gd name="connsiteX12" fmla="*/ 6493 w 9965"/>
                  <a:gd name="connsiteY12" fmla="*/ 2269 h 9954"/>
                  <a:gd name="connsiteX13" fmla="*/ 7639 w 9965"/>
                  <a:gd name="connsiteY13" fmla="*/ 4491 h 9954"/>
                  <a:gd name="connsiteX14" fmla="*/ 7778 w 9965"/>
                  <a:gd name="connsiteY14" fmla="*/ 4676 h 9954"/>
                  <a:gd name="connsiteX15" fmla="*/ 8229 w 9965"/>
                  <a:gd name="connsiteY15" fmla="*/ 5556 h 9954"/>
                  <a:gd name="connsiteX16" fmla="*/ 9722 w 9965"/>
                  <a:gd name="connsiteY16" fmla="*/ 5787 h 9954"/>
                  <a:gd name="connsiteX17" fmla="*/ 9965 w 9965"/>
                  <a:gd name="connsiteY17" fmla="*/ 6204 h 9954"/>
                  <a:gd name="connsiteX18" fmla="*/ 9618 w 9965"/>
                  <a:gd name="connsiteY18" fmla="*/ 7361 h 9954"/>
                  <a:gd name="connsiteX19" fmla="*/ 8229 w 9965"/>
                  <a:gd name="connsiteY19" fmla="*/ 7963 h 9954"/>
                  <a:gd name="connsiteX20" fmla="*/ 6701 w 9965"/>
                  <a:gd name="connsiteY20" fmla="*/ 8380 h 9954"/>
                  <a:gd name="connsiteX21" fmla="*/ 5486 w 9965"/>
                  <a:gd name="connsiteY21" fmla="*/ 9954 h 9954"/>
                  <a:gd name="connsiteX22" fmla="*/ 5486 w 9965"/>
                  <a:gd name="connsiteY22" fmla="*/ 9306 h 9954"/>
                  <a:gd name="connsiteX23" fmla="*/ 4618 w 9965"/>
                  <a:gd name="connsiteY23" fmla="*/ 8935 h 9954"/>
                  <a:gd name="connsiteX24" fmla="*/ 3785 w 9965"/>
                  <a:gd name="connsiteY24" fmla="*/ 9444 h 9954"/>
                  <a:gd name="connsiteX25" fmla="*/ 2917 w 9965"/>
                  <a:gd name="connsiteY25" fmla="*/ 7639 h 9954"/>
                  <a:gd name="connsiteX26" fmla="*/ 2222 w 9965"/>
                  <a:gd name="connsiteY26" fmla="*/ 6991 h 9954"/>
                  <a:gd name="connsiteX27" fmla="*/ 1771 w 9965"/>
                  <a:gd name="connsiteY27" fmla="*/ 5093 h 9954"/>
                  <a:gd name="connsiteX28" fmla="*/ 0 w 9965"/>
                  <a:gd name="connsiteY28" fmla="*/ 2593 h 9954"/>
                  <a:gd name="connsiteX29" fmla="*/ 0 w 9965"/>
                  <a:gd name="connsiteY29" fmla="*/ 2593 h 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965" h="9954">
                    <a:moveTo>
                      <a:pt x="0" y="2593"/>
                    </a:moveTo>
                    <a:lnTo>
                      <a:pt x="0" y="2593"/>
                    </a:lnTo>
                    <a:cubicBezTo>
                      <a:pt x="46" y="2300"/>
                      <a:pt x="93" y="2006"/>
                      <a:pt x="139" y="1713"/>
                    </a:cubicBezTo>
                    <a:lnTo>
                      <a:pt x="660" y="1944"/>
                    </a:lnTo>
                    <a:lnTo>
                      <a:pt x="1285" y="1389"/>
                    </a:lnTo>
                    <a:lnTo>
                      <a:pt x="1563" y="1019"/>
                    </a:lnTo>
                    <a:lnTo>
                      <a:pt x="1042" y="417"/>
                    </a:lnTo>
                    <a:lnTo>
                      <a:pt x="2118" y="0"/>
                    </a:lnTo>
                    <a:lnTo>
                      <a:pt x="4236" y="1157"/>
                    </a:lnTo>
                    <a:cubicBezTo>
                      <a:pt x="4248" y="1296"/>
                      <a:pt x="4259" y="1435"/>
                      <a:pt x="4271" y="1574"/>
                    </a:cubicBezTo>
                    <a:lnTo>
                      <a:pt x="4757" y="1852"/>
                    </a:lnTo>
                    <a:lnTo>
                      <a:pt x="5625" y="1944"/>
                    </a:lnTo>
                    <a:lnTo>
                      <a:pt x="6493" y="2269"/>
                    </a:lnTo>
                    <a:lnTo>
                      <a:pt x="7639" y="4491"/>
                    </a:lnTo>
                    <a:cubicBezTo>
                      <a:pt x="7685" y="4553"/>
                      <a:pt x="7732" y="4614"/>
                      <a:pt x="7778" y="4676"/>
                    </a:cubicBezTo>
                    <a:lnTo>
                      <a:pt x="8229" y="5556"/>
                    </a:lnTo>
                    <a:lnTo>
                      <a:pt x="9722" y="5787"/>
                    </a:lnTo>
                    <a:lnTo>
                      <a:pt x="9965" y="6204"/>
                    </a:lnTo>
                    <a:lnTo>
                      <a:pt x="9618" y="7361"/>
                    </a:lnTo>
                    <a:lnTo>
                      <a:pt x="8229" y="7963"/>
                    </a:lnTo>
                    <a:lnTo>
                      <a:pt x="6701" y="8380"/>
                    </a:lnTo>
                    <a:lnTo>
                      <a:pt x="5486" y="9954"/>
                    </a:lnTo>
                    <a:lnTo>
                      <a:pt x="5486" y="9306"/>
                    </a:lnTo>
                    <a:lnTo>
                      <a:pt x="4618" y="8935"/>
                    </a:lnTo>
                    <a:lnTo>
                      <a:pt x="3785" y="9444"/>
                    </a:lnTo>
                    <a:lnTo>
                      <a:pt x="2917" y="7639"/>
                    </a:lnTo>
                    <a:lnTo>
                      <a:pt x="2222" y="6991"/>
                    </a:lnTo>
                    <a:cubicBezTo>
                      <a:pt x="2072" y="6358"/>
                      <a:pt x="1921" y="5726"/>
                      <a:pt x="1771" y="5093"/>
                    </a:cubicBezTo>
                    <a:lnTo>
                      <a:pt x="0" y="2593"/>
                    </a:lnTo>
                    <a:lnTo>
                      <a:pt x="0" y="2593"/>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5" name="Qatar">
                <a:extLst>
                  <a:ext uri="{FF2B5EF4-FFF2-40B4-BE49-F238E27FC236}">
                    <a16:creationId xmlns:a16="http://schemas.microsoft.com/office/drawing/2014/main" id="{650CAEC0-7E8A-BF06-046D-628A9B25FBD1}"/>
                  </a:ext>
                </a:extLst>
              </p:cNvPr>
              <p:cNvSpPr>
                <a:spLocks noGrp="1" noRot="1" noMove="1" noResize="1" noEditPoints="1" noAdjustHandles="1" noChangeArrowheads="1" noChangeShapeType="1"/>
              </p:cNvSpPr>
              <p:nvPr/>
            </p:nvSpPr>
            <p:spPr bwMode="gray">
              <a:xfrm>
                <a:off x="6001144" y="3944307"/>
                <a:ext cx="15010" cy="48792"/>
              </a:xfrm>
              <a:custGeom>
                <a:avLst/>
                <a:gdLst/>
                <a:ahLst/>
                <a:cxnLst>
                  <a:cxn ang="0">
                    <a:pos x="0" y="16"/>
                  </a:cxn>
                  <a:cxn ang="0">
                    <a:pos x="0" y="16"/>
                  </a:cxn>
                  <a:cxn ang="0">
                    <a:pos x="4" y="20"/>
                  </a:cxn>
                  <a:cxn ang="0">
                    <a:pos x="8" y="19"/>
                  </a:cxn>
                  <a:cxn ang="0">
                    <a:pos x="4" y="0"/>
                  </a:cxn>
                  <a:cxn ang="0">
                    <a:pos x="0" y="16"/>
                  </a:cxn>
                  <a:cxn ang="0">
                    <a:pos x="0" y="16"/>
                  </a:cxn>
                </a:cxnLst>
                <a:rect l="0" t="0" r="r" b="b"/>
                <a:pathLst>
                  <a:path w="9" h="21">
                    <a:moveTo>
                      <a:pt x="0" y="16"/>
                    </a:moveTo>
                    <a:lnTo>
                      <a:pt x="0" y="16"/>
                    </a:lnTo>
                    <a:lnTo>
                      <a:pt x="4" y="20"/>
                    </a:lnTo>
                    <a:lnTo>
                      <a:pt x="8" y="19"/>
                    </a:lnTo>
                    <a:lnTo>
                      <a:pt x="4" y="0"/>
                    </a:lnTo>
                    <a:lnTo>
                      <a:pt x="0" y="16"/>
                    </a:lnTo>
                    <a:lnTo>
                      <a:pt x="0" y="16"/>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6" name="Pakistan">
                <a:extLst>
                  <a:ext uri="{FF2B5EF4-FFF2-40B4-BE49-F238E27FC236}">
                    <a16:creationId xmlns:a16="http://schemas.microsoft.com/office/drawing/2014/main" id="{A651DD48-4171-516E-6A85-D2CCAF5B53E6}"/>
                  </a:ext>
                </a:extLst>
              </p:cNvPr>
              <p:cNvSpPr>
                <a:spLocks noGrp="1" noRot="1" noChangeAspect="1" noMove="1" noResize="1" noEditPoints="1" noAdjustHandles="1" noChangeArrowheads="1" noChangeShapeType="1"/>
              </p:cNvSpPr>
              <p:nvPr/>
            </p:nvSpPr>
            <p:spPr bwMode="gray">
              <a:xfrm>
                <a:off x="6253223" y="3612229"/>
                <a:ext cx="416282" cy="402829"/>
              </a:xfrm>
              <a:custGeom>
                <a:avLst/>
                <a:gdLst>
                  <a:gd name="T0" fmla="*/ 0 w 230"/>
                  <a:gd name="T1" fmla="*/ 108 h 199"/>
                  <a:gd name="T2" fmla="*/ 0 w 230"/>
                  <a:gd name="T3" fmla="*/ 108 h 199"/>
                  <a:gd name="T4" fmla="*/ 22 w 230"/>
                  <a:gd name="T5" fmla="*/ 115 h 199"/>
                  <a:gd name="T6" fmla="*/ 72 w 230"/>
                  <a:gd name="T7" fmla="*/ 108 h 199"/>
                  <a:gd name="T8" fmla="*/ 81 w 230"/>
                  <a:gd name="T9" fmla="*/ 88 h 199"/>
                  <a:gd name="T10" fmla="*/ 115 w 230"/>
                  <a:gd name="T11" fmla="*/ 77 h 199"/>
                  <a:gd name="T12" fmla="*/ 118 w 230"/>
                  <a:gd name="T13" fmla="*/ 60 h 199"/>
                  <a:gd name="T14" fmla="*/ 130 w 230"/>
                  <a:gd name="T15" fmla="*/ 56 h 199"/>
                  <a:gd name="T16" fmla="*/ 125 w 230"/>
                  <a:gd name="T17" fmla="*/ 47 h 199"/>
                  <a:gd name="T18" fmla="*/ 137 w 230"/>
                  <a:gd name="T19" fmla="*/ 46 h 199"/>
                  <a:gd name="T20" fmla="*/ 146 w 230"/>
                  <a:gd name="T21" fmla="*/ 29 h 199"/>
                  <a:gd name="T22" fmla="*/ 142 w 230"/>
                  <a:gd name="T23" fmla="*/ 12 h 199"/>
                  <a:gd name="T24" fmla="*/ 188 w 230"/>
                  <a:gd name="T25" fmla="*/ 0 h 199"/>
                  <a:gd name="T26" fmla="*/ 229 w 230"/>
                  <a:gd name="T27" fmla="*/ 25 h 199"/>
                  <a:gd name="T28" fmla="*/ 218 w 230"/>
                  <a:gd name="T29" fmla="*/ 36 h 199"/>
                  <a:gd name="T30" fmla="*/ 179 w 230"/>
                  <a:gd name="T31" fmla="*/ 36 h 199"/>
                  <a:gd name="T32" fmla="*/ 179 w 230"/>
                  <a:gd name="T33" fmla="*/ 58 h 199"/>
                  <a:gd name="T34" fmla="*/ 197 w 230"/>
                  <a:gd name="T35" fmla="*/ 72 h 199"/>
                  <a:gd name="T36" fmla="*/ 186 w 230"/>
                  <a:gd name="T37" fmla="*/ 79 h 199"/>
                  <a:gd name="T38" fmla="*/ 189 w 230"/>
                  <a:gd name="T39" fmla="*/ 92 h 199"/>
                  <a:gd name="T40" fmla="*/ 149 w 230"/>
                  <a:gd name="T41" fmla="*/ 137 h 199"/>
                  <a:gd name="T42" fmla="*/ 131 w 230"/>
                  <a:gd name="T43" fmla="*/ 136 h 199"/>
                  <a:gd name="T44" fmla="*/ 118 w 230"/>
                  <a:gd name="T45" fmla="*/ 147 h 199"/>
                  <a:gd name="T46" fmla="*/ 140 w 230"/>
                  <a:gd name="T47" fmla="*/ 189 h 199"/>
                  <a:gd name="T48" fmla="*/ 109 w 230"/>
                  <a:gd name="T49" fmla="*/ 189 h 199"/>
                  <a:gd name="T50" fmla="*/ 98 w 230"/>
                  <a:gd name="T51" fmla="*/ 198 h 199"/>
                  <a:gd name="T52" fmla="*/ 75 w 230"/>
                  <a:gd name="T53" fmla="*/ 173 h 199"/>
                  <a:gd name="T54" fmla="*/ 11 w 230"/>
                  <a:gd name="T55" fmla="*/ 178 h 199"/>
                  <a:gd name="T56" fmla="*/ 32 w 230"/>
                  <a:gd name="T57" fmla="*/ 149 h 199"/>
                  <a:gd name="T58" fmla="*/ 0 w 230"/>
                  <a:gd name="T59" fmla="*/ 108 h 199"/>
                  <a:gd name="T60" fmla="*/ 0 w 230"/>
                  <a:gd name="T61" fmla="*/ 108 h 19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0"/>
                  <a:gd name="T94" fmla="*/ 0 h 199"/>
                  <a:gd name="T95" fmla="*/ 230 w 230"/>
                  <a:gd name="T96" fmla="*/ 199 h 19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0" h="199">
                    <a:moveTo>
                      <a:pt x="0" y="108"/>
                    </a:moveTo>
                    <a:lnTo>
                      <a:pt x="0" y="108"/>
                    </a:lnTo>
                    <a:lnTo>
                      <a:pt x="22" y="115"/>
                    </a:lnTo>
                    <a:lnTo>
                      <a:pt x="72" y="108"/>
                    </a:lnTo>
                    <a:lnTo>
                      <a:pt x="81" y="88"/>
                    </a:lnTo>
                    <a:lnTo>
                      <a:pt x="115" y="77"/>
                    </a:lnTo>
                    <a:lnTo>
                      <a:pt x="118" y="60"/>
                    </a:lnTo>
                    <a:lnTo>
                      <a:pt x="130" y="56"/>
                    </a:lnTo>
                    <a:lnTo>
                      <a:pt x="125" y="47"/>
                    </a:lnTo>
                    <a:lnTo>
                      <a:pt x="137" y="46"/>
                    </a:lnTo>
                    <a:lnTo>
                      <a:pt x="146" y="29"/>
                    </a:lnTo>
                    <a:lnTo>
                      <a:pt x="142" y="12"/>
                    </a:lnTo>
                    <a:lnTo>
                      <a:pt x="188" y="0"/>
                    </a:lnTo>
                    <a:lnTo>
                      <a:pt x="229" y="25"/>
                    </a:lnTo>
                    <a:lnTo>
                      <a:pt x="218" y="36"/>
                    </a:lnTo>
                    <a:lnTo>
                      <a:pt x="179" y="36"/>
                    </a:lnTo>
                    <a:lnTo>
                      <a:pt x="179" y="58"/>
                    </a:lnTo>
                    <a:lnTo>
                      <a:pt x="197" y="72"/>
                    </a:lnTo>
                    <a:lnTo>
                      <a:pt x="186" y="79"/>
                    </a:lnTo>
                    <a:lnTo>
                      <a:pt x="189" y="92"/>
                    </a:lnTo>
                    <a:lnTo>
                      <a:pt x="149" y="137"/>
                    </a:lnTo>
                    <a:lnTo>
                      <a:pt x="131" y="136"/>
                    </a:lnTo>
                    <a:lnTo>
                      <a:pt x="118" y="147"/>
                    </a:lnTo>
                    <a:lnTo>
                      <a:pt x="140" y="189"/>
                    </a:lnTo>
                    <a:lnTo>
                      <a:pt x="109" y="189"/>
                    </a:lnTo>
                    <a:lnTo>
                      <a:pt x="98" y="198"/>
                    </a:lnTo>
                    <a:lnTo>
                      <a:pt x="75" y="173"/>
                    </a:lnTo>
                    <a:lnTo>
                      <a:pt x="11" y="178"/>
                    </a:lnTo>
                    <a:lnTo>
                      <a:pt x="32" y="149"/>
                    </a:lnTo>
                    <a:lnTo>
                      <a:pt x="0" y="108"/>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7" name="Oman">
                <a:extLst>
                  <a:ext uri="{FF2B5EF4-FFF2-40B4-BE49-F238E27FC236}">
                    <a16:creationId xmlns:a16="http://schemas.microsoft.com/office/drawing/2014/main" id="{AF38B9C9-332C-6DCC-BFA7-4D4C41FB8C96}"/>
                  </a:ext>
                </a:extLst>
              </p:cNvPr>
              <p:cNvSpPr>
                <a:spLocks noGrp="1" noRot="1" noMove="1" noResize="1" noEditPoints="1" noAdjustHandles="1" noChangeArrowheads="1" noChangeShapeType="1"/>
              </p:cNvSpPr>
              <p:nvPr/>
            </p:nvSpPr>
            <p:spPr bwMode="gray">
              <a:xfrm>
                <a:off x="6031164" y="3979791"/>
                <a:ext cx="190842" cy="241742"/>
              </a:xfrm>
              <a:custGeom>
                <a:avLst/>
                <a:gdLst/>
                <a:ahLst/>
                <a:cxnLst>
                  <a:cxn ang="0">
                    <a:pos x="0" y="75"/>
                  </a:cxn>
                  <a:cxn ang="0">
                    <a:pos x="0" y="75"/>
                  </a:cxn>
                  <a:cxn ang="0">
                    <a:pos x="14" y="106"/>
                  </a:cxn>
                  <a:cxn ang="0">
                    <a:pos x="39" y="101"/>
                  </a:cxn>
                  <a:cxn ang="0">
                    <a:pos x="78" y="74"/>
                  </a:cxn>
                  <a:cxn ang="0">
                    <a:pos x="77" y="61"/>
                  </a:cxn>
                  <a:cxn ang="0">
                    <a:pos x="103" y="39"/>
                  </a:cxn>
                  <a:cxn ang="0">
                    <a:pos x="104" y="31"/>
                  </a:cxn>
                  <a:cxn ang="0">
                    <a:pos x="90" y="17"/>
                  </a:cxn>
                  <a:cxn ang="0">
                    <a:pos x="58" y="0"/>
                  </a:cxn>
                  <a:cxn ang="0">
                    <a:pos x="50" y="0"/>
                  </a:cxn>
                  <a:cxn ang="0">
                    <a:pos x="54" y="10"/>
                  </a:cxn>
                  <a:cxn ang="0">
                    <a:pos x="43" y="28"/>
                  </a:cxn>
                  <a:cxn ang="0">
                    <a:pos x="50" y="37"/>
                  </a:cxn>
                  <a:cxn ang="0">
                    <a:pos x="40" y="62"/>
                  </a:cxn>
                  <a:cxn ang="0">
                    <a:pos x="0" y="75"/>
                  </a:cxn>
                  <a:cxn ang="0">
                    <a:pos x="0" y="75"/>
                  </a:cxn>
                </a:cxnLst>
                <a:rect l="0" t="0" r="r" b="b"/>
                <a:pathLst>
                  <a:path w="105" h="107">
                    <a:moveTo>
                      <a:pt x="0" y="75"/>
                    </a:moveTo>
                    <a:lnTo>
                      <a:pt x="0" y="75"/>
                    </a:lnTo>
                    <a:lnTo>
                      <a:pt x="14" y="106"/>
                    </a:lnTo>
                    <a:lnTo>
                      <a:pt x="39" y="101"/>
                    </a:lnTo>
                    <a:lnTo>
                      <a:pt x="78" y="74"/>
                    </a:lnTo>
                    <a:lnTo>
                      <a:pt x="77" y="61"/>
                    </a:lnTo>
                    <a:lnTo>
                      <a:pt x="103" y="39"/>
                    </a:lnTo>
                    <a:lnTo>
                      <a:pt x="104" y="31"/>
                    </a:lnTo>
                    <a:lnTo>
                      <a:pt x="90" y="17"/>
                    </a:lnTo>
                    <a:lnTo>
                      <a:pt x="58" y="0"/>
                    </a:lnTo>
                    <a:lnTo>
                      <a:pt x="50" y="0"/>
                    </a:lnTo>
                    <a:lnTo>
                      <a:pt x="54" y="10"/>
                    </a:lnTo>
                    <a:lnTo>
                      <a:pt x="43" y="28"/>
                    </a:lnTo>
                    <a:lnTo>
                      <a:pt x="50" y="37"/>
                    </a:lnTo>
                    <a:lnTo>
                      <a:pt x="40" y="62"/>
                    </a:lnTo>
                    <a:lnTo>
                      <a:pt x="0" y="75"/>
                    </a:lnTo>
                    <a:lnTo>
                      <a:pt x="0" y="7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8" name="Lebanon">
                <a:extLst>
                  <a:ext uri="{FF2B5EF4-FFF2-40B4-BE49-F238E27FC236}">
                    <a16:creationId xmlns:a16="http://schemas.microsoft.com/office/drawing/2014/main" id="{D604590B-211F-3A01-EBEF-143ACA0CC668}"/>
                  </a:ext>
                </a:extLst>
              </p:cNvPr>
              <p:cNvSpPr>
                <a:spLocks noGrp="1" noRot="1" noMove="1" noResize="1" noEditPoints="1" noAdjustHandles="1" noChangeArrowheads="1" noChangeShapeType="1"/>
              </p:cNvSpPr>
              <p:nvPr/>
            </p:nvSpPr>
            <p:spPr bwMode="gray">
              <a:xfrm>
                <a:off x="5610884" y="3687040"/>
                <a:ext cx="40741" cy="51010"/>
              </a:xfrm>
              <a:custGeom>
                <a:avLst/>
                <a:gdLst/>
                <a:ahLst/>
                <a:cxnLst>
                  <a:cxn ang="0">
                    <a:pos x="0" y="21"/>
                  </a:cxn>
                  <a:cxn ang="0">
                    <a:pos x="0" y="21"/>
                  </a:cxn>
                  <a:cxn ang="0">
                    <a:pos x="7" y="20"/>
                  </a:cxn>
                  <a:cxn ang="0">
                    <a:pos x="21" y="6"/>
                  </a:cxn>
                  <a:cxn ang="0">
                    <a:pos x="13" y="0"/>
                  </a:cxn>
                  <a:cxn ang="0">
                    <a:pos x="0" y="21"/>
                  </a:cxn>
                  <a:cxn ang="0">
                    <a:pos x="0" y="21"/>
                  </a:cxn>
                </a:cxnLst>
                <a:rect l="0" t="0" r="r" b="b"/>
                <a:pathLst>
                  <a:path w="22" h="22">
                    <a:moveTo>
                      <a:pt x="0" y="21"/>
                    </a:moveTo>
                    <a:lnTo>
                      <a:pt x="0" y="21"/>
                    </a:lnTo>
                    <a:lnTo>
                      <a:pt x="7" y="20"/>
                    </a:lnTo>
                    <a:lnTo>
                      <a:pt x="21" y="6"/>
                    </a:lnTo>
                    <a:lnTo>
                      <a:pt x="13" y="0"/>
                    </a:lnTo>
                    <a:lnTo>
                      <a:pt x="0" y="21"/>
                    </a:lnTo>
                    <a:lnTo>
                      <a:pt x="0" y="21"/>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9" name="Kyrgyzstan">
                <a:extLst>
                  <a:ext uri="{FF2B5EF4-FFF2-40B4-BE49-F238E27FC236}">
                    <a16:creationId xmlns:a16="http://schemas.microsoft.com/office/drawing/2014/main" id="{8EA1B1B5-1EA1-127E-B3A4-74E3F2B59D0E}"/>
                  </a:ext>
                </a:extLst>
              </p:cNvPr>
              <p:cNvSpPr>
                <a:spLocks noGrp="1" noRot="1" noChangeAspect="1" noMove="1" noResize="1" noEditPoints="1" noAdjustHandles="1" noChangeArrowheads="1" noChangeShapeType="1"/>
              </p:cNvSpPr>
              <p:nvPr/>
            </p:nvSpPr>
            <p:spPr bwMode="gray">
              <a:xfrm>
                <a:off x="6438446" y="3401225"/>
                <a:ext cx="290252" cy="138539"/>
              </a:xfrm>
              <a:custGeom>
                <a:avLst/>
                <a:gdLst>
                  <a:gd name="T0" fmla="*/ 41 w 160"/>
                  <a:gd name="T1" fmla="*/ 48 h 69"/>
                  <a:gd name="T2" fmla="*/ 29 w 160"/>
                  <a:gd name="T3" fmla="*/ 48 h 69"/>
                  <a:gd name="T4" fmla="*/ 6 w 160"/>
                  <a:gd name="T5" fmla="*/ 51 h 69"/>
                  <a:gd name="T6" fmla="*/ 0 w 160"/>
                  <a:gd name="T7" fmla="*/ 58 h 69"/>
                  <a:gd name="T8" fmla="*/ 6 w 160"/>
                  <a:gd name="T9" fmla="*/ 61 h 69"/>
                  <a:gd name="T10" fmla="*/ 11 w 160"/>
                  <a:gd name="T11" fmla="*/ 64 h 69"/>
                  <a:gd name="T12" fmla="*/ 43 w 160"/>
                  <a:gd name="T13" fmla="*/ 63 h 69"/>
                  <a:gd name="T14" fmla="*/ 64 w 160"/>
                  <a:gd name="T15" fmla="*/ 63 h 69"/>
                  <a:gd name="T16" fmla="*/ 74 w 160"/>
                  <a:gd name="T17" fmla="*/ 68 h 69"/>
                  <a:gd name="T18" fmla="*/ 77 w 160"/>
                  <a:gd name="T19" fmla="*/ 59 h 69"/>
                  <a:gd name="T20" fmla="*/ 86 w 160"/>
                  <a:gd name="T21" fmla="*/ 58 h 69"/>
                  <a:gd name="T22" fmla="*/ 99 w 160"/>
                  <a:gd name="T23" fmla="*/ 55 h 69"/>
                  <a:gd name="T24" fmla="*/ 110 w 160"/>
                  <a:gd name="T25" fmla="*/ 53 h 69"/>
                  <a:gd name="T26" fmla="*/ 130 w 160"/>
                  <a:gd name="T27" fmla="*/ 42 h 69"/>
                  <a:gd name="T28" fmla="*/ 152 w 160"/>
                  <a:gd name="T29" fmla="*/ 31 h 69"/>
                  <a:gd name="T30" fmla="*/ 159 w 160"/>
                  <a:gd name="T31" fmla="*/ 25 h 69"/>
                  <a:gd name="T32" fmla="*/ 156 w 160"/>
                  <a:gd name="T33" fmla="*/ 15 h 69"/>
                  <a:gd name="T34" fmla="*/ 146 w 160"/>
                  <a:gd name="T35" fmla="*/ 15 h 69"/>
                  <a:gd name="T36" fmla="*/ 136 w 160"/>
                  <a:gd name="T37" fmla="*/ 10 h 69"/>
                  <a:gd name="T38" fmla="*/ 125 w 160"/>
                  <a:gd name="T39" fmla="*/ 6 h 69"/>
                  <a:gd name="T40" fmla="*/ 99 w 160"/>
                  <a:gd name="T41" fmla="*/ 4 h 69"/>
                  <a:gd name="T42" fmla="*/ 65 w 160"/>
                  <a:gd name="T43" fmla="*/ 0 h 69"/>
                  <a:gd name="T44" fmla="*/ 59 w 160"/>
                  <a:gd name="T45" fmla="*/ 1 h 69"/>
                  <a:gd name="T46" fmla="*/ 61 w 160"/>
                  <a:gd name="T47" fmla="*/ 6 h 69"/>
                  <a:gd name="T48" fmla="*/ 65 w 160"/>
                  <a:gd name="T49" fmla="*/ 12 h 69"/>
                  <a:gd name="T50" fmla="*/ 55 w 160"/>
                  <a:gd name="T51" fmla="*/ 13 h 69"/>
                  <a:gd name="T52" fmla="*/ 53 w 160"/>
                  <a:gd name="T53" fmla="*/ 10 h 69"/>
                  <a:gd name="T54" fmla="*/ 42 w 160"/>
                  <a:gd name="T55" fmla="*/ 9 h 69"/>
                  <a:gd name="T56" fmla="*/ 27 w 160"/>
                  <a:gd name="T57" fmla="*/ 10 h 69"/>
                  <a:gd name="T58" fmla="*/ 34 w 160"/>
                  <a:gd name="T59" fmla="*/ 13 h 69"/>
                  <a:gd name="T60" fmla="*/ 35 w 160"/>
                  <a:gd name="T61" fmla="*/ 17 h 69"/>
                  <a:gd name="T62" fmla="*/ 31 w 160"/>
                  <a:gd name="T63" fmla="*/ 22 h 69"/>
                  <a:gd name="T64" fmla="*/ 31 w 160"/>
                  <a:gd name="T65" fmla="*/ 29 h 69"/>
                  <a:gd name="T66" fmla="*/ 36 w 160"/>
                  <a:gd name="T67" fmla="*/ 33 h 69"/>
                  <a:gd name="T68" fmla="*/ 55 w 160"/>
                  <a:gd name="T69" fmla="*/ 33 h 69"/>
                  <a:gd name="T70" fmla="*/ 62 w 160"/>
                  <a:gd name="T71" fmla="*/ 33 h 69"/>
                  <a:gd name="T72" fmla="*/ 68 w 160"/>
                  <a:gd name="T73" fmla="*/ 39 h 69"/>
                  <a:gd name="T74" fmla="*/ 62 w 160"/>
                  <a:gd name="T75" fmla="*/ 47 h 69"/>
                  <a:gd name="T76" fmla="*/ 55 w 160"/>
                  <a:gd name="T77" fmla="*/ 47 h 69"/>
                  <a:gd name="T78" fmla="*/ 48 w 160"/>
                  <a:gd name="T79" fmla="*/ 46 h 69"/>
                  <a:gd name="T80" fmla="*/ 45 w 160"/>
                  <a:gd name="T81" fmla="*/ 47 h 69"/>
                  <a:gd name="T82" fmla="*/ 41 w 160"/>
                  <a:gd name="T83" fmla="*/ 48 h 69"/>
                  <a:gd name="T84" fmla="*/ 41 w 160"/>
                  <a:gd name="T85" fmla="*/ 48 h 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
                  <a:gd name="T130" fmla="*/ 0 h 69"/>
                  <a:gd name="T131" fmla="*/ 160 w 160"/>
                  <a:gd name="T132" fmla="*/ 69 h 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 h="69">
                    <a:moveTo>
                      <a:pt x="41" y="48"/>
                    </a:moveTo>
                    <a:lnTo>
                      <a:pt x="29" y="48"/>
                    </a:lnTo>
                    <a:lnTo>
                      <a:pt x="6" y="51"/>
                    </a:lnTo>
                    <a:lnTo>
                      <a:pt x="0" y="58"/>
                    </a:lnTo>
                    <a:lnTo>
                      <a:pt x="6" y="61"/>
                    </a:lnTo>
                    <a:lnTo>
                      <a:pt x="11" y="64"/>
                    </a:lnTo>
                    <a:lnTo>
                      <a:pt x="43" y="63"/>
                    </a:lnTo>
                    <a:lnTo>
                      <a:pt x="64" y="63"/>
                    </a:lnTo>
                    <a:lnTo>
                      <a:pt x="74" y="68"/>
                    </a:lnTo>
                    <a:lnTo>
                      <a:pt x="77" y="59"/>
                    </a:lnTo>
                    <a:lnTo>
                      <a:pt x="86" y="58"/>
                    </a:lnTo>
                    <a:lnTo>
                      <a:pt x="99" y="55"/>
                    </a:lnTo>
                    <a:lnTo>
                      <a:pt x="110" y="53"/>
                    </a:lnTo>
                    <a:lnTo>
                      <a:pt x="130" y="42"/>
                    </a:lnTo>
                    <a:lnTo>
                      <a:pt x="152" y="31"/>
                    </a:lnTo>
                    <a:lnTo>
                      <a:pt x="159" y="25"/>
                    </a:lnTo>
                    <a:lnTo>
                      <a:pt x="156" y="15"/>
                    </a:lnTo>
                    <a:lnTo>
                      <a:pt x="146" y="15"/>
                    </a:lnTo>
                    <a:lnTo>
                      <a:pt x="136" y="10"/>
                    </a:lnTo>
                    <a:lnTo>
                      <a:pt x="125" y="6"/>
                    </a:lnTo>
                    <a:lnTo>
                      <a:pt x="99" y="4"/>
                    </a:lnTo>
                    <a:lnTo>
                      <a:pt x="65" y="0"/>
                    </a:lnTo>
                    <a:lnTo>
                      <a:pt x="59" y="1"/>
                    </a:lnTo>
                    <a:lnTo>
                      <a:pt x="61" y="6"/>
                    </a:lnTo>
                    <a:lnTo>
                      <a:pt x="65" y="12"/>
                    </a:lnTo>
                    <a:lnTo>
                      <a:pt x="55" y="13"/>
                    </a:lnTo>
                    <a:lnTo>
                      <a:pt x="53" y="10"/>
                    </a:lnTo>
                    <a:lnTo>
                      <a:pt x="42" y="9"/>
                    </a:lnTo>
                    <a:lnTo>
                      <a:pt x="27" y="10"/>
                    </a:lnTo>
                    <a:lnTo>
                      <a:pt x="34" y="13"/>
                    </a:lnTo>
                    <a:lnTo>
                      <a:pt x="35" y="17"/>
                    </a:lnTo>
                    <a:lnTo>
                      <a:pt x="31" y="22"/>
                    </a:lnTo>
                    <a:lnTo>
                      <a:pt x="31" y="29"/>
                    </a:lnTo>
                    <a:lnTo>
                      <a:pt x="36" y="33"/>
                    </a:lnTo>
                    <a:lnTo>
                      <a:pt x="55" y="33"/>
                    </a:lnTo>
                    <a:lnTo>
                      <a:pt x="62" y="33"/>
                    </a:lnTo>
                    <a:lnTo>
                      <a:pt x="68" y="39"/>
                    </a:lnTo>
                    <a:lnTo>
                      <a:pt x="62" y="47"/>
                    </a:lnTo>
                    <a:lnTo>
                      <a:pt x="55" y="47"/>
                    </a:lnTo>
                    <a:lnTo>
                      <a:pt x="48" y="46"/>
                    </a:lnTo>
                    <a:lnTo>
                      <a:pt x="45" y="47"/>
                    </a:lnTo>
                    <a:lnTo>
                      <a:pt x="41" y="48"/>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0" name="Kuwait">
                <a:extLst>
                  <a:ext uri="{FF2B5EF4-FFF2-40B4-BE49-F238E27FC236}">
                    <a16:creationId xmlns:a16="http://schemas.microsoft.com/office/drawing/2014/main" id="{A7C1DE89-4C44-48C1-1145-F7BE5C9736DD}"/>
                  </a:ext>
                </a:extLst>
              </p:cNvPr>
              <p:cNvSpPr>
                <a:spLocks noGrp="1" noRot="1" noMove="1" noResize="1" noEditPoints="1" noAdjustHandles="1" noChangeArrowheads="1" noChangeShapeType="1"/>
              </p:cNvSpPr>
              <p:nvPr/>
            </p:nvSpPr>
            <p:spPr bwMode="gray">
              <a:xfrm>
                <a:off x="5896075" y="3828980"/>
                <a:ext cx="47175" cy="46574"/>
              </a:xfrm>
              <a:custGeom>
                <a:avLst/>
                <a:gdLst/>
                <a:ahLst/>
                <a:cxnLst>
                  <a:cxn ang="0">
                    <a:pos x="0" y="12"/>
                  </a:cxn>
                  <a:cxn ang="0">
                    <a:pos x="0" y="12"/>
                  </a:cxn>
                  <a:cxn ang="0">
                    <a:pos x="20" y="0"/>
                  </a:cxn>
                  <a:cxn ang="0">
                    <a:pos x="25" y="19"/>
                  </a:cxn>
                  <a:cxn ang="0">
                    <a:pos x="0" y="12"/>
                  </a:cxn>
                  <a:cxn ang="0">
                    <a:pos x="0" y="12"/>
                  </a:cxn>
                </a:cxnLst>
                <a:rect l="0" t="0" r="r" b="b"/>
                <a:pathLst>
                  <a:path w="26" h="20">
                    <a:moveTo>
                      <a:pt x="0" y="12"/>
                    </a:moveTo>
                    <a:lnTo>
                      <a:pt x="0" y="12"/>
                    </a:lnTo>
                    <a:lnTo>
                      <a:pt x="20" y="0"/>
                    </a:lnTo>
                    <a:lnTo>
                      <a:pt x="25" y="19"/>
                    </a:lnTo>
                    <a:lnTo>
                      <a:pt x="0" y="12"/>
                    </a:lnTo>
                    <a:lnTo>
                      <a:pt x="0" y="12"/>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1" name="Jordan">
                <a:extLst>
                  <a:ext uri="{FF2B5EF4-FFF2-40B4-BE49-F238E27FC236}">
                    <a16:creationId xmlns:a16="http://schemas.microsoft.com/office/drawing/2014/main" id="{EC28967B-DAE4-96F5-F96D-95A8BE474721}"/>
                  </a:ext>
                </a:extLst>
              </p:cNvPr>
              <p:cNvSpPr>
                <a:spLocks noGrp="1" noRot="1" noMove="1" noResize="1" noEditPoints="1" noAdjustHandles="1" noChangeArrowheads="1" noChangeShapeType="1"/>
              </p:cNvSpPr>
              <p:nvPr/>
            </p:nvSpPr>
            <p:spPr bwMode="gray">
              <a:xfrm>
                <a:off x="5604450" y="3729179"/>
                <a:ext cx="109359" cy="130851"/>
              </a:xfrm>
              <a:custGeom>
                <a:avLst/>
                <a:gdLst/>
                <a:ahLst/>
                <a:cxnLst>
                  <a:cxn ang="0">
                    <a:pos x="0" y="26"/>
                  </a:cxn>
                  <a:cxn ang="0">
                    <a:pos x="0" y="26"/>
                  </a:cxn>
                  <a:cxn ang="0">
                    <a:pos x="2" y="15"/>
                  </a:cxn>
                  <a:cxn ang="0">
                    <a:pos x="9" y="9"/>
                  </a:cxn>
                  <a:cxn ang="0">
                    <a:pos x="23" y="13"/>
                  </a:cxn>
                  <a:cxn ang="0">
                    <a:pos x="52" y="0"/>
                  </a:cxn>
                  <a:cxn ang="0">
                    <a:pos x="59" y="15"/>
                  </a:cxn>
                  <a:cxn ang="0">
                    <a:pos x="28" y="24"/>
                  </a:cxn>
                  <a:cxn ang="0">
                    <a:pos x="43" y="37"/>
                  </a:cxn>
                  <a:cxn ang="0">
                    <a:pos x="35" y="45"/>
                  </a:cxn>
                  <a:cxn ang="0">
                    <a:pos x="17" y="57"/>
                  </a:cxn>
                  <a:cxn ang="0">
                    <a:pos x="2" y="52"/>
                  </a:cxn>
                  <a:cxn ang="0">
                    <a:pos x="2" y="52"/>
                  </a:cxn>
                  <a:cxn ang="0">
                    <a:pos x="8" y="25"/>
                  </a:cxn>
                  <a:cxn ang="0">
                    <a:pos x="0" y="26"/>
                  </a:cxn>
                  <a:cxn ang="0">
                    <a:pos x="0" y="26"/>
                  </a:cxn>
                </a:cxnLst>
                <a:rect l="0" t="0" r="r" b="b"/>
                <a:pathLst>
                  <a:path w="60" h="58">
                    <a:moveTo>
                      <a:pt x="0" y="26"/>
                    </a:moveTo>
                    <a:lnTo>
                      <a:pt x="0" y="26"/>
                    </a:lnTo>
                    <a:lnTo>
                      <a:pt x="2" y="15"/>
                    </a:lnTo>
                    <a:lnTo>
                      <a:pt x="9" y="9"/>
                    </a:lnTo>
                    <a:lnTo>
                      <a:pt x="23" y="13"/>
                    </a:lnTo>
                    <a:lnTo>
                      <a:pt x="52" y="0"/>
                    </a:lnTo>
                    <a:lnTo>
                      <a:pt x="59" y="15"/>
                    </a:lnTo>
                    <a:lnTo>
                      <a:pt x="28" y="24"/>
                    </a:lnTo>
                    <a:lnTo>
                      <a:pt x="43" y="37"/>
                    </a:lnTo>
                    <a:lnTo>
                      <a:pt x="35" y="45"/>
                    </a:lnTo>
                    <a:lnTo>
                      <a:pt x="17" y="57"/>
                    </a:lnTo>
                    <a:lnTo>
                      <a:pt x="2" y="52"/>
                    </a:lnTo>
                    <a:lnTo>
                      <a:pt x="2" y="52"/>
                    </a:lnTo>
                    <a:lnTo>
                      <a:pt x="8" y="25"/>
                    </a:lnTo>
                    <a:lnTo>
                      <a:pt x="0" y="26"/>
                    </a:lnTo>
                    <a:lnTo>
                      <a:pt x="0" y="26"/>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2" name="Israel">
                <a:extLst>
                  <a:ext uri="{FF2B5EF4-FFF2-40B4-BE49-F238E27FC236}">
                    <a16:creationId xmlns:a16="http://schemas.microsoft.com/office/drawing/2014/main" id="{5E329AF3-DAAE-3498-908C-FCA848BFB63F}"/>
                  </a:ext>
                </a:extLst>
              </p:cNvPr>
              <p:cNvSpPr>
                <a:spLocks noGrp="1" noRot="1" noMove="1" noResize="1" noEditPoints="1" noAdjustHandles="1" noChangeArrowheads="1" noChangeShapeType="1"/>
              </p:cNvSpPr>
              <p:nvPr/>
            </p:nvSpPr>
            <p:spPr bwMode="gray">
              <a:xfrm>
                <a:off x="5585152" y="3733614"/>
                <a:ext cx="40741" cy="117544"/>
              </a:xfrm>
              <a:custGeom>
                <a:avLst/>
                <a:gdLst/>
                <a:ahLst/>
                <a:cxnLst>
                  <a:cxn ang="0">
                    <a:pos x="0" y="25"/>
                  </a:cxn>
                  <a:cxn ang="0">
                    <a:pos x="0" y="25"/>
                  </a:cxn>
                  <a:cxn ang="0">
                    <a:pos x="11" y="51"/>
                  </a:cxn>
                  <a:cxn ang="0">
                    <a:pos x="13" y="50"/>
                  </a:cxn>
                  <a:cxn ang="0">
                    <a:pos x="19" y="23"/>
                  </a:cxn>
                  <a:cxn ang="0">
                    <a:pos x="11" y="24"/>
                  </a:cxn>
                  <a:cxn ang="0">
                    <a:pos x="13" y="13"/>
                  </a:cxn>
                  <a:cxn ang="0">
                    <a:pos x="20" y="7"/>
                  </a:cxn>
                  <a:cxn ang="0">
                    <a:pos x="21" y="0"/>
                  </a:cxn>
                  <a:cxn ang="0">
                    <a:pos x="14" y="1"/>
                  </a:cxn>
                  <a:cxn ang="0">
                    <a:pos x="0" y="25"/>
                  </a:cxn>
                  <a:cxn ang="0">
                    <a:pos x="0" y="25"/>
                  </a:cxn>
                </a:cxnLst>
                <a:rect l="0" t="0" r="r" b="b"/>
                <a:pathLst>
                  <a:path w="22" h="52">
                    <a:moveTo>
                      <a:pt x="0" y="25"/>
                    </a:moveTo>
                    <a:lnTo>
                      <a:pt x="0" y="25"/>
                    </a:lnTo>
                    <a:lnTo>
                      <a:pt x="11" y="51"/>
                    </a:lnTo>
                    <a:lnTo>
                      <a:pt x="13" y="50"/>
                    </a:lnTo>
                    <a:lnTo>
                      <a:pt x="19" y="23"/>
                    </a:lnTo>
                    <a:lnTo>
                      <a:pt x="11" y="24"/>
                    </a:lnTo>
                    <a:lnTo>
                      <a:pt x="13" y="13"/>
                    </a:lnTo>
                    <a:lnTo>
                      <a:pt x="20" y="7"/>
                    </a:lnTo>
                    <a:lnTo>
                      <a:pt x="21" y="0"/>
                    </a:lnTo>
                    <a:lnTo>
                      <a:pt x="14" y="1"/>
                    </a:lnTo>
                    <a:lnTo>
                      <a:pt x="0" y="25"/>
                    </a:lnTo>
                    <a:lnTo>
                      <a:pt x="0" y="2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3" name="Iraq">
                <a:extLst>
                  <a:ext uri="{FF2B5EF4-FFF2-40B4-BE49-F238E27FC236}">
                    <a16:creationId xmlns:a16="http://schemas.microsoft.com/office/drawing/2014/main" id="{D440C4C6-144E-B3F0-8182-5710F1B32E4D}"/>
                  </a:ext>
                </a:extLst>
              </p:cNvPr>
              <p:cNvSpPr>
                <a:spLocks noGrp="1" noRot="1" noMove="1" noResize="1" noEditPoints="1" noAdjustHandles="1" noChangeArrowheads="1" noChangeShapeType="1"/>
              </p:cNvSpPr>
              <p:nvPr/>
            </p:nvSpPr>
            <p:spPr bwMode="gray">
              <a:xfrm>
                <a:off x="5698800" y="3607198"/>
                <a:ext cx="246594" cy="252831"/>
              </a:xfrm>
              <a:custGeom>
                <a:avLst/>
                <a:gdLst/>
                <a:ahLst/>
                <a:cxnLst>
                  <a:cxn ang="0">
                    <a:pos x="0" y="54"/>
                  </a:cxn>
                  <a:cxn ang="0">
                    <a:pos x="0" y="54"/>
                  </a:cxn>
                  <a:cxn ang="0">
                    <a:pos x="7" y="69"/>
                  </a:cxn>
                  <a:cxn ang="0">
                    <a:pos x="68" y="94"/>
                  </a:cxn>
                  <a:cxn ang="0">
                    <a:pos x="69" y="103"/>
                  </a:cxn>
                  <a:cxn ang="0">
                    <a:pos x="83" y="109"/>
                  </a:cxn>
                  <a:cxn ang="0">
                    <a:pos x="108" y="111"/>
                  </a:cxn>
                  <a:cxn ang="0">
                    <a:pos x="128" y="99"/>
                  </a:cxn>
                  <a:cxn ang="0">
                    <a:pos x="135" y="98"/>
                  </a:cxn>
                  <a:cxn ang="0">
                    <a:pos x="117" y="67"/>
                  </a:cxn>
                  <a:cxn ang="0">
                    <a:pos x="92" y="48"/>
                  </a:cxn>
                  <a:cxn ang="0">
                    <a:pos x="104" y="19"/>
                  </a:cxn>
                  <a:cxn ang="0">
                    <a:pos x="93" y="15"/>
                  </a:cxn>
                  <a:cxn ang="0">
                    <a:pos x="84" y="0"/>
                  </a:cxn>
                  <a:cxn ang="0">
                    <a:pos x="53" y="1"/>
                  </a:cxn>
                  <a:cxn ang="0">
                    <a:pos x="38" y="11"/>
                  </a:cxn>
                  <a:cxn ang="0">
                    <a:pos x="33" y="38"/>
                  </a:cxn>
                  <a:cxn ang="0">
                    <a:pos x="0" y="54"/>
                  </a:cxn>
                  <a:cxn ang="0">
                    <a:pos x="0" y="54"/>
                  </a:cxn>
                </a:cxnLst>
                <a:rect l="0" t="0" r="r" b="b"/>
                <a:pathLst>
                  <a:path w="136" h="112">
                    <a:moveTo>
                      <a:pt x="0" y="54"/>
                    </a:moveTo>
                    <a:lnTo>
                      <a:pt x="0" y="54"/>
                    </a:lnTo>
                    <a:lnTo>
                      <a:pt x="7" y="69"/>
                    </a:lnTo>
                    <a:lnTo>
                      <a:pt x="68" y="94"/>
                    </a:lnTo>
                    <a:lnTo>
                      <a:pt x="69" y="103"/>
                    </a:lnTo>
                    <a:lnTo>
                      <a:pt x="83" y="109"/>
                    </a:lnTo>
                    <a:lnTo>
                      <a:pt x="108" y="111"/>
                    </a:lnTo>
                    <a:lnTo>
                      <a:pt x="128" y="99"/>
                    </a:lnTo>
                    <a:lnTo>
                      <a:pt x="135" y="98"/>
                    </a:lnTo>
                    <a:lnTo>
                      <a:pt x="117" y="67"/>
                    </a:lnTo>
                    <a:lnTo>
                      <a:pt x="92" y="48"/>
                    </a:lnTo>
                    <a:lnTo>
                      <a:pt x="104" y="19"/>
                    </a:lnTo>
                    <a:lnTo>
                      <a:pt x="93" y="15"/>
                    </a:lnTo>
                    <a:lnTo>
                      <a:pt x="84" y="0"/>
                    </a:lnTo>
                    <a:lnTo>
                      <a:pt x="53" y="1"/>
                    </a:lnTo>
                    <a:lnTo>
                      <a:pt x="38" y="11"/>
                    </a:lnTo>
                    <a:lnTo>
                      <a:pt x="33" y="38"/>
                    </a:lnTo>
                    <a:lnTo>
                      <a:pt x="0" y="54"/>
                    </a:lnTo>
                    <a:lnTo>
                      <a:pt x="0" y="54"/>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4" name="Iran">
                <a:extLst>
                  <a:ext uri="{FF2B5EF4-FFF2-40B4-BE49-F238E27FC236}">
                    <a16:creationId xmlns:a16="http://schemas.microsoft.com/office/drawing/2014/main" id="{E020AAEC-3FB2-297C-E940-48C7B27109CA}"/>
                  </a:ext>
                </a:extLst>
              </p:cNvPr>
              <p:cNvSpPr>
                <a:spLocks noGrp="1" noRot="1" noChangeAspect="1" noMove="1" noResize="1" noEditPoints="1" noAdjustHandles="1" noChangeArrowheads="1" noChangeShapeType="1"/>
              </p:cNvSpPr>
              <p:nvPr/>
            </p:nvSpPr>
            <p:spPr bwMode="gray">
              <a:xfrm>
                <a:off x="5835031" y="3522714"/>
                <a:ext cx="475478" cy="453982"/>
              </a:xfrm>
              <a:custGeom>
                <a:avLst/>
                <a:gdLst>
                  <a:gd name="T0" fmla="*/ 0 w 262"/>
                  <a:gd name="T1" fmla="*/ 7 h 224"/>
                  <a:gd name="T2" fmla="*/ 0 w 262"/>
                  <a:gd name="T3" fmla="*/ 7 h 224"/>
                  <a:gd name="T4" fmla="*/ 7 w 262"/>
                  <a:gd name="T5" fmla="*/ 0 h 224"/>
                  <a:gd name="T6" fmla="*/ 27 w 262"/>
                  <a:gd name="T7" fmla="*/ 17 h 224"/>
                  <a:gd name="T8" fmla="*/ 52 w 262"/>
                  <a:gd name="T9" fmla="*/ 3 h 224"/>
                  <a:gd name="T10" fmla="*/ 54 w 262"/>
                  <a:gd name="T11" fmla="*/ 16 h 224"/>
                  <a:gd name="T12" fmla="*/ 66 w 262"/>
                  <a:gd name="T13" fmla="*/ 21 h 224"/>
                  <a:gd name="T14" fmla="*/ 68 w 262"/>
                  <a:gd name="T15" fmla="*/ 35 h 224"/>
                  <a:gd name="T16" fmla="*/ 104 w 262"/>
                  <a:gd name="T17" fmla="*/ 51 h 224"/>
                  <a:gd name="T18" fmla="*/ 137 w 262"/>
                  <a:gd name="T19" fmla="*/ 46 h 224"/>
                  <a:gd name="T20" fmla="*/ 134 w 262"/>
                  <a:gd name="T21" fmla="*/ 38 h 224"/>
                  <a:gd name="T22" fmla="*/ 177 w 262"/>
                  <a:gd name="T23" fmla="*/ 24 h 224"/>
                  <a:gd name="T24" fmla="*/ 233 w 262"/>
                  <a:gd name="T25" fmla="*/ 49 h 224"/>
                  <a:gd name="T26" fmla="*/ 234 w 262"/>
                  <a:gd name="T27" fmla="*/ 63 h 224"/>
                  <a:gd name="T28" fmla="*/ 225 w 262"/>
                  <a:gd name="T29" fmla="*/ 88 h 224"/>
                  <a:gd name="T30" fmla="*/ 227 w 262"/>
                  <a:gd name="T31" fmla="*/ 124 h 224"/>
                  <a:gd name="T32" fmla="*/ 241 w 262"/>
                  <a:gd name="T33" fmla="*/ 135 h 224"/>
                  <a:gd name="T34" fmla="*/ 229 w 262"/>
                  <a:gd name="T35" fmla="*/ 153 h 224"/>
                  <a:gd name="T36" fmla="*/ 261 w 262"/>
                  <a:gd name="T37" fmla="*/ 194 h 224"/>
                  <a:gd name="T38" fmla="*/ 240 w 262"/>
                  <a:gd name="T39" fmla="*/ 223 h 224"/>
                  <a:gd name="T40" fmla="*/ 182 w 262"/>
                  <a:gd name="T41" fmla="*/ 213 h 224"/>
                  <a:gd name="T42" fmla="*/ 169 w 262"/>
                  <a:gd name="T43" fmla="*/ 195 h 224"/>
                  <a:gd name="T44" fmla="*/ 129 w 262"/>
                  <a:gd name="T45" fmla="*/ 201 h 224"/>
                  <a:gd name="T46" fmla="*/ 100 w 262"/>
                  <a:gd name="T47" fmla="*/ 183 h 224"/>
                  <a:gd name="T48" fmla="*/ 80 w 262"/>
                  <a:gd name="T49" fmla="*/ 149 h 224"/>
                  <a:gd name="T50" fmla="*/ 65 w 262"/>
                  <a:gd name="T51" fmla="*/ 143 h 224"/>
                  <a:gd name="T52" fmla="*/ 61 w 262"/>
                  <a:gd name="T53" fmla="*/ 151 h 224"/>
                  <a:gd name="T54" fmla="*/ 43 w 262"/>
                  <a:gd name="T55" fmla="*/ 116 h 224"/>
                  <a:gd name="T56" fmla="*/ 18 w 262"/>
                  <a:gd name="T57" fmla="*/ 95 h 224"/>
                  <a:gd name="T58" fmla="*/ 30 w 262"/>
                  <a:gd name="T59" fmla="*/ 63 h 224"/>
                  <a:gd name="T60" fmla="*/ 19 w 262"/>
                  <a:gd name="T61" fmla="*/ 59 h 224"/>
                  <a:gd name="T62" fmla="*/ 9 w 262"/>
                  <a:gd name="T63" fmla="*/ 41 h 224"/>
                  <a:gd name="T64" fmla="*/ 0 w 262"/>
                  <a:gd name="T65" fmla="*/ 7 h 224"/>
                  <a:gd name="T66" fmla="*/ 0 w 262"/>
                  <a:gd name="T67" fmla="*/ 7 h 2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2"/>
                  <a:gd name="T103" fmla="*/ 0 h 224"/>
                  <a:gd name="T104" fmla="*/ 262 w 262"/>
                  <a:gd name="T105" fmla="*/ 224 h 2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2" h="224">
                    <a:moveTo>
                      <a:pt x="0" y="7"/>
                    </a:moveTo>
                    <a:lnTo>
                      <a:pt x="0" y="7"/>
                    </a:lnTo>
                    <a:lnTo>
                      <a:pt x="7" y="0"/>
                    </a:lnTo>
                    <a:lnTo>
                      <a:pt x="27" y="17"/>
                    </a:lnTo>
                    <a:lnTo>
                      <a:pt x="52" y="3"/>
                    </a:lnTo>
                    <a:lnTo>
                      <a:pt x="54" y="16"/>
                    </a:lnTo>
                    <a:lnTo>
                      <a:pt x="66" y="21"/>
                    </a:lnTo>
                    <a:lnTo>
                      <a:pt x="68" y="35"/>
                    </a:lnTo>
                    <a:lnTo>
                      <a:pt x="104" y="51"/>
                    </a:lnTo>
                    <a:lnTo>
                      <a:pt x="137" y="46"/>
                    </a:lnTo>
                    <a:lnTo>
                      <a:pt x="134" y="38"/>
                    </a:lnTo>
                    <a:lnTo>
                      <a:pt x="177" y="24"/>
                    </a:lnTo>
                    <a:lnTo>
                      <a:pt x="233" y="49"/>
                    </a:lnTo>
                    <a:lnTo>
                      <a:pt x="234" y="63"/>
                    </a:lnTo>
                    <a:lnTo>
                      <a:pt x="225" y="88"/>
                    </a:lnTo>
                    <a:lnTo>
                      <a:pt x="227" y="124"/>
                    </a:lnTo>
                    <a:lnTo>
                      <a:pt x="241" y="135"/>
                    </a:lnTo>
                    <a:lnTo>
                      <a:pt x="229" y="153"/>
                    </a:lnTo>
                    <a:lnTo>
                      <a:pt x="261" y="194"/>
                    </a:lnTo>
                    <a:lnTo>
                      <a:pt x="240" y="223"/>
                    </a:lnTo>
                    <a:lnTo>
                      <a:pt x="182" y="213"/>
                    </a:lnTo>
                    <a:lnTo>
                      <a:pt x="169" y="195"/>
                    </a:lnTo>
                    <a:lnTo>
                      <a:pt x="129" y="201"/>
                    </a:lnTo>
                    <a:lnTo>
                      <a:pt x="100" y="183"/>
                    </a:lnTo>
                    <a:lnTo>
                      <a:pt x="80" y="149"/>
                    </a:lnTo>
                    <a:lnTo>
                      <a:pt x="65" y="143"/>
                    </a:lnTo>
                    <a:lnTo>
                      <a:pt x="61" y="151"/>
                    </a:lnTo>
                    <a:lnTo>
                      <a:pt x="43" y="116"/>
                    </a:lnTo>
                    <a:lnTo>
                      <a:pt x="18" y="95"/>
                    </a:lnTo>
                    <a:lnTo>
                      <a:pt x="30" y="63"/>
                    </a:lnTo>
                    <a:lnTo>
                      <a:pt x="19" y="59"/>
                    </a:lnTo>
                    <a:lnTo>
                      <a:pt x="9" y="41"/>
                    </a:lnTo>
                    <a:lnTo>
                      <a:pt x="0" y="7"/>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5" name="Afghanistan">
                <a:extLst>
                  <a:ext uri="{FF2B5EF4-FFF2-40B4-BE49-F238E27FC236}">
                    <a16:creationId xmlns:a16="http://schemas.microsoft.com/office/drawing/2014/main" id="{1DDAA9E5-525B-73A1-C072-F0A92BE758FB}"/>
                  </a:ext>
                </a:extLst>
              </p:cNvPr>
              <p:cNvSpPr>
                <a:spLocks noGrp="1" noRot="1" noChangeAspect="1" noMove="1" noResize="1" noEditPoints="1" noAdjustHandles="1" noChangeArrowheads="1" noChangeShapeType="1"/>
              </p:cNvSpPr>
              <p:nvPr/>
            </p:nvSpPr>
            <p:spPr bwMode="gray">
              <a:xfrm>
                <a:off x="6243674" y="3565339"/>
                <a:ext cx="351357" cy="283472"/>
              </a:xfrm>
              <a:custGeom>
                <a:avLst/>
                <a:gdLst>
                  <a:gd name="T0" fmla="*/ 0 w 194"/>
                  <a:gd name="T1" fmla="*/ 66 h 139"/>
                  <a:gd name="T2" fmla="*/ 0 w 194"/>
                  <a:gd name="T3" fmla="*/ 66 h 139"/>
                  <a:gd name="T4" fmla="*/ 2 w 194"/>
                  <a:gd name="T5" fmla="*/ 102 h 139"/>
                  <a:gd name="T6" fmla="*/ 16 w 194"/>
                  <a:gd name="T7" fmla="*/ 113 h 139"/>
                  <a:gd name="T8" fmla="*/ 4 w 194"/>
                  <a:gd name="T9" fmla="*/ 131 h 139"/>
                  <a:gd name="T10" fmla="*/ 26 w 194"/>
                  <a:gd name="T11" fmla="*/ 138 h 139"/>
                  <a:gd name="T12" fmla="*/ 76 w 194"/>
                  <a:gd name="T13" fmla="*/ 131 h 139"/>
                  <a:gd name="T14" fmla="*/ 85 w 194"/>
                  <a:gd name="T15" fmla="*/ 111 h 139"/>
                  <a:gd name="T16" fmla="*/ 119 w 194"/>
                  <a:gd name="T17" fmla="*/ 100 h 139"/>
                  <a:gd name="T18" fmla="*/ 122 w 194"/>
                  <a:gd name="T19" fmla="*/ 83 h 139"/>
                  <a:gd name="T20" fmla="*/ 134 w 194"/>
                  <a:gd name="T21" fmla="*/ 79 h 139"/>
                  <a:gd name="T22" fmla="*/ 129 w 194"/>
                  <a:gd name="T23" fmla="*/ 70 h 139"/>
                  <a:gd name="T24" fmla="*/ 141 w 194"/>
                  <a:gd name="T25" fmla="*/ 69 h 139"/>
                  <a:gd name="T26" fmla="*/ 150 w 194"/>
                  <a:gd name="T27" fmla="*/ 52 h 139"/>
                  <a:gd name="T28" fmla="*/ 146 w 194"/>
                  <a:gd name="T29" fmla="*/ 35 h 139"/>
                  <a:gd name="T30" fmla="*/ 192 w 194"/>
                  <a:gd name="T31" fmla="*/ 23 h 139"/>
                  <a:gd name="T32" fmla="*/ 193 w 194"/>
                  <a:gd name="T33" fmla="*/ 19 h 139"/>
                  <a:gd name="T34" fmla="*/ 176 w 194"/>
                  <a:gd name="T35" fmla="*/ 16 h 139"/>
                  <a:gd name="T36" fmla="*/ 152 w 194"/>
                  <a:gd name="T37" fmla="*/ 28 h 139"/>
                  <a:gd name="T38" fmla="*/ 140 w 194"/>
                  <a:gd name="T39" fmla="*/ 0 h 139"/>
                  <a:gd name="T40" fmla="*/ 120 w 194"/>
                  <a:gd name="T41" fmla="*/ 21 h 139"/>
                  <a:gd name="T42" fmla="*/ 60 w 194"/>
                  <a:gd name="T43" fmla="*/ 19 h 139"/>
                  <a:gd name="T44" fmla="*/ 30 w 194"/>
                  <a:gd name="T45" fmla="*/ 51 h 139"/>
                  <a:gd name="T46" fmla="*/ 9 w 194"/>
                  <a:gd name="T47" fmla="*/ 41 h 139"/>
                  <a:gd name="T48" fmla="*/ 0 w 194"/>
                  <a:gd name="T49" fmla="*/ 66 h 139"/>
                  <a:gd name="T50" fmla="*/ 0 w 194"/>
                  <a:gd name="T51" fmla="*/ 66 h 1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4"/>
                  <a:gd name="T79" fmla="*/ 0 h 139"/>
                  <a:gd name="T80" fmla="*/ 194 w 194"/>
                  <a:gd name="T81" fmla="*/ 139 h 1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4" h="139">
                    <a:moveTo>
                      <a:pt x="0" y="66"/>
                    </a:moveTo>
                    <a:lnTo>
                      <a:pt x="0" y="66"/>
                    </a:lnTo>
                    <a:lnTo>
                      <a:pt x="2" y="102"/>
                    </a:lnTo>
                    <a:lnTo>
                      <a:pt x="16" y="113"/>
                    </a:lnTo>
                    <a:lnTo>
                      <a:pt x="4" y="131"/>
                    </a:lnTo>
                    <a:lnTo>
                      <a:pt x="26" y="138"/>
                    </a:lnTo>
                    <a:lnTo>
                      <a:pt x="76" y="131"/>
                    </a:lnTo>
                    <a:lnTo>
                      <a:pt x="85" y="111"/>
                    </a:lnTo>
                    <a:lnTo>
                      <a:pt x="119" y="100"/>
                    </a:lnTo>
                    <a:lnTo>
                      <a:pt x="122" y="83"/>
                    </a:lnTo>
                    <a:lnTo>
                      <a:pt x="134" y="79"/>
                    </a:lnTo>
                    <a:lnTo>
                      <a:pt x="129" y="70"/>
                    </a:lnTo>
                    <a:lnTo>
                      <a:pt x="141" y="69"/>
                    </a:lnTo>
                    <a:lnTo>
                      <a:pt x="150" y="52"/>
                    </a:lnTo>
                    <a:lnTo>
                      <a:pt x="146" y="35"/>
                    </a:lnTo>
                    <a:lnTo>
                      <a:pt x="192" y="23"/>
                    </a:lnTo>
                    <a:lnTo>
                      <a:pt x="193" y="19"/>
                    </a:lnTo>
                    <a:lnTo>
                      <a:pt x="176" y="16"/>
                    </a:lnTo>
                    <a:lnTo>
                      <a:pt x="152" y="28"/>
                    </a:lnTo>
                    <a:lnTo>
                      <a:pt x="140" y="0"/>
                    </a:lnTo>
                    <a:lnTo>
                      <a:pt x="120" y="21"/>
                    </a:lnTo>
                    <a:lnTo>
                      <a:pt x="60" y="19"/>
                    </a:lnTo>
                    <a:lnTo>
                      <a:pt x="30" y="51"/>
                    </a:lnTo>
                    <a:lnTo>
                      <a:pt x="9" y="41"/>
                    </a:lnTo>
                    <a:lnTo>
                      <a:pt x="0" y="66"/>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7" name="Europe">
              <a:extLst>
                <a:ext uri="{FF2B5EF4-FFF2-40B4-BE49-F238E27FC236}">
                  <a16:creationId xmlns:a16="http://schemas.microsoft.com/office/drawing/2014/main" id="{C1B37E59-4EB7-7E2A-3CBE-14499C43BE24}"/>
                </a:ext>
              </a:extLst>
            </p:cNvPr>
            <p:cNvGrpSpPr>
              <a:grpSpLocks noGrp="1" noUngrp="1" noRot="1" noMove="1" noResize="1"/>
            </p:cNvGrpSpPr>
            <p:nvPr userDrawn="1"/>
          </p:nvGrpSpPr>
          <p:grpSpPr>
            <a:xfrm>
              <a:off x="3161859" y="769914"/>
              <a:ext cx="10678756" cy="3943794"/>
              <a:chOff x="3161859" y="769914"/>
              <a:chExt cx="10678756" cy="3943794"/>
            </a:xfrm>
            <a:grpFill/>
          </p:grpSpPr>
          <p:grpSp>
            <p:nvGrpSpPr>
              <p:cNvPr id="133" name="Russia">
                <a:extLst>
                  <a:ext uri="{FF2B5EF4-FFF2-40B4-BE49-F238E27FC236}">
                    <a16:creationId xmlns:a16="http://schemas.microsoft.com/office/drawing/2014/main" id="{2B577EB1-9594-6674-8216-089476E9BC8B}"/>
                  </a:ext>
                </a:extLst>
              </p:cNvPr>
              <p:cNvGrpSpPr>
                <a:grpSpLocks noGrp="1" noUngrp="1" noRot="1" noMove="1" noResize="1"/>
              </p:cNvGrpSpPr>
              <p:nvPr userDrawn="1"/>
            </p:nvGrpSpPr>
            <p:grpSpPr>
              <a:xfrm>
                <a:off x="5331620" y="769914"/>
                <a:ext cx="8508995" cy="3469862"/>
                <a:chOff x="5331620" y="769914"/>
                <a:chExt cx="8508995" cy="3469862"/>
              </a:xfrm>
              <a:grpFill/>
            </p:grpSpPr>
            <p:sp>
              <p:nvSpPr>
                <p:cNvPr id="191" name="Russia">
                  <a:extLst>
                    <a:ext uri="{FF2B5EF4-FFF2-40B4-BE49-F238E27FC236}">
                      <a16:creationId xmlns:a16="http://schemas.microsoft.com/office/drawing/2014/main" id="{14AB1872-8B7F-9E99-C7B5-0741BD193B57}"/>
                    </a:ext>
                  </a:extLst>
                </p:cNvPr>
                <p:cNvSpPr>
                  <a:spLocks noGrp="1" noRot="1" noChangeAspect="1" noMove="1" noResize="1" noEditPoints="1" noAdjustHandles="1" noChangeArrowheads="1" noChangeShapeType="1"/>
                </p:cNvSpPr>
                <p:nvPr/>
              </p:nvSpPr>
              <p:spPr bwMode="gray">
                <a:xfrm>
                  <a:off x="8878814" y="936162"/>
                  <a:ext cx="133691" cy="59678"/>
                </a:xfrm>
                <a:custGeom>
                  <a:avLst/>
                  <a:gdLst>
                    <a:gd name="T0" fmla="*/ 0 w 38"/>
                    <a:gd name="T1" fmla="*/ 0 h 14"/>
                    <a:gd name="T2" fmla="*/ 0 w 38"/>
                    <a:gd name="T3" fmla="*/ 0 h 14"/>
                    <a:gd name="T4" fmla="*/ 16 w 38"/>
                    <a:gd name="T5" fmla="*/ 10 h 14"/>
                    <a:gd name="T6" fmla="*/ 11 w 38"/>
                    <a:gd name="T7" fmla="*/ 13 h 14"/>
                    <a:gd name="T8" fmla="*/ 25 w 38"/>
                    <a:gd name="T9" fmla="*/ 13 h 14"/>
                    <a:gd name="T10" fmla="*/ 37 w 38"/>
                    <a:gd name="T11" fmla="*/ 6 h 14"/>
                    <a:gd name="T12" fmla="*/ 0 w 38"/>
                    <a:gd name="T13" fmla="*/ 0 h 14"/>
                    <a:gd name="T14" fmla="*/ 0 w 38"/>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14"/>
                    <a:gd name="T26" fmla="*/ 38 w 38"/>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14">
                      <a:moveTo>
                        <a:pt x="0" y="0"/>
                      </a:moveTo>
                      <a:lnTo>
                        <a:pt x="0" y="0"/>
                      </a:lnTo>
                      <a:lnTo>
                        <a:pt x="16" y="10"/>
                      </a:lnTo>
                      <a:lnTo>
                        <a:pt x="11" y="13"/>
                      </a:lnTo>
                      <a:lnTo>
                        <a:pt x="25" y="13"/>
                      </a:lnTo>
                      <a:lnTo>
                        <a:pt x="37" y="6"/>
                      </a:lnTo>
                      <a:lnTo>
                        <a:pt x="0" y="0"/>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2" name="Russia">
                  <a:extLst>
                    <a:ext uri="{FF2B5EF4-FFF2-40B4-BE49-F238E27FC236}">
                      <a16:creationId xmlns:a16="http://schemas.microsoft.com/office/drawing/2014/main" id="{AC8842A7-4CF0-9826-E855-09321C6011E4}"/>
                    </a:ext>
                  </a:extLst>
                </p:cNvPr>
                <p:cNvSpPr>
                  <a:spLocks noGrp="1" noRot="1" noChangeAspect="1" noMove="1" noResize="1" noEditPoints="1" noAdjustHandles="1" noChangeArrowheads="1" noChangeShapeType="1"/>
                </p:cNvSpPr>
                <p:nvPr/>
              </p:nvSpPr>
              <p:spPr bwMode="gray">
                <a:xfrm>
                  <a:off x="8897911" y="791226"/>
                  <a:ext cx="324676" cy="149196"/>
                </a:xfrm>
                <a:custGeom>
                  <a:avLst/>
                  <a:gdLst>
                    <a:gd name="T0" fmla="*/ 0 w 88"/>
                    <a:gd name="T1" fmla="*/ 31 h 38"/>
                    <a:gd name="T2" fmla="*/ 0 w 88"/>
                    <a:gd name="T3" fmla="*/ 31 h 38"/>
                    <a:gd name="T4" fmla="*/ 23 w 88"/>
                    <a:gd name="T5" fmla="*/ 10 h 38"/>
                    <a:gd name="T6" fmla="*/ 56 w 88"/>
                    <a:gd name="T7" fmla="*/ 0 h 38"/>
                    <a:gd name="T8" fmla="*/ 87 w 88"/>
                    <a:gd name="T9" fmla="*/ 18 h 38"/>
                    <a:gd name="T10" fmla="*/ 77 w 88"/>
                    <a:gd name="T11" fmla="*/ 21 h 38"/>
                    <a:gd name="T12" fmla="*/ 79 w 88"/>
                    <a:gd name="T13" fmla="*/ 29 h 38"/>
                    <a:gd name="T14" fmla="*/ 34 w 88"/>
                    <a:gd name="T15" fmla="*/ 37 h 38"/>
                    <a:gd name="T16" fmla="*/ 0 w 88"/>
                    <a:gd name="T17" fmla="*/ 31 h 38"/>
                    <a:gd name="T18" fmla="*/ 0 w 88"/>
                    <a:gd name="T19" fmla="*/ 31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
                    <a:gd name="T31" fmla="*/ 0 h 38"/>
                    <a:gd name="T32" fmla="*/ 88 w 88"/>
                    <a:gd name="T33" fmla="*/ 38 h 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 h="38">
                      <a:moveTo>
                        <a:pt x="0" y="31"/>
                      </a:moveTo>
                      <a:lnTo>
                        <a:pt x="0" y="31"/>
                      </a:lnTo>
                      <a:lnTo>
                        <a:pt x="23" y="10"/>
                      </a:lnTo>
                      <a:lnTo>
                        <a:pt x="56" y="0"/>
                      </a:lnTo>
                      <a:lnTo>
                        <a:pt x="87" y="18"/>
                      </a:lnTo>
                      <a:lnTo>
                        <a:pt x="77" y="21"/>
                      </a:lnTo>
                      <a:lnTo>
                        <a:pt x="79" y="29"/>
                      </a:lnTo>
                      <a:lnTo>
                        <a:pt x="34" y="37"/>
                      </a:lnTo>
                      <a:lnTo>
                        <a:pt x="0" y="31"/>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3" name="Russia">
                  <a:extLst>
                    <a:ext uri="{FF2B5EF4-FFF2-40B4-BE49-F238E27FC236}">
                      <a16:creationId xmlns:a16="http://schemas.microsoft.com/office/drawing/2014/main" id="{06254AA0-9714-EA45-4DAC-74091B013115}"/>
                    </a:ext>
                  </a:extLst>
                </p:cNvPr>
                <p:cNvSpPr>
                  <a:spLocks noGrp="1" noRot="1" noChangeAspect="1" noMove="1" noResize="1" noEditPoints="1" noAdjustHandles="1" noChangeArrowheads="1" noChangeShapeType="1"/>
                </p:cNvSpPr>
                <p:nvPr/>
              </p:nvSpPr>
              <p:spPr bwMode="gray">
                <a:xfrm>
                  <a:off x="8970487" y="927636"/>
                  <a:ext cx="351414" cy="179034"/>
                </a:xfrm>
                <a:custGeom>
                  <a:avLst/>
                  <a:gdLst>
                    <a:gd name="T0" fmla="*/ 0 w 98"/>
                    <a:gd name="T1" fmla="*/ 19 h 45"/>
                    <a:gd name="T2" fmla="*/ 0 w 98"/>
                    <a:gd name="T3" fmla="*/ 19 h 45"/>
                    <a:gd name="T4" fmla="*/ 18 w 98"/>
                    <a:gd name="T5" fmla="*/ 22 h 45"/>
                    <a:gd name="T6" fmla="*/ 30 w 98"/>
                    <a:gd name="T7" fmla="*/ 37 h 45"/>
                    <a:gd name="T8" fmla="*/ 40 w 98"/>
                    <a:gd name="T9" fmla="*/ 32 h 45"/>
                    <a:gd name="T10" fmla="*/ 80 w 98"/>
                    <a:gd name="T11" fmla="*/ 44 h 45"/>
                    <a:gd name="T12" fmla="*/ 94 w 98"/>
                    <a:gd name="T13" fmla="*/ 39 h 45"/>
                    <a:gd name="T14" fmla="*/ 83 w 98"/>
                    <a:gd name="T15" fmla="*/ 28 h 45"/>
                    <a:gd name="T16" fmla="*/ 91 w 98"/>
                    <a:gd name="T17" fmla="*/ 31 h 45"/>
                    <a:gd name="T18" fmla="*/ 97 w 98"/>
                    <a:gd name="T19" fmla="*/ 13 h 45"/>
                    <a:gd name="T20" fmla="*/ 76 w 98"/>
                    <a:gd name="T21" fmla="*/ 4 h 45"/>
                    <a:gd name="T22" fmla="*/ 55 w 98"/>
                    <a:gd name="T23" fmla="*/ 17 h 45"/>
                    <a:gd name="T24" fmla="*/ 72 w 98"/>
                    <a:gd name="T25" fmla="*/ 10 h 45"/>
                    <a:gd name="T26" fmla="*/ 62 w 98"/>
                    <a:gd name="T27" fmla="*/ 0 h 45"/>
                    <a:gd name="T28" fmla="*/ 28 w 98"/>
                    <a:gd name="T29" fmla="*/ 4 h 45"/>
                    <a:gd name="T30" fmla="*/ 0 w 98"/>
                    <a:gd name="T31" fmla="*/ 19 h 45"/>
                    <a:gd name="T32" fmla="*/ 0 w 98"/>
                    <a:gd name="T33" fmla="*/ 19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45"/>
                    <a:gd name="T53" fmla="*/ 98 w 98"/>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45">
                      <a:moveTo>
                        <a:pt x="0" y="19"/>
                      </a:moveTo>
                      <a:lnTo>
                        <a:pt x="0" y="19"/>
                      </a:lnTo>
                      <a:lnTo>
                        <a:pt x="18" y="22"/>
                      </a:lnTo>
                      <a:lnTo>
                        <a:pt x="30" y="37"/>
                      </a:lnTo>
                      <a:lnTo>
                        <a:pt x="40" y="32"/>
                      </a:lnTo>
                      <a:lnTo>
                        <a:pt x="80" y="44"/>
                      </a:lnTo>
                      <a:lnTo>
                        <a:pt x="94" y="39"/>
                      </a:lnTo>
                      <a:lnTo>
                        <a:pt x="83" y="28"/>
                      </a:lnTo>
                      <a:lnTo>
                        <a:pt x="91" y="31"/>
                      </a:lnTo>
                      <a:lnTo>
                        <a:pt x="97" y="13"/>
                      </a:lnTo>
                      <a:lnTo>
                        <a:pt x="76" y="4"/>
                      </a:lnTo>
                      <a:lnTo>
                        <a:pt x="55" y="17"/>
                      </a:lnTo>
                      <a:lnTo>
                        <a:pt x="72" y="10"/>
                      </a:lnTo>
                      <a:lnTo>
                        <a:pt x="62" y="0"/>
                      </a:lnTo>
                      <a:lnTo>
                        <a:pt x="28" y="4"/>
                      </a:lnTo>
                      <a:lnTo>
                        <a:pt x="0" y="19"/>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4" name="Russia">
                  <a:extLst>
                    <a:ext uri="{FF2B5EF4-FFF2-40B4-BE49-F238E27FC236}">
                      <a16:creationId xmlns:a16="http://schemas.microsoft.com/office/drawing/2014/main" id="{419A7CA7-94DE-689E-428C-942E96C46330}"/>
                    </a:ext>
                  </a:extLst>
                </p:cNvPr>
                <p:cNvSpPr>
                  <a:spLocks noGrp="1" noRot="1" noChangeAspect="1" noMove="1" noResize="1" noEditPoints="1" noAdjustHandles="1" noChangeArrowheads="1" noChangeShapeType="1"/>
                </p:cNvSpPr>
                <p:nvPr/>
              </p:nvSpPr>
              <p:spPr bwMode="gray">
                <a:xfrm>
                  <a:off x="9302798" y="1012888"/>
                  <a:ext cx="294119" cy="191824"/>
                </a:xfrm>
                <a:custGeom>
                  <a:avLst/>
                  <a:gdLst>
                    <a:gd name="T0" fmla="*/ 0 w 82"/>
                    <a:gd name="T1" fmla="*/ 38 h 46"/>
                    <a:gd name="T2" fmla="*/ 0 w 82"/>
                    <a:gd name="T3" fmla="*/ 38 h 46"/>
                    <a:gd name="T4" fmla="*/ 6 w 82"/>
                    <a:gd name="T5" fmla="*/ 45 h 46"/>
                    <a:gd name="T6" fmla="*/ 74 w 82"/>
                    <a:gd name="T7" fmla="*/ 36 h 46"/>
                    <a:gd name="T8" fmla="*/ 81 w 82"/>
                    <a:gd name="T9" fmla="*/ 21 h 46"/>
                    <a:gd name="T10" fmla="*/ 62 w 82"/>
                    <a:gd name="T11" fmla="*/ 9 h 46"/>
                    <a:gd name="T12" fmla="*/ 46 w 82"/>
                    <a:gd name="T13" fmla="*/ 14 h 46"/>
                    <a:gd name="T14" fmla="*/ 48 w 82"/>
                    <a:gd name="T15" fmla="*/ 4 h 46"/>
                    <a:gd name="T16" fmla="*/ 39 w 82"/>
                    <a:gd name="T17" fmla="*/ 0 h 46"/>
                    <a:gd name="T18" fmla="*/ 8 w 82"/>
                    <a:gd name="T19" fmla="*/ 33 h 46"/>
                    <a:gd name="T20" fmla="*/ 0 w 82"/>
                    <a:gd name="T21" fmla="*/ 38 h 46"/>
                    <a:gd name="T22" fmla="*/ 0 w 82"/>
                    <a:gd name="T23" fmla="*/ 38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46"/>
                    <a:gd name="T38" fmla="*/ 82 w 82"/>
                    <a:gd name="T39" fmla="*/ 46 h 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46">
                      <a:moveTo>
                        <a:pt x="0" y="38"/>
                      </a:moveTo>
                      <a:lnTo>
                        <a:pt x="0" y="38"/>
                      </a:lnTo>
                      <a:lnTo>
                        <a:pt x="6" y="45"/>
                      </a:lnTo>
                      <a:lnTo>
                        <a:pt x="74" y="36"/>
                      </a:lnTo>
                      <a:lnTo>
                        <a:pt x="81" y="21"/>
                      </a:lnTo>
                      <a:lnTo>
                        <a:pt x="62" y="9"/>
                      </a:lnTo>
                      <a:lnTo>
                        <a:pt x="46" y="14"/>
                      </a:lnTo>
                      <a:lnTo>
                        <a:pt x="48" y="4"/>
                      </a:lnTo>
                      <a:lnTo>
                        <a:pt x="39" y="0"/>
                      </a:lnTo>
                      <a:lnTo>
                        <a:pt x="8" y="33"/>
                      </a:lnTo>
                      <a:lnTo>
                        <a:pt x="0" y="38"/>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5" name="Russia">
                  <a:extLst>
                    <a:ext uri="{FF2B5EF4-FFF2-40B4-BE49-F238E27FC236}">
                      <a16:creationId xmlns:a16="http://schemas.microsoft.com/office/drawing/2014/main" id="{EF6B7F3B-C8F7-5798-0BF3-2C1123A35950}"/>
                    </a:ext>
                  </a:extLst>
                </p:cNvPr>
                <p:cNvSpPr>
                  <a:spLocks noGrp="1" noRot="1" noChangeAspect="1" noMove="1" noResize="1" noEditPoints="1" noAdjustHandles="1" noChangeArrowheads="1" noChangeShapeType="1"/>
                </p:cNvSpPr>
                <p:nvPr/>
              </p:nvSpPr>
              <p:spPr bwMode="gray">
                <a:xfrm>
                  <a:off x="11140082" y="1396538"/>
                  <a:ext cx="328495" cy="170510"/>
                </a:xfrm>
                <a:custGeom>
                  <a:avLst/>
                  <a:gdLst>
                    <a:gd name="T0" fmla="*/ 0 w 92"/>
                    <a:gd name="T1" fmla="*/ 23 h 43"/>
                    <a:gd name="T2" fmla="*/ 0 w 92"/>
                    <a:gd name="T3" fmla="*/ 23 h 43"/>
                    <a:gd name="T4" fmla="*/ 18 w 92"/>
                    <a:gd name="T5" fmla="*/ 1 h 43"/>
                    <a:gd name="T6" fmla="*/ 31 w 92"/>
                    <a:gd name="T7" fmla="*/ 0 h 43"/>
                    <a:gd name="T8" fmla="*/ 52 w 92"/>
                    <a:gd name="T9" fmla="*/ 16 h 43"/>
                    <a:gd name="T10" fmla="*/ 55 w 92"/>
                    <a:gd name="T11" fmla="*/ 4 h 43"/>
                    <a:gd name="T12" fmla="*/ 78 w 92"/>
                    <a:gd name="T13" fmla="*/ 14 h 43"/>
                    <a:gd name="T14" fmla="*/ 76 w 92"/>
                    <a:gd name="T15" fmla="*/ 29 h 43"/>
                    <a:gd name="T16" fmla="*/ 91 w 92"/>
                    <a:gd name="T17" fmla="*/ 35 h 43"/>
                    <a:gd name="T18" fmla="*/ 43 w 92"/>
                    <a:gd name="T19" fmla="*/ 37 h 43"/>
                    <a:gd name="T20" fmla="*/ 40 w 92"/>
                    <a:gd name="T21" fmla="*/ 31 h 43"/>
                    <a:gd name="T22" fmla="*/ 32 w 92"/>
                    <a:gd name="T23" fmla="*/ 42 h 43"/>
                    <a:gd name="T24" fmla="*/ 0 w 92"/>
                    <a:gd name="T25" fmla="*/ 23 h 43"/>
                    <a:gd name="T26" fmla="*/ 0 w 92"/>
                    <a:gd name="T27" fmla="*/ 23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2"/>
                    <a:gd name="T43" fmla="*/ 0 h 43"/>
                    <a:gd name="T44" fmla="*/ 92 w 92"/>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2" h="43">
                      <a:moveTo>
                        <a:pt x="0" y="23"/>
                      </a:moveTo>
                      <a:lnTo>
                        <a:pt x="0" y="23"/>
                      </a:lnTo>
                      <a:lnTo>
                        <a:pt x="18" y="1"/>
                      </a:lnTo>
                      <a:lnTo>
                        <a:pt x="31" y="0"/>
                      </a:lnTo>
                      <a:lnTo>
                        <a:pt x="52" y="16"/>
                      </a:lnTo>
                      <a:lnTo>
                        <a:pt x="55" y="4"/>
                      </a:lnTo>
                      <a:lnTo>
                        <a:pt x="78" y="14"/>
                      </a:lnTo>
                      <a:lnTo>
                        <a:pt x="76" y="29"/>
                      </a:lnTo>
                      <a:lnTo>
                        <a:pt x="91" y="35"/>
                      </a:lnTo>
                      <a:lnTo>
                        <a:pt x="43" y="37"/>
                      </a:lnTo>
                      <a:lnTo>
                        <a:pt x="40" y="31"/>
                      </a:lnTo>
                      <a:lnTo>
                        <a:pt x="32" y="42"/>
                      </a:lnTo>
                      <a:lnTo>
                        <a:pt x="0" y="23"/>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6" name="Russia">
                  <a:extLst>
                    <a:ext uri="{FF2B5EF4-FFF2-40B4-BE49-F238E27FC236}">
                      <a16:creationId xmlns:a16="http://schemas.microsoft.com/office/drawing/2014/main" id="{666B55FD-81FE-87CC-2680-75804EEC900D}"/>
                    </a:ext>
                  </a:extLst>
                </p:cNvPr>
                <p:cNvSpPr>
                  <a:spLocks noGrp="1" noRot="1" noChangeAspect="1" noMove="1" noResize="1" noEditPoints="1" noAdjustHandles="1" noChangeArrowheads="1" noChangeShapeType="1"/>
                </p:cNvSpPr>
                <p:nvPr/>
              </p:nvSpPr>
              <p:spPr bwMode="gray">
                <a:xfrm>
                  <a:off x="11369267" y="1405060"/>
                  <a:ext cx="206267" cy="123620"/>
                </a:xfrm>
                <a:custGeom>
                  <a:avLst/>
                  <a:gdLst>
                    <a:gd name="T0" fmla="*/ 0 w 57"/>
                    <a:gd name="T1" fmla="*/ 0 h 30"/>
                    <a:gd name="T2" fmla="*/ 0 w 57"/>
                    <a:gd name="T3" fmla="*/ 0 h 30"/>
                    <a:gd name="T4" fmla="*/ 19 w 57"/>
                    <a:gd name="T5" fmla="*/ 11 h 30"/>
                    <a:gd name="T6" fmla="*/ 14 w 57"/>
                    <a:gd name="T7" fmla="*/ 21 h 30"/>
                    <a:gd name="T8" fmla="*/ 23 w 57"/>
                    <a:gd name="T9" fmla="*/ 29 h 30"/>
                    <a:gd name="T10" fmla="*/ 40 w 57"/>
                    <a:gd name="T11" fmla="*/ 29 h 30"/>
                    <a:gd name="T12" fmla="*/ 56 w 57"/>
                    <a:gd name="T13" fmla="*/ 18 h 30"/>
                    <a:gd name="T14" fmla="*/ 0 w 57"/>
                    <a:gd name="T15" fmla="*/ 0 h 30"/>
                    <a:gd name="T16" fmla="*/ 0 w 57"/>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30"/>
                    <a:gd name="T29" fmla="*/ 57 w 57"/>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30">
                      <a:moveTo>
                        <a:pt x="0" y="0"/>
                      </a:moveTo>
                      <a:lnTo>
                        <a:pt x="0" y="0"/>
                      </a:lnTo>
                      <a:lnTo>
                        <a:pt x="19" y="11"/>
                      </a:lnTo>
                      <a:lnTo>
                        <a:pt x="14" y="21"/>
                      </a:lnTo>
                      <a:lnTo>
                        <a:pt x="23" y="29"/>
                      </a:lnTo>
                      <a:lnTo>
                        <a:pt x="40" y="29"/>
                      </a:lnTo>
                      <a:lnTo>
                        <a:pt x="56" y="18"/>
                      </a:lnTo>
                      <a:lnTo>
                        <a:pt x="0" y="0"/>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7" name="Russia">
                  <a:extLst>
                    <a:ext uri="{FF2B5EF4-FFF2-40B4-BE49-F238E27FC236}">
                      <a16:creationId xmlns:a16="http://schemas.microsoft.com/office/drawing/2014/main" id="{A43ED351-C798-7A38-7AB0-31727A7CCCF7}"/>
                    </a:ext>
                  </a:extLst>
                </p:cNvPr>
                <p:cNvSpPr>
                  <a:spLocks noGrp="1" noRot="1" noChangeAspect="1" noMove="1" noResize="1" noEditPoints="1" noAdjustHandles="1" noChangeArrowheads="1" noChangeShapeType="1"/>
                </p:cNvSpPr>
                <p:nvPr/>
              </p:nvSpPr>
              <p:spPr bwMode="gray">
                <a:xfrm>
                  <a:off x="11392183" y="3374446"/>
                  <a:ext cx="156609" cy="609574"/>
                </a:xfrm>
                <a:custGeom>
                  <a:avLst/>
                  <a:gdLst>
                    <a:gd name="T0" fmla="*/ 0 w 43"/>
                    <a:gd name="T1" fmla="*/ 38 h 149"/>
                    <a:gd name="T2" fmla="*/ 0 w 43"/>
                    <a:gd name="T3" fmla="*/ 38 h 149"/>
                    <a:gd name="T4" fmla="*/ 7 w 43"/>
                    <a:gd name="T5" fmla="*/ 56 h 149"/>
                    <a:gd name="T6" fmla="*/ 7 w 43"/>
                    <a:gd name="T7" fmla="*/ 148 h 149"/>
                    <a:gd name="T8" fmla="*/ 14 w 43"/>
                    <a:gd name="T9" fmla="*/ 137 h 149"/>
                    <a:gd name="T10" fmla="*/ 25 w 43"/>
                    <a:gd name="T11" fmla="*/ 144 h 149"/>
                    <a:gd name="T12" fmla="*/ 13 w 43"/>
                    <a:gd name="T13" fmla="*/ 119 h 149"/>
                    <a:gd name="T14" fmla="*/ 20 w 43"/>
                    <a:gd name="T15" fmla="*/ 93 h 149"/>
                    <a:gd name="T16" fmla="*/ 42 w 43"/>
                    <a:gd name="T17" fmla="*/ 101 h 149"/>
                    <a:gd name="T18" fmla="*/ 21 w 43"/>
                    <a:gd name="T19" fmla="*/ 52 h 149"/>
                    <a:gd name="T20" fmla="*/ 14 w 43"/>
                    <a:gd name="T21" fmla="*/ 0 h 149"/>
                    <a:gd name="T22" fmla="*/ 0 w 43"/>
                    <a:gd name="T23" fmla="*/ 38 h 149"/>
                    <a:gd name="T24" fmla="*/ 0 w 43"/>
                    <a:gd name="T25" fmla="*/ 38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149"/>
                    <a:gd name="T41" fmla="*/ 43 w 43"/>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149">
                      <a:moveTo>
                        <a:pt x="0" y="38"/>
                      </a:moveTo>
                      <a:lnTo>
                        <a:pt x="0" y="38"/>
                      </a:lnTo>
                      <a:lnTo>
                        <a:pt x="7" y="56"/>
                      </a:lnTo>
                      <a:lnTo>
                        <a:pt x="7" y="148"/>
                      </a:lnTo>
                      <a:lnTo>
                        <a:pt x="14" y="137"/>
                      </a:lnTo>
                      <a:lnTo>
                        <a:pt x="25" y="144"/>
                      </a:lnTo>
                      <a:lnTo>
                        <a:pt x="13" y="119"/>
                      </a:lnTo>
                      <a:lnTo>
                        <a:pt x="20" y="93"/>
                      </a:lnTo>
                      <a:lnTo>
                        <a:pt x="42" y="101"/>
                      </a:lnTo>
                      <a:lnTo>
                        <a:pt x="21" y="52"/>
                      </a:lnTo>
                      <a:lnTo>
                        <a:pt x="14" y="0"/>
                      </a:lnTo>
                      <a:lnTo>
                        <a:pt x="0" y="38"/>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8" name="Russia">
                  <a:extLst>
                    <a:ext uri="{FF2B5EF4-FFF2-40B4-BE49-F238E27FC236}">
                      <a16:creationId xmlns:a16="http://schemas.microsoft.com/office/drawing/2014/main" id="{9E1F7FFD-F87D-FEC9-2681-FADFCE929EF4}"/>
                    </a:ext>
                  </a:extLst>
                </p:cNvPr>
                <p:cNvSpPr>
                  <a:spLocks noGrp="1" noRot="1" noChangeAspect="1" noMove="1" noResize="1" noEditPoints="1" noAdjustHandles="1" noChangeArrowheads="1" noChangeShapeType="1"/>
                </p:cNvSpPr>
                <p:nvPr/>
              </p:nvSpPr>
              <p:spPr bwMode="gray">
                <a:xfrm>
                  <a:off x="11621368" y="1469002"/>
                  <a:ext cx="229183" cy="89518"/>
                </a:xfrm>
                <a:custGeom>
                  <a:avLst/>
                  <a:gdLst>
                    <a:gd name="T0" fmla="*/ 0 w 64"/>
                    <a:gd name="T1" fmla="*/ 0 h 22"/>
                    <a:gd name="T2" fmla="*/ 0 w 64"/>
                    <a:gd name="T3" fmla="*/ 0 h 22"/>
                    <a:gd name="T4" fmla="*/ 11 w 64"/>
                    <a:gd name="T5" fmla="*/ 14 h 22"/>
                    <a:gd name="T6" fmla="*/ 40 w 64"/>
                    <a:gd name="T7" fmla="*/ 21 h 22"/>
                    <a:gd name="T8" fmla="*/ 63 w 64"/>
                    <a:gd name="T9" fmla="*/ 17 h 22"/>
                    <a:gd name="T10" fmla="*/ 0 w 64"/>
                    <a:gd name="T11" fmla="*/ 0 h 22"/>
                    <a:gd name="T12" fmla="*/ 0 w 64"/>
                    <a:gd name="T13" fmla="*/ 0 h 22"/>
                    <a:gd name="T14" fmla="*/ 0 60000 65536"/>
                    <a:gd name="T15" fmla="*/ 0 60000 65536"/>
                    <a:gd name="T16" fmla="*/ 0 60000 65536"/>
                    <a:gd name="T17" fmla="*/ 0 60000 65536"/>
                    <a:gd name="T18" fmla="*/ 0 60000 65536"/>
                    <a:gd name="T19" fmla="*/ 0 60000 65536"/>
                    <a:gd name="T20" fmla="*/ 0 60000 65536"/>
                    <a:gd name="T21" fmla="*/ 0 w 64"/>
                    <a:gd name="T22" fmla="*/ 0 h 22"/>
                    <a:gd name="T23" fmla="*/ 64 w 6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22">
                      <a:moveTo>
                        <a:pt x="0" y="0"/>
                      </a:moveTo>
                      <a:lnTo>
                        <a:pt x="0" y="0"/>
                      </a:lnTo>
                      <a:lnTo>
                        <a:pt x="11" y="14"/>
                      </a:lnTo>
                      <a:lnTo>
                        <a:pt x="40" y="21"/>
                      </a:lnTo>
                      <a:lnTo>
                        <a:pt x="63" y="17"/>
                      </a:lnTo>
                      <a:lnTo>
                        <a:pt x="0" y="0"/>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9" name="Russia">
                  <a:extLst>
                    <a:ext uri="{FF2B5EF4-FFF2-40B4-BE49-F238E27FC236}">
                      <a16:creationId xmlns:a16="http://schemas.microsoft.com/office/drawing/2014/main" id="{16DA3B49-6F86-B355-6336-A0C4C516C86E}"/>
                    </a:ext>
                  </a:extLst>
                </p:cNvPr>
                <p:cNvSpPr>
                  <a:spLocks noGrp="1" noRot="1" noChangeAspect="1" noMove="1" noResize="1" noEditPoints="1" noAdjustHandles="1" noChangeArrowheads="1" noChangeShapeType="1"/>
                </p:cNvSpPr>
                <p:nvPr/>
              </p:nvSpPr>
              <p:spPr bwMode="gray">
                <a:xfrm>
                  <a:off x="5693176" y="1226026"/>
                  <a:ext cx="8109249" cy="3013750"/>
                </a:xfrm>
                <a:custGeom>
                  <a:avLst/>
                  <a:gdLst>
                    <a:gd name="T0" fmla="*/ 24 w 2232"/>
                    <a:gd name="T1" fmla="*/ 417 h 748"/>
                    <a:gd name="T2" fmla="*/ 43 w 2232"/>
                    <a:gd name="T3" fmla="*/ 260 h 748"/>
                    <a:gd name="T4" fmla="*/ 83 w 2232"/>
                    <a:gd name="T5" fmla="*/ 220 h 748"/>
                    <a:gd name="T6" fmla="*/ 108 w 2232"/>
                    <a:gd name="T7" fmla="*/ 329 h 748"/>
                    <a:gd name="T8" fmla="*/ 193 w 2232"/>
                    <a:gd name="T9" fmla="*/ 329 h 748"/>
                    <a:gd name="T10" fmla="*/ 271 w 2232"/>
                    <a:gd name="T11" fmla="*/ 253 h 748"/>
                    <a:gd name="T12" fmla="*/ 381 w 2232"/>
                    <a:gd name="T13" fmla="*/ 247 h 748"/>
                    <a:gd name="T14" fmla="*/ 566 w 2232"/>
                    <a:gd name="T15" fmla="*/ 246 h 748"/>
                    <a:gd name="T16" fmla="*/ 567 w 2232"/>
                    <a:gd name="T17" fmla="*/ 159 h 748"/>
                    <a:gd name="T18" fmla="*/ 637 w 2232"/>
                    <a:gd name="T19" fmla="*/ 240 h 748"/>
                    <a:gd name="T20" fmla="*/ 649 w 2232"/>
                    <a:gd name="T21" fmla="*/ 234 h 748"/>
                    <a:gd name="T22" fmla="*/ 701 w 2232"/>
                    <a:gd name="T23" fmla="*/ 245 h 748"/>
                    <a:gd name="T24" fmla="*/ 666 w 2232"/>
                    <a:gd name="T25" fmla="*/ 140 h 748"/>
                    <a:gd name="T26" fmla="*/ 704 w 2232"/>
                    <a:gd name="T27" fmla="*/ 145 h 748"/>
                    <a:gd name="T28" fmla="*/ 733 w 2232"/>
                    <a:gd name="T29" fmla="*/ 115 h 748"/>
                    <a:gd name="T30" fmla="*/ 901 w 2232"/>
                    <a:gd name="T31" fmla="*/ 46 h 748"/>
                    <a:gd name="T32" fmla="*/ 1014 w 2232"/>
                    <a:gd name="T33" fmla="*/ 33 h 748"/>
                    <a:gd name="T34" fmla="*/ 1149 w 2232"/>
                    <a:gd name="T35" fmla="*/ 28 h 748"/>
                    <a:gd name="T36" fmla="*/ 1093 w 2232"/>
                    <a:gd name="T37" fmla="*/ 131 h 748"/>
                    <a:gd name="T38" fmla="*/ 1181 w 2232"/>
                    <a:gd name="T39" fmla="*/ 123 h 748"/>
                    <a:gd name="T40" fmla="*/ 1315 w 2232"/>
                    <a:gd name="T41" fmla="*/ 128 h 748"/>
                    <a:gd name="T42" fmla="*/ 1458 w 2232"/>
                    <a:gd name="T43" fmla="*/ 167 h 748"/>
                    <a:gd name="T44" fmla="*/ 1681 w 2232"/>
                    <a:gd name="T45" fmla="*/ 157 h 748"/>
                    <a:gd name="T46" fmla="*/ 1837 w 2232"/>
                    <a:gd name="T47" fmla="*/ 218 h 748"/>
                    <a:gd name="T48" fmla="*/ 1955 w 2232"/>
                    <a:gd name="T49" fmla="*/ 212 h 748"/>
                    <a:gd name="T50" fmla="*/ 2175 w 2232"/>
                    <a:gd name="T51" fmla="*/ 270 h 748"/>
                    <a:gd name="T52" fmla="*/ 2196 w 2232"/>
                    <a:gd name="T53" fmla="*/ 330 h 748"/>
                    <a:gd name="T54" fmla="*/ 2110 w 2232"/>
                    <a:gd name="T55" fmla="*/ 289 h 748"/>
                    <a:gd name="T56" fmla="*/ 2081 w 2232"/>
                    <a:gd name="T57" fmla="*/ 360 h 748"/>
                    <a:gd name="T58" fmla="*/ 1900 w 2232"/>
                    <a:gd name="T59" fmla="*/ 426 h 748"/>
                    <a:gd name="T60" fmla="*/ 1862 w 2232"/>
                    <a:gd name="T61" fmla="*/ 499 h 748"/>
                    <a:gd name="T62" fmla="*/ 1792 w 2232"/>
                    <a:gd name="T63" fmla="*/ 577 h 748"/>
                    <a:gd name="T64" fmla="*/ 1867 w 2232"/>
                    <a:gd name="T65" fmla="*/ 405 h 748"/>
                    <a:gd name="T66" fmla="*/ 1779 w 2232"/>
                    <a:gd name="T67" fmla="*/ 389 h 748"/>
                    <a:gd name="T68" fmla="*/ 1664 w 2232"/>
                    <a:gd name="T69" fmla="*/ 439 h 748"/>
                    <a:gd name="T70" fmla="*/ 1524 w 2232"/>
                    <a:gd name="T71" fmla="*/ 540 h 748"/>
                    <a:gd name="T72" fmla="*/ 1564 w 2232"/>
                    <a:gd name="T73" fmla="*/ 572 h 748"/>
                    <a:gd name="T74" fmla="*/ 1416 w 2232"/>
                    <a:gd name="T75" fmla="*/ 738 h 748"/>
                    <a:gd name="T76" fmla="*/ 1374 w 2232"/>
                    <a:gd name="T77" fmla="*/ 617 h 748"/>
                    <a:gd name="T78" fmla="*/ 1221 w 2232"/>
                    <a:gd name="T79" fmla="*/ 612 h 748"/>
                    <a:gd name="T80" fmla="*/ 970 w 2232"/>
                    <a:gd name="T81" fmla="*/ 586 h 748"/>
                    <a:gd name="T82" fmla="*/ 738 w 2232"/>
                    <a:gd name="T83" fmla="*/ 612 h 748"/>
                    <a:gd name="T84" fmla="*/ 654 w 2232"/>
                    <a:gd name="T85" fmla="*/ 588 h 748"/>
                    <a:gd name="T86" fmla="*/ 501 w 2232"/>
                    <a:gd name="T87" fmla="*/ 515 h 748"/>
                    <a:gd name="T88" fmla="*/ 399 w 2232"/>
                    <a:gd name="T89" fmla="*/ 538 h 748"/>
                    <a:gd name="T90" fmla="*/ 415 w 2232"/>
                    <a:gd name="T91" fmla="*/ 588 h 748"/>
                    <a:gd name="T92" fmla="*/ 356 w 2232"/>
                    <a:gd name="T93" fmla="*/ 583 h 748"/>
                    <a:gd name="T94" fmla="*/ 267 w 2232"/>
                    <a:gd name="T95" fmla="*/ 595 h 748"/>
                    <a:gd name="T96" fmla="*/ 258 w 2232"/>
                    <a:gd name="T97" fmla="*/ 644 h 748"/>
                    <a:gd name="T98" fmla="*/ 291 w 2232"/>
                    <a:gd name="T99" fmla="*/ 682 h 748"/>
                    <a:gd name="T100" fmla="*/ 265 w 2232"/>
                    <a:gd name="T101" fmla="*/ 736 h 748"/>
                    <a:gd name="T102" fmla="*/ 187 w 2232"/>
                    <a:gd name="T103" fmla="*/ 708 h 748"/>
                    <a:gd name="T104" fmla="*/ 175 w 2232"/>
                    <a:gd name="T105" fmla="*/ 641 h 748"/>
                    <a:gd name="T106" fmla="*/ 89 w 2232"/>
                    <a:gd name="T107" fmla="*/ 587 h 748"/>
                    <a:gd name="T108" fmla="*/ 60 w 2232"/>
                    <a:gd name="T109" fmla="*/ 560 h 748"/>
                    <a:gd name="T110" fmla="*/ 4 w 2232"/>
                    <a:gd name="T111" fmla="*/ 517 h 7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32"/>
                    <a:gd name="T169" fmla="*/ 0 h 748"/>
                    <a:gd name="T170" fmla="*/ 2232 w 2232"/>
                    <a:gd name="T171" fmla="*/ 748 h 7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32" h="748">
                      <a:moveTo>
                        <a:pt x="8" y="492"/>
                      </a:moveTo>
                      <a:lnTo>
                        <a:pt x="13" y="474"/>
                      </a:lnTo>
                      <a:lnTo>
                        <a:pt x="22" y="458"/>
                      </a:lnTo>
                      <a:lnTo>
                        <a:pt x="15" y="439"/>
                      </a:lnTo>
                      <a:lnTo>
                        <a:pt x="15" y="428"/>
                      </a:lnTo>
                      <a:lnTo>
                        <a:pt x="46" y="423"/>
                      </a:lnTo>
                      <a:lnTo>
                        <a:pt x="24" y="417"/>
                      </a:lnTo>
                      <a:lnTo>
                        <a:pt x="25" y="409"/>
                      </a:lnTo>
                      <a:lnTo>
                        <a:pt x="11" y="411"/>
                      </a:lnTo>
                      <a:lnTo>
                        <a:pt x="63" y="367"/>
                      </a:lnTo>
                      <a:lnTo>
                        <a:pt x="40" y="321"/>
                      </a:lnTo>
                      <a:lnTo>
                        <a:pt x="46" y="299"/>
                      </a:lnTo>
                      <a:lnTo>
                        <a:pt x="32" y="274"/>
                      </a:lnTo>
                      <a:lnTo>
                        <a:pt x="43" y="260"/>
                      </a:lnTo>
                      <a:lnTo>
                        <a:pt x="24" y="241"/>
                      </a:lnTo>
                      <a:lnTo>
                        <a:pt x="29" y="225"/>
                      </a:lnTo>
                      <a:lnTo>
                        <a:pt x="55" y="207"/>
                      </a:lnTo>
                      <a:lnTo>
                        <a:pt x="69" y="205"/>
                      </a:lnTo>
                      <a:lnTo>
                        <a:pt x="86" y="209"/>
                      </a:lnTo>
                      <a:lnTo>
                        <a:pt x="71" y="213"/>
                      </a:lnTo>
                      <a:lnTo>
                        <a:pt x="83" y="220"/>
                      </a:lnTo>
                      <a:lnTo>
                        <a:pt x="123" y="222"/>
                      </a:lnTo>
                      <a:lnTo>
                        <a:pt x="195" y="259"/>
                      </a:lnTo>
                      <a:lnTo>
                        <a:pt x="196" y="277"/>
                      </a:lnTo>
                      <a:lnTo>
                        <a:pt x="166" y="294"/>
                      </a:lnTo>
                      <a:lnTo>
                        <a:pt x="69" y="271"/>
                      </a:lnTo>
                      <a:lnTo>
                        <a:pt x="109" y="298"/>
                      </a:lnTo>
                      <a:lnTo>
                        <a:pt x="108" y="329"/>
                      </a:lnTo>
                      <a:lnTo>
                        <a:pt x="146" y="344"/>
                      </a:lnTo>
                      <a:lnTo>
                        <a:pt x="157" y="342"/>
                      </a:lnTo>
                      <a:lnTo>
                        <a:pt x="151" y="329"/>
                      </a:lnTo>
                      <a:lnTo>
                        <a:pt x="133" y="324"/>
                      </a:lnTo>
                      <a:lnTo>
                        <a:pt x="138" y="313"/>
                      </a:lnTo>
                      <a:lnTo>
                        <a:pt x="155" y="325"/>
                      </a:lnTo>
                      <a:lnTo>
                        <a:pt x="193" y="329"/>
                      </a:lnTo>
                      <a:lnTo>
                        <a:pt x="177" y="304"/>
                      </a:lnTo>
                      <a:lnTo>
                        <a:pt x="212" y="284"/>
                      </a:lnTo>
                      <a:lnTo>
                        <a:pt x="237" y="298"/>
                      </a:lnTo>
                      <a:lnTo>
                        <a:pt x="236" y="243"/>
                      </a:lnTo>
                      <a:lnTo>
                        <a:pt x="226" y="234"/>
                      </a:lnTo>
                      <a:lnTo>
                        <a:pt x="268" y="247"/>
                      </a:lnTo>
                      <a:lnTo>
                        <a:pt x="271" y="253"/>
                      </a:lnTo>
                      <a:lnTo>
                        <a:pt x="248" y="263"/>
                      </a:lnTo>
                      <a:lnTo>
                        <a:pt x="271" y="281"/>
                      </a:lnTo>
                      <a:lnTo>
                        <a:pt x="290" y="260"/>
                      </a:lnTo>
                      <a:lnTo>
                        <a:pt x="368" y="227"/>
                      </a:lnTo>
                      <a:lnTo>
                        <a:pt x="380" y="226"/>
                      </a:lnTo>
                      <a:lnTo>
                        <a:pt x="368" y="231"/>
                      </a:lnTo>
                      <a:lnTo>
                        <a:pt x="381" y="247"/>
                      </a:lnTo>
                      <a:lnTo>
                        <a:pt x="438" y="226"/>
                      </a:lnTo>
                      <a:lnTo>
                        <a:pt x="451" y="241"/>
                      </a:lnTo>
                      <a:lnTo>
                        <a:pt x="464" y="230"/>
                      </a:lnTo>
                      <a:lnTo>
                        <a:pt x="457" y="212"/>
                      </a:lnTo>
                      <a:lnTo>
                        <a:pt x="465" y="206"/>
                      </a:lnTo>
                      <a:lnTo>
                        <a:pt x="509" y="215"/>
                      </a:lnTo>
                      <a:lnTo>
                        <a:pt x="566" y="246"/>
                      </a:lnTo>
                      <a:lnTo>
                        <a:pt x="577" y="231"/>
                      </a:lnTo>
                      <a:lnTo>
                        <a:pt x="565" y="215"/>
                      </a:lnTo>
                      <a:lnTo>
                        <a:pt x="547" y="211"/>
                      </a:lnTo>
                      <a:lnTo>
                        <a:pt x="554" y="186"/>
                      </a:lnTo>
                      <a:lnTo>
                        <a:pt x="542" y="183"/>
                      </a:lnTo>
                      <a:lnTo>
                        <a:pt x="546" y="171"/>
                      </a:lnTo>
                      <a:lnTo>
                        <a:pt x="567" y="159"/>
                      </a:lnTo>
                      <a:lnTo>
                        <a:pt x="581" y="129"/>
                      </a:lnTo>
                      <a:lnTo>
                        <a:pt x="610" y="130"/>
                      </a:lnTo>
                      <a:lnTo>
                        <a:pt x="625" y="134"/>
                      </a:lnTo>
                      <a:lnTo>
                        <a:pt x="614" y="166"/>
                      </a:lnTo>
                      <a:lnTo>
                        <a:pt x="626" y="181"/>
                      </a:lnTo>
                      <a:lnTo>
                        <a:pt x="622" y="225"/>
                      </a:lnTo>
                      <a:lnTo>
                        <a:pt x="637" y="240"/>
                      </a:lnTo>
                      <a:lnTo>
                        <a:pt x="631" y="256"/>
                      </a:lnTo>
                      <a:lnTo>
                        <a:pt x="609" y="268"/>
                      </a:lnTo>
                      <a:lnTo>
                        <a:pt x="616" y="274"/>
                      </a:lnTo>
                      <a:lnTo>
                        <a:pt x="586" y="280"/>
                      </a:lnTo>
                      <a:lnTo>
                        <a:pt x="618" y="291"/>
                      </a:lnTo>
                      <a:lnTo>
                        <a:pt x="653" y="256"/>
                      </a:lnTo>
                      <a:lnTo>
                        <a:pt x="649" y="234"/>
                      </a:lnTo>
                      <a:lnTo>
                        <a:pt x="661" y="231"/>
                      </a:lnTo>
                      <a:lnTo>
                        <a:pt x="680" y="227"/>
                      </a:lnTo>
                      <a:lnTo>
                        <a:pt x="689" y="239"/>
                      </a:lnTo>
                      <a:lnTo>
                        <a:pt x="688" y="256"/>
                      </a:lnTo>
                      <a:lnTo>
                        <a:pt x="711" y="261"/>
                      </a:lnTo>
                      <a:lnTo>
                        <a:pt x="693" y="255"/>
                      </a:lnTo>
                      <a:lnTo>
                        <a:pt x="701" y="245"/>
                      </a:lnTo>
                      <a:lnTo>
                        <a:pt x="694" y="231"/>
                      </a:lnTo>
                      <a:lnTo>
                        <a:pt x="641" y="221"/>
                      </a:lnTo>
                      <a:lnTo>
                        <a:pt x="649" y="187"/>
                      </a:lnTo>
                      <a:lnTo>
                        <a:pt x="631" y="166"/>
                      </a:lnTo>
                      <a:lnTo>
                        <a:pt x="657" y="146"/>
                      </a:lnTo>
                      <a:lnTo>
                        <a:pt x="654" y="132"/>
                      </a:lnTo>
                      <a:lnTo>
                        <a:pt x="666" y="140"/>
                      </a:lnTo>
                      <a:lnTo>
                        <a:pt x="660" y="167"/>
                      </a:lnTo>
                      <a:lnTo>
                        <a:pt x="668" y="171"/>
                      </a:lnTo>
                      <a:lnTo>
                        <a:pt x="704" y="180"/>
                      </a:lnTo>
                      <a:lnTo>
                        <a:pt x="672" y="157"/>
                      </a:lnTo>
                      <a:lnTo>
                        <a:pt x="696" y="158"/>
                      </a:lnTo>
                      <a:lnTo>
                        <a:pt x="691" y="149"/>
                      </a:lnTo>
                      <a:lnTo>
                        <a:pt x="704" y="145"/>
                      </a:lnTo>
                      <a:lnTo>
                        <a:pt x="770" y="162"/>
                      </a:lnTo>
                      <a:lnTo>
                        <a:pt x="757" y="174"/>
                      </a:lnTo>
                      <a:lnTo>
                        <a:pt x="756" y="192"/>
                      </a:lnTo>
                      <a:lnTo>
                        <a:pt x="769" y="202"/>
                      </a:lnTo>
                      <a:lnTo>
                        <a:pt x="776" y="162"/>
                      </a:lnTo>
                      <a:lnTo>
                        <a:pt x="740" y="142"/>
                      </a:lnTo>
                      <a:lnTo>
                        <a:pt x="733" y="115"/>
                      </a:lnTo>
                      <a:lnTo>
                        <a:pt x="816" y="105"/>
                      </a:lnTo>
                      <a:lnTo>
                        <a:pt x="806" y="79"/>
                      </a:lnTo>
                      <a:lnTo>
                        <a:pt x="816" y="85"/>
                      </a:lnTo>
                      <a:lnTo>
                        <a:pt x="830" y="75"/>
                      </a:lnTo>
                      <a:lnTo>
                        <a:pt x="820" y="72"/>
                      </a:lnTo>
                      <a:lnTo>
                        <a:pt x="908" y="51"/>
                      </a:lnTo>
                      <a:lnTo>
                        <a:pt x="901" y="46"/>
                      </a:lnTo>
                      <a:lnTo>
                        <a:pt x="941" y="43"/>
                      </a:lnTo>
                      <a:lnTo>
                        <a:pt x="941" y="50"/>
                      </a:lnTo>
                      <a:lnTo>
                        <a:pt x="951" y="50"/>
                      </a:lnTo>
                      <a:lnTo>
                        <a:pt x="980" y="41"/>
                      </a:lnTo>
                      <a:lnTo>
                        <a:pt x="994" y="46"/>
                      </a:lnTo>
                      <a:lnTo>
                        <a:pt x="981" y="35"/>
                      </a:lnTo>
                      <a:lnTo>
                        <a:pt x="1014" y="33"/>
                      </a:lnTo>
                      <a:lnTo>
                        <a:pt x="1015" y="19"/>
                      </a:lnTo>
                      <a:lnTo>
                        <a:pt x="1054" y="0"/>
                      </a:lnTo>
                      <a:lnTo>
                        <a:pt x="1081" y="11"/>
                      </a:lnTo>
                      <a:lnTo>
                        <a:pt x="1058" y="21"/>
                      </a:lnTo>
                      <a:lnTo>
                        <a:pt x="1098" y="20"/>
                      </a:lnTo>
                      <a:lnTo>
                        <a:pt x="1082" y="35"/>
                      </a:lnTo>
                      <a:lnTo>
                        <a:pt x="1149" y="28"/>
                      </a:lnTo>
                      <a:lnTo>
                        <a:pt x="1186" y="50"/>
                      </a:lnTo>
                      <a:lnTo>
                        <a:pt x="1181" y="59"/>
                      </a:lnTo>
                      <a:lnTo>
                        <a:pt x="1168" y="54"/>
                      </a:lnTo>
                      <a:lnTo>
                        <a:pt x="1185" y="61"/>
                      </a:lnTo>
                      <a:lnTo>
                        <a:pt x="1177" y="74"/>
                      </a:lnTo>
                      <a:lnTo>
                        <a:pt x="1054" y="139"/>
                      </a:lnTo>
                      <a:lnTo>
                        <a:pt x="1093" y="131"/>
                      </a:lnTo>
                      <a:lnTo>
                        <a:pt x="1085" y="123"/>
                      </a:lnTo>
                      <a:lnTo>
                        <a:pt x="1147" y="110"/>
                      </a:lnTo>
                      <a:lnTo>
                        <a:pt x="1130" y="113"/>
                      </a:lnTo>
                      <a:lnTo>
                        <a:pt x="1134" y="101"/>
                      </a:lnTo>
                      <a:lnTo>
                        <a:pt x="1168" y="110"/>
                      </a:lnTo>
                      <a:lnTo>
                        <a:pt x="1174" y="101"/>
                      </a:lnTo>
                      <a:lnTo>
                        <a:pt x="1181" y="123"/>
                      </a:lnTo>
                      <a:lnTo>
                        <a:pt x="1198" y="124"/>
                      </a:lnTo>
                      <a:lnTo>
                        <a:pt x="1183" y="115"/>
                      </a:lnTo>
                      <a:lnTo>
                        <a:pt x="1215" y="110"/>
                      </a:lnTo>
                      <a:lnTo>
                        <a:pt x="1255" y="115"/>
                      </a:lnTo>
                      <a:lnTo>
                        <a:pt x="1251" y="123"/>
                      </a:lnTo>
                      <a:lnTo>
                        <a:pt x="1285" y="129"/>
                      </a:lnTo>
                      <a:lnTo>
                        <a:pt x="1315" y="128"/>
                      </a:lnTo>
                      <a:lnTo>
                        <a:pt x="1316" y="108"/>
                      </a:lnTo>
                      <a:lnTo>
                        <a:pt x="1325" y="105"/>
                      </a:lnTo>
                      <a:lnTo>
                        <a:pt x="1401" y="128"/>
                      </a:lnTo>
                      <a:lnTo>
                        <a:pt x="1390" y="162"/>
                      </a:lnTo>
                      <a:lnTo>
                        <a:pt x="1426" y="186"/>
                      </a:lnTo>
                      <a:lnTo>
                        <a:pt x="1445" y="153"/>
                      </a:lnTo>
                      <a:lnTo>
                        <a:pt x="1458" y="167"/>
                      </a:lnTo>
                      <a:lnTo>
                        <a:pt x="1483" y="162"/>
                      </a:lnTo>
                      <a:lnTo>
                        <a:pt x="1517" y="174"/>
                      </a:lnTo>
                      <a:lnTo>
                        <a:pt x="1544" y="167"/>
                      </a:lnTo>
                      <a:lnTo>
                        <a:pt x="1541" y="153"/>
                      </a:lnTo>
                      <a:lnTo>
                        <a:pt x="1560" y="132"/>
                      </a:lnTo>
                      <a:lnTo>
                        <a:pt x="1674" y="147"/>
                      </a:lnTo>
                      <a:lnTo>
                        <a:pt x="1681" y="157"/>
                      </a:lnTo>
                      <a:lnTo>
                        <a:pt x="1667" y="162"/>
                      </a:lnTo>
                      <a:lnTo>
                        <a:pt x="1703" y="167"/>
                      </a:lnTo>
                      <a:lnTo>
                        <a:pt x="1717" y="183"/>
                      </a:lnTo>
                      <a:lnTo>
                        <a:pt x="1802" y="180"/>
                      </a:lnTo>
                      <a:lnTo>
                        <a:pt x="1818" y="192"/>
                      </a:lnTo>
                      <a:lnTo>
                        <a:pt x="1812" y="207"/>
                      </a:lnTo>
                      <a:lnTo>
                        <a:pt x="1837" y="218"/>
                      </a:lnTo>
                      <a:lnTo>
                        <a:pt x="1850" y="209"/>
                      </a:lnTo>
                      <a:lnTo>
                        <a:pt x="1910" y="216"/>
                      </a:lnTo>
                      <a:lnTo>
                        <a:pt x="1923" y="207"/>
                      </a:lnTo>
                      <a:lnTo>
                        <a:pt x="1930" y="221"/>
                      </a:lnTo>
                      <a:lnTo>
                        <a:pt x="1955" y="232"/>
                      </a:lnTo>
                      <a:lnTo>
                        <a:pt x="1967" y="224"/>
                      </a:lnTo>
                      <a:lnTo>
                        <a:pt x="1955" y="212"/>
                      </a:lnTo>
                      <a:lnTo>
                        <a:pt x="1962" y="202"/>
                      </a:lnTo>
                      <a:lnTo>
                        <a:pt x="2068" y="217"/>
                      </a:lnTo>
                      <a:lnTo>
                        <a:pt x="2138" y="257"/>
                      </a:lnTo>
                      <a:lnTo>
                        <a:pt x="2153" y="257"/>
                      </a:lnTo>
                      <a:lnTo>
                        <a:pt x="2171" y="289"/>
                      </a:lnTo>
                      <a:lnTo>
                        <a:pt x="2164" y="271"/>
                      </a:lnTo>
                      <a:lnTo>
                        <a:pt x="2175" y="270"/>
                      </a:lnTo>
                      <a:lnTo>
                        <a:pt x="2182" y="276"/>
                      </a:lnTo>
                      <a:lnTo>
                        <a:pt x="2202" y="274"/>
                      </a:lnTo>
                      <a:lnTo>
                        <a:pt x="2231" y="293"/>
                      </a:lnTo>
                      <a:lnTo>
                        <a:pt x="2190" y="313"/>
                      </a:lnTo>
                      <a:lnTo>
                        <a:pt x="2198" y="319"/>
                      </a:lnTo>
                      <a:lnTo>
                        <a:pt x="2184" y="322"/>
                      </a:lnTo>
                      <a:lnTo>
                        <a:pt x="2196" y="330"/>
                      </a:lnTo>
                      <a:lnTo>
                        <a:pt x="2171" y="330"/>
                      </a:lnTo>
                      <a:lnTo>
                        <a:pt x="2163" y="319"/>
                      </a:lnTo>
                      <a:lnTo>
                        <a:pt x="2153" y="323"/>
                      </a:lnTo>
                      <a:lnTo>
                        <a:pt x="2138" y="304"/>
                      </a:lnTo>
                      <a:lnTo>
                        <a:pt x="2110" y="305"/>
                      </a:lnTo>
                      <a:lnTo>
                        <a:pt x="2103" y="294"/>
                      </a:lnTo>
                      <a:lnTo>
                        <a:pt x="2110" y="289"/>
                      </a:lnTo>
                      <a:lnTo>
                        <a:pt x="2099" y="289"/>
                      </a:lnTo>
                      <a:lnTo>
                        <a:pt x="2090" y="293"/>
                      </a:lnTo>
                      <a:lnTo>
                        <a:pt x="2100" y="306"/>
                      </a:lnTo>
                      <a:lnTo>
                        <a:pt x="2094" y="313"/>
                      </a:lnTo>
                      <a:lnTo>
                        <a:pt x="2071" y="326"/>
                      </a:lnTo>
                      <a:lnTo>
                        <a:pt x="2055" y="324"/>
                      </a:lnTo>
                      <a:lnTo>
                        <a:pt x="2081" y="360"/>
                      </a:lnTo>
                      <a:lnTo>
                        <a:pt x="2077" y="374"/>
                      </a:lnTo>
                      <a:lnTo>
                        <a:pt x="2050" y="364"/>
                      </a:lnTo>
                      <a:lnTo>
                        <a:pt x="2051" y="370"/>
                      </a:lnTo>
                      <a:lnTo>
                        <a:pt x="2002" y="388"/>
                      </a:lnTo>
                      <a:lnTo>
                        <a:pt x="1958" y="425"/>
                      </a:lnTo>
                      <a:lnTo>
                        <a:pt x="1928" y="411"/>
                      </a:lnTo>
                      <a:lnTo>
                        <a:pt x="1900" y="426"/>
                      </a:lnTo>
                      <a:lnTo>
                        <a:pt x="1900" y="412"/>
                      </a:lnTo>
                      <a:lnTo>
                        <a:pt x="1885" y="427"/>
                      </a:lnTo>
                      <a:lnTo>
                        <a:pt x="1865" y="425"/>
                      </a:lnTo>
                      <a:lnTo>
                        <a:pt x="1845" y="461"/>
                      </a:lnTo>
                      <a:lnTo>
                        <a:pt x="1861" y="469"/>
                      </a:lnTo>
                      <a:lnTo>
                        <a:pt x="1854" y="480"/>
                      </a:lnTo>
                      <a:lnTo>
                        <a:pt x="1862" y="499"/>
                      </a:lnTo>
                      <a:lnTo>
                        <a:pt x="1848" y="496"/>
                      </a:lnTo>
                      <a:lnTo>
                        <a:pt x="1840" y="512"/>
                      </a:lnTo>
                      <a:lnTo>
                        <a:pt x="1845" y="526"/>
                      </a:lnTo>
                      <a:lnTo>
                        <a:pt x="1815" y="539"/>
                      </a:lnTo>
                      <a:lnTo>
                        <a:pt x="1818" y="555"/>
                      </a:lnTo>
                      <a:lnTo>
                        <a:pt x="1798" y="559"/>
                      </a:lnTo>
                      <a:lnTo>
                        <a:pt x="1792" y="577"/>
                      </a:lnTo>
                      <a:lnTo>
                        <a:pt x="1774" y="596"/>
                      </a:lnTo>
                      <a:lnTo>
                        <a:pt x="1759" y="526"/>
                      </a:lnTo>
                      <a:lnTo>
                        <a:pt x="1761" y="489"/>
                      </a:lnTo>
                      <a:lnTo>
                        <a:pt x="1774" y="466"/>
                      </a:lnTo>
                      <a:lnTo>
                        <a:pt x="1795" y="462"/>
                      </a:lnTo>
                      <a:lnTo>
                        <a:pt x="1843" y="415"/>
                      </a:lnTo>
                      <a:lnTo>
                        <a:pt x="1867" y="405"/>
                      </a:lnTo>
                      <a:lnTo>
                        <a:pt x="1874" y="378"/>
                      </a:lnTo>
                      <a:lnTo>
                        <a:pt x="1885" y="370"/>
                      </a:lnTo>
                      <a:lnTo>
                        <a:pt x="1866" y="370"/>
                      </a:lnTo>
                      <a:lnTo>
                        <a:pt x="1860" y="392"/>
                      </a:lnTo>
                      <a:lnTo>
                        <a:pt x="1819" y="411"/>
                      </a:lnTo>
                      <a:lnTo>
                        <a:pt x="1823" y="383"/>
                      </a:lnTo>
                      <a:lnTo>
                        <a:pt x="1779" y="389"/>
                      </a:lnTo>
                      <a:lnTo>
                        <a:pt x="1738" y="426"/>
                      </a:lnTo>
                      <a:lnTo>
                        <a:pt x="1746" y="441"/>
                      </a:lnTo>
                      <a:lnTo>
                        <a:pt x="1702" y="446"/>
                      </a:lnTo>
                      <a:lnTo>
                        <a:pt x="1696" y="442"/>
                      </a:lnTo>
                      <a:lnTo>
                        <a:pt x="1711" y="439"/>
                      </a:lnTo>
                      <a:lnTo>
                        <a:pt x="1674" y="430"/>
                      </a:lnTo>
                      <a:lnTo>
                        <a:pt x="1664" y="439"/>
                      </a:lnTo>
                      <a:lnTo>
                        <a:pt x="1580" y="440"/>
                      </a:lnTo>
                      <a:lnTo>
                        <a:pt x="1480" y="525"/>
                      </a:lnTo>
                      <a:lnTo>
                        <a:pt x="1500" y="529"/>
                      </a:lnTo>
                      <a:lnTo>
                        <a:pt x="1500" y="544"/>
                      </a:lnTo>
                      <a:lnTo>
                        <a:pt x="1512" y="534"/>
                      </a:lnTo>
                      <a:lnTo>
                        <a:pt x="1509" y="547"/>
                      </a:lnTo>
                      <a:lnTo>
                        <a:pt x="1524" y="540"/>
                      </a:lnTo>
                      <a:lnTo>
                        <a:pt x="1522" y="548"/>
                      </a:lnTo>
                      <a:lnTo>
                        <a:pt x="1527" y="534"/>
                      </a:lnTo>
                      <a:lnTo>
                        <a:pt x="1541" y="535"/>
                      </a:lnTo>
                      <a:lnTo>
                        <a:pt x="1563" y="553"/>
                      </a:lnTo>
                      <a:lnTo>
                        <a:pt x="1544" y="554"/>
                      </a:lnTo>
                      <a:lnTo>
                        <a:pt x="1561" y="560"/>
                      </a:lnTo>
                      <a:lnTo>
                        <a:pt x="1564" y="572"/>
                      </a:lnTo>
                      <a:lnTo>
                        <a:pt x="1551" y="599"/>
                      </a:lnTo>
                      <a:lnTo>
                        <a:pt x="1548" y="640"/>
                      </a:lnTo>
                      <a:lnTo>
                        <a:pt x="1478" y="725"/>
                      </a:lnTo>
                      <a:lnTo>
                        <a:pt x="1453" y="736"/>
                      </a:lnTo>
                      <a:lnTo>
                        <a:pt x="1434" y="725"/>
                      </a:lnTo>
                      <a:lnTo>
                        <a:pt x="1417" y="741"/>
                      </a:lnTo>
                      <a:lnTo>
                        <a:pt x="1416" y="738"/>
                      </a:lnTo>
                      <a:lnTo>
                        <a:pt x="1425" y="725"/>
                      </a:lnTo>
                      <a:lnTo>
                        <a:pt x="1421" y="703"/>
                      </a:lnTo>
                      <a:lnTo>
                        <a:pt x="1451" y="695"/>
                      </a:lnTo>
                      <a:lnTo>
                        <a:pt x="1474" y="638"/>
                      </a:lnTo>
                      <a:lnTo>
                        <a:pt x="1423" y="652"/>
                      </a:lnTo>
                      <a:lnTo>
                        <a:pt x="1416" y="630"/>
                      </a:lnTo>
                      <a:lnTo>
                        <a:pt x="1374" y="617"/>
                      </a:lnTo>
                      <a:lnTo>
                        <a:pt x="1349" y="559"/>
                      </a:lnTo>
                      <a:lnTo>
                        <a:pt x="1321" y="548"/>
                      </a:lnTo>
                      <a:lnTo>
                        <a:pt x="1272" y="564"/>
                      </a:lnTo>
                      <a:lnTo>
                        <a:pt x="1282" y="576"/>
                      </a:lnTo>
                      <a:lnTo>
                        <a:pt x="1261" y="611"/>
                      </a:lnTo>
                      <a:lnTo>
                        <a:pt x="1242" y="620"/>
                      </a:lnTo>
                      <a:lnTo>
                        <a:pt x="1221" y="612"/>
                      </a:lnTo>
                      <a:lnTo>
                        <a:pt x="1196" y="608"/>
                      </a:lnTo>
                      <a:lnTo>
                        <a:pt x="1131" y="624"/>
                      </a:lnTo>
                      <a:lnTo>
                        <a:pt x="1075" y="601"/>
                      </a:lnTo>
                      <a:lnTo>
                        <a:pt x="1038" y="604"/>
                      </a:lnTo>
                      <a:lnTo>
                        <a:pt x="1025" y="585"/>
                      </a:lnTo>
                      <a:lnTo>
                        <a:pt x="989" y="572"/>
                      </a:lnTo>
                      <a:lnTo>
                        <a:pt x="970" y="586"/>
                      </a:lnTo>
                      <a:lnTo>
                        <a:pt x="969" y="612"/>
                      </a:lnTo>
                      <a:lnTo>
                        <a:pt x="887" y="600"/>
                      </a:lnTo>
                      <a:lnTo>
                        <a:pt x="843" y="624"/>
                      </a:lnTo>
                      <a:lnTo>
                        <a:pt x="820" y="634"/>
                      </a:lnTo>
                      <a:lnTo>
                        <a:pt x="791" y="615"/>
                      </a:lnTo>
                      <a:lnTo>
                        <a:pt x="772" y="625"/>
                      </a:lnTo>
                      <a:lnTo>
                        <a:pt x="738" y="612"/>
                      </a:lnTo>
                      <a:lnTo>
                        <a:pt x="725" y="611"/>
                      </a:lnTo>
                      <a:lnTo>
                        <a:pt x="715" y="591"/>
                      </a:lnTo>
                      <a:lnTo>
                        <a:pt x="696" y="591"/>
                      </a:lnTo>
                      <a:lnTo>
                        <a:pt x="688" y="594"/>
                      </a:lnTo>
                      <a:lnTo>
                        <a:pt x="674" y="579"/>
                      </a:lnTo>
                      <a:lnTo>
                        <a:pt x="664" y="583"/>
                      </a:lnTo>
                      <a:lnTo>
                        <a:pt x="654" y="588"/>
                      </a:lnTo>
                      <a:lnTo>
                        <a:pt x="616" y="556"/>
                      </a:lnTo>
                      <a:lnTo>
                        <a:pt x="605" y="553"/>
                      </a:lnTo>
                      <a:lnTo>
                        <a:pt x="579" y="529"/>
                      </a:lnTo>
                      <a:lnTo>
                        <a:pt x="555" y="544"/>
                      </a:lnTo>
                      <a:lnTo>
                        <a:pt x="550" y="534"/>
                      </a:lnTo>
                      <a:lnTo>
                        <a:pt x="514" y="532"/>
                      </a:lnTo>
                      <a:lnTo>
                        <a:pt x="501" y="515"/>
                      </a:lnTo>
                      <a:lnTo>
                        <a:pt x="482" y="516"/>
                      </a:lnTo>
                      <a:lnTo>
                        <a:pt x="475" y="524"/>
                      </a:lnTo>
                      <a:lnTo>
                        <a:pt x="451" y="528"/>
                      </a:lnTo>
                      <a:lnTo>
                        <a:pt x="444" y="524"/>
                      </a:lnTo>
                      <a:lnTo>
                        <a:pt x="435" y="537"/>
                      </a:lnTo>
                      <a:lnTo>
                        <a:pt x="428" y="534"/>
                      </a:lnTo>
                      <a:lnTo>
                        <a:pt x="399" y="538"/>
                      </a:lnTo>
                      <a:lnTo>
                        <a:pt x="389" y="534"/>
                      </a:lnTo>
                      <a:lnTo>
                        <a:pt x="386" y="538"/>
                      </a:lnTo>
                      <a:lnTo>
                        <a:pt x="401" y="553"/>
                      </a:lnTo>
                      <a:lnTo>
                        <a:pt x="391" y="562"/>
                      </a:lnTo>
                      <a:lnTo>
                        <a:pt x="392" y="575"/>
                      </a:lnTo>
                      <a:lnTo>
                        <a:pt x="408" y="576"/>
                      </a:lnTo>
                      <a:lnTo>
                        <a:pt x="415" y="588"/>
                      </a:lnTo>
                      <a:lnTo>
                        <a:pt x="411" y="597"/>
                      </a:lnTo>
                      <a:lnTo>
                        <a:pt x="399" y="591"/>
                      </a:lnTo>
                      <a:lnTo>
                        <a:pt x="389" y="596"/>
                      </a:lnTo>
                      <a:lnTo>
                        <a:pt x="380" y="591"/>
                      </a:lnTo>
                      <a:lnTo>
                        <a:pt x="376" y="583"/>
                      </a:lnTo>
                      <a:lnTo>
                        <a:pt x="365" y="588"/>
                      </a:lnTo>
                      <a:lnTo>
                        <a:pt x="356" y="583"/>
                      </a:lnTo>
                      <a:lnTo>
                        <a:pt x="347" y="591"/>
                      </a:lnTo>
                      <a:lnTo>
                        <a:pt x="335" y="592"/>
                      </a:lnTo>
                      <a:lnTo>
                        <a:pt x="327" y="583"/>
                      </a:lnTo>
                      <a:lnTo>
                        <a:pt x="283" y="580"/>
                      </a:lnTo>
                      <a:lnTo>
                        <a:pt x="278" y="585"/>
                      </a:lnTo>
                      <a:lnTo>
                        <a:pt x="274" y="585"/>
                      </a:lnTo>
                      <a:lnTo>
                        <a:pt x="267" y="595"/>
                      </a:lnTo>
                      <a:lnTo>
                        <a:pt x="268" y="605"/>
                      </a:lnTo>
                      <a:lnTo>
                        <a:pt x="263" y="605"/>
                      </a:lnTo>
                      <a:lnTo>
                        <a:pt x="259" y="597"/>
                      </a:lnTo>
                      <a:lnTo>
                        <a:pt x="253" y="598"/>
                      </a:lnTo>
                      <a:lnTo>
                        <a:pt x="251" y="627"/>
                      </a:lnTo>
                      <a:lnTo>
                        <a:pt x="258" y="636"/>
                      </a:lnTo>
                      <a:lnTo>
                        <a:pt x="258" y="644"/>
                      </a:lnTo>
                      <a:lnTo>
                        <a:pt x="265" y="643"/>
                      </a:lnTo>
                      <a:lnTo>
                        <a:pt x="274" y="639"/>
                      </a:lnTo>
                      <a:lnTo>
                        <a:pt x="282" y="652"/>
                      </a:lnTo>
                      <a:lnTo>
                        <a:pt x="288" y="660"/>
                      </a:lnTo>
                      <a:lnTo>
                        <a:pt x="294" y="671"/>
                      </a:lnTo>
                      <a:lnTo>
                        <a:pt x="304" y="673"/>
                      </a:lnTo>
                      <a:lnTo>
                        <a:pt x="291" y="682"/>
                      </a:lnTo>
                      <a:lnTo>
                        <a:pt x="282" y="674"/>
                      </a:lnTo>
                      <a:lnTo>
                        <a:pt x="273" y="707"/>
                      </a:lnTo>
                      <a:lnTo>
                        <a:pt x="284" y="715"/>
                      </a:lnTo>
                      <a:lnTo>
                        <a:pt x="294" y="747"/>
                      </a:lnTo>
                      <a:lnTo>
                        <a:pt x="285" y="741"/>
                      </a:lnTo>
                      <a:lnTo>
                        <a:pt x="276" y="738"/>
                      </a:lnTo>
                      <a:lnTo>
                        <a:pt x="265" y="736"/>
                      </a:lnTo>
                      <a:lnTo>
                        <a:pt x="258" y="733"/>
                      </a:lnTo>
                      <a:lnTo>
                        <a:pt x="250" y="731"/>
                      </a:lnTo>
                      <a:lnTo>
                        <a:pt x="244" y="720"/>
                      </a:lnTo>
                      <a:lnTo>
                        <a:pt x="230" y="727"/>
                      </a:lnTo>
                      <a:lnTo>
                        <a:pt x="217" y="726"/>
                      </a:lnTo>
                      <a:lnTo>
                        <a:pt x="209" y="717"/>
                      </a:lnTo>
                      <a:lnTo>
                        <a:pt x="187" y="708"/>
                      </a:lnTo>
                      <a:lnTo>
                        <a:pt x="165" y="709"/>
                      </a:lnTo>
                      <a:lnTo>
                        <a:pt x="142" y="694"/>
                      </a:lnTo>
                      <a:lnTo>
                        <a:pt x="160" y="679"/>
                      </a:lnTo>
                      <a:lnTo>
                        <a:pt x="162" y="667"/>
                      </a:lnTo>
                      <a:lnTo>
                        <a:pt x="162" y="654"/>
                      </a:lnTo>
                      <a:lnTo>
                        <a:pt x="163" y="645"/>
                      </a:lnTo>
                      <a:lnTo>
                        <a:pt x="175" y="641"/>
                      </a:lnTo>
                      <a:lnTo>
                        <a:pt x="169" y="622"/>
                      </a:lnTo>
                      <a:lnTo>
                        <a:pt x="155" y="617"/>
                      </a:lnTo>
                      <a:lnTo>
                        <a:pt x="148" y="614"/>
                      </a:lnTo>
                      <a:lnTo>
                        <a:pt x="139" y="617"/>
                      </a:lnTo>
                      <a:lnTo>
                        <a:pt x="118" y="612"/>
                      </a:lnTo>
                      <a:lnTo>
                        <a:pt x="102" y="593"/>
                      </a:lnTo>
                      <a:lnTo>
                        <a:pt x="89" y="587"/>
                      </a:lnTo>
                      <a:lnTo>
                        <a:pt x="83" y="570"/>
                      </a:lnTo>
                      <a:lnTo>
                        <a:pt x="71" y="568"/>
                      </a:lnTo>
                      <a:lnTo>
                        <a:pt x="60" y="574"/>
                      </a:lnTo>
                      <a:lnTo>
                        <a:pt x="53" y="577"/>
                      </a:lnTo>
                      <a:lnTo>
                        <a:pt x="50" y="569"/>
                      </a:lnTo>
                      <a:lnTo>
                        <a:pt x="44" y="562"/>
                      </a:lnTo>
                      <a:lnTo>
                        <a:pt x="60" y="560"/>
                      </a:lnTo>
                      <a:lnTo>
                        <a:pt x="59" y="555"/>
                      </a:lnTo>
                      <a:lnTo>
                        <a:pt x="55" y="552"/>
                      </a:lnTo>
                      <a:lnTo>
                        <a:pt x="50" y="548"/>
                      </a:lnTo>
                      <a:lnTo>
                        <a:pt x="41" y="528"/>
                      </a:lnTo>
                      <a:lnTo>
                        <a:pt x="29" y="517"/>
                      </a:lnTo>
                      <a:lnTo>
                        <a:pt x="17" y="517"/>
                      </a:lnTo>
                      <a:lnTo>
                        <a:pt x="4" y="517"/>
                      </a:lnTo>
                      <a:lnTo>
                        <a:pt x="0" y="502"/>
                      </a:lnTo>
                      <a:lnTo>
                        <a:pt x="8" y="492"/>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0" name="Russia">
                  <a:extLst>
                    <a:ext uri="{FF2B5EF4-FFF2-40B4-BE49-F238E27FC236}">
                      <a16:creationId xmlns:a16="http://schemas.microsoft.com/office/drawing/2014/main" id="{91D53D86-8D11-F729-E42C-B11DEB80E8B0}"/>
                    </a:ext>
                  </a:extLst>
                </p:cNvPr>
                <p:cNvSpPr>
                  <a:spLocks noGrp="1" noRot="1" noChangeAspect="1" noMove="1" noResize="1" noEditPoints="1" noAdjustHandles="1" noChangeArrowheads="1" noChangeShapeType="1"/>
                </p:cNvSpPr>
                <p:nvPr/>
              </p:nvSpPr>
              <p:spPr bwMode="gray">
                <a:xfrm>
                  <a:off x="7022435" y="1311280"/>
                  <a:ext cx="767763" cy="417746"/>
                </a:xfrm>
                <a:custGeom>
                  <a:avLst/>
                  <a:gdLst>
                    <a:gd name="T0" fmla="*/ 0 w 211"/>
                    <a:gd name="T1" fmla="*/ 88 h 103"/>
                    <a:gd name="T2" fmla="*/ 0 w 211"/>
                    <a:gd name="T3" fmla="*/ 88 h 103"/>
                    <a:gd name="T4" fmla="*/ 20 w 211"/>
                    <a:gd name="T5" fmla="*/ 90 h 103"/>
                    <a:gd name="T6" fmla="*/ 7 w 211"/>
                    <a:gd name="T7" fmla="*/ 99 h 103"/>
                    <a:gd name="T8" fmla="*/ 42 w 211"/>
                    <a:gd name="T9" fmla="*/ 102 h 103"/>
                    <a:gd name="T10" fmla="*/ 43 w 211"/>
                    <a:gd name="T11" fmla="*/ 90 h 103"/>
                    <a:gd name="T12" fmla="*/ 53 w 211"/>
                    <a:gd name="T13" fmla="*/ 93 h 103"/>
                    <a:gd name="T14" fmla="*/ 43 w 211"/>
                    <a:gd name="T15" fmla="*/ 86 h 103"/>
                    <a:gd name="T16" fmla="*/ 57 w 211"/>
                    <a:gd name="T17" fmla="*/ 88 h 103"/>
                    <a:gd name="T18" fmla="*/ 53 w 211"/>
                    <a:gd name="T19" fmla="*/ 75 h 103"/>
                    <a:gd name="T20" fmla="*/ 61 w 211"/>
                    <a:gd name="T21" fmla="*/ 83 h 103"/>
                    <a:gd name="T22" fmla="*/ 70 w 211"/>
                    <a:gd name="T23" fmla="*/ 76 h 103"/>
                    <a:gd name="T24" fmla="*/ 64 w 211"/>
                    <a:gd name="T25" fmla="*/ 67 h 103"/>
                    <a:gd name="T26" fmla="*/ 85 w 211"/>
                    <a:gd name="T27" fmla="*/ 68 h 103"/>
                    <a:gd name="T28" fmla="*/ 80 w 211"/>
                    <a:gd name="T29" fmla="*/ 63 h 103"/>
                    <a:gd name="T30" fmla="*/ 89 w 211"/>
                    <a:gd name="T31" fmla="*/ 65 h 103"/>
                    <a:gd name="T32" fmla="*/ 95 w 211"/>
                    <a:gd name="T33" fmla="*/ 54 h 103"/>
                    <a:gd name="T34" fmla="*/ 199 w 211"/>
                    <a:gd name="T35" fmla="*/ 22 h 103"/>
                    <a:gd name="T36" fmla="*/ 210 w 211"/>
                    <a:gd name="T37" fmla="*/ 9 h 103"/>
                    <a:gd name="T38" fmla="*/ 190 w 211"/>
                    <a:gd name="T39" fmla="*/ 0 h 103"/>
                    <a:gd name="T40" fmla="*/ 146 w 211"/>
                    <a:gd name="T41" fmla="*/ 21 h 103"/>
                    <a:gd name="T42" fmla="*/ 100 w 211"/>
                    <a:gd name="T43" fmla="*/ 21 h 103"/>
                    <a:gd name="T44" fmla="*/ 52 w 211"/>
                    <a:gd name="T45" fmla="*/ 48 h 103"/>
                    <a:gd name="T46" fmla="*/ 26 w 211"/>
                    <a:gd name="T47" fmla="*/ 52 h 103"/>
                    <a:gd name="T48" fmla="*/ 27 w 211"/>
                    <a:gd name="T49" fmla="*/ 63 h 103"/>
                    <a:gd name="T50" fmla="*/ 41 w 211"/>
                    <a:gd name="T51" fmla="*/ 65 h 103"/>
                    <a:gd name="T52" fmla="*/ 25 w 211"/>
                    <a:gd name="T53" fmla="*/ 65 h 103"/>
                    <a:gd name="T54" fmla="*/ 32 w 211"/>
                    <a:gd name="T55" fmla="*/ 70 h 103"/>
                    <a:gd name="T56" fmla="*/ 20 w 211"/>
                    <a:gd name="T57" fmla="*/ 76 h 103"/>
                    <a:gd name="T58" fmla="*/ 34 w 211"/>
                    <a:gd name="T59" fmla="*/ 81 h 103"/>
                    <a:gd name="T60" fmla="*/ 0 w 211"/>
                    <a:gd name="T61" fmla="*/ 88 h 103"/>
                    <a:gd name="T62" fmla="*/ 0 w 211"/>
                    <a:gd name="T63" fmla="*/ 88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1"/>
                    <a:gd name="T97" fmla="*/ 0 h 103"/>
                    <a:gd name="T98" fmla="*/ 211 w 211"/>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1" h="103">
                      <a:moveTo>
                        <a:pt x="0" y="88"/>
                      </a:moveTo>
                      <a:lnTo>
                        <a:pt x="0" y="88"/>
                      </a:lnTo>
                      <a:lnTo>
                        <a:pt x="20" y="90"/>
                      </a:lnTo>
                      <a:lnTo>
                        <a:pt x="7" y="99"/>
                      </a:lnTo>
                      <a:lnTo>
                        <a:pt x="42" y="102"/>
                      </a:lnTo>
                      <a:lnTo>
                        <a:pt x="43" y="90"/>
                      </a:lnTo>
                      <a:lnTo>
                        <a:pt x="53" y="93"/>
                      </a:lnTo>
                      <a:lnTo>
                        <a:pt x="43" y="86"/>
                      </a:lnTo>
                      <a:lnTo>
                        <a:pt x="57" y="88"/>
                      </a:lnTo>
                      <a:lnTo>
                        <a:pt x="53" y="75"/>
                      </a:lnTo>
                      <a:lnTo>
                        <a:pt x="61" y="83"/>
                      </a:lnTo>
                      <a:lnTo>
                        <a:pt x="70" y="76"/>
                      </a:lnTo>
                      <a:lnTo>
                        <a:pt x="64" y="67"/>
                      </a:lnTo>
                      <a:lnTo>
                        <a:pt x="85" y="68"/>
                      </a:lnTo>
                      <a:lnTo>
                        <a:pt x="80" y="63"/>
                      </a:lnTo>
                      <a:lnTo>
                        <a:pt x="89" y="65"/>
                      </a:lnTo>
                      <a:lnTo>
                        <a:pt x="95" y="54"/>
                      </a:lnTo>
                      <a:lnTo>
                        <a:pt x="199" y="22"/>
                      </a:lnTo>
                      <a:lnTo>
                        <a:pt x="210" y="9"/>
                      </a:lnTo>
                      <a:lnTo>
                        <a:pt x="190" y="0"/>
                      </a:lnTo>
                      <a:lnTo>
                        <a:pt x="146" y="21"/>
                      </a:lnTo>
                      <a:lnTo>
                        <a:pt x="100" y="21"/>
                      </a:lnTo>
                      <a:lnTo>
                        <a:pt x="52" y="48"/>
                      </a:lnTo>
                      <a:lnTo>
                        <a:pt x="26" y="52"/>
                      </a:lnTo>
                      <a:lnTo>
                        <a:pt x="27" y="63"/>
                      </a:lnTo>
                      <a:lnTo>
                        <a:pt x="41" y="65"/>
                      </a:lnTo>
                      <a:lnTo>
                        <a:pt x="25" y="65"/>
                      </a:lnTo>
                      <a:lnTo>
                        <a:pt x="32" y="70"/>
                      </a:lnTo>
                      <a:lnTo>
                        <a:pt x="20" y="76"/>
                      </a:lnTo>
                      <a:lnTo>
                        <a:pt x="34" y="81"/>
                      </a:lnTo>
                      <a:lnTo>
                        <a:pt x="0" y="88"/>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1" name="Russia">
                  <a:extLst>
                    <a:ext uri="{FF2B5EF4-FFF2-40B4-BE49-F238E27FC236}">
                      <a16:creationId xmlns:a16="http://schemas.microsoft.com/office/drawing/2014/main" id="{5F6000A3-FC44-BA10-7C4A-8F2C09693F92}"/>
                    </a:ext>
                  </a:extLst>
                </p:cNvPr>
                <p:cNvSpPr>
                  <a:spLocks noGrp="1" noRot="1" noChangeAspect="1" noMove="1" noResize="1" noEditPoints="1" noAdjustHandles="1" noChangeArrowheads="1" noChangeShapeType="1"/>
                </p:cNvSpPr>
                <p:nvPr/>
              </p:nvSpPr>
              <p:spPr bwMode="gray">
                <a:xfrm>
                  <a:off x="7465522" y="769914"/>
                  <a:ext cx="148970" cy="89518"/>
                </a:xfrm>
                <a:custGeom>
                  <a:avLst/>
                  <a:gdLst>
                    <a:gd name="T0" fmla="*/ 0 w 41"/>
                    <a:gd name="T1" fmla="*/ 14 h 21"/>
                    <a:gd name="T2" fmla="*/ 0 w 41"/>
                    <a:gd name="T3" fmla="*/ 14 h 21"/>
                    <a:gd name="T4" fmla="*/ 12 w 41"/>
                    <a:gd name="T5" fmla="*/ 20 h 21"/>
                    <a:gd name="T6" fmla="*/ 40 w 41"/>
                    <a:gd name="T7" fmla="*/ 13 h 21"/>
                    <a:gd name="T8" fmla="*/ 23 w 41"/>
                    <a:gd name="T9" fmla="*/ 0 h 21"/>
                    <a:gd name="T10" fmla="*/ 0 w 41"/>
                    <a:gd name="T11" fmla="*/ 14 h 21"/>
                    <a:gd name="T12" fmla="*/ 0 w 41"/>
                    <a:gd name="T13" fmla="*/ 14 h 21"/>
                    <a:gd name="T14" fmla="*/ 0 60000 65536"/>
                    <a:gd name="T15" fmla="*/ 0 60000 65536"/>
                    <a:gd name="T16" fmla="*/ 0 60000 65536"/>
                    <a:gd name="T17" fmla="*/ 0 60000 65536"/>
                    <a:gd name="T18" fmla="*/ 0 60000 65536"/>
                    <a:gd name="T19" fmla="*/ 0 60000 65536"/>
                    <a:gd name="T20" fmla="*/ 0 60000 65536"/>
                    <a:gd name="T21" fmla="*/ 0 w 41"/>
                    <a:gd name="T22" fmla="*/ 0 h 21"/>
                    <a:gd name="T23" fmla="*/ 41 w 4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1">
                      <a:moveTo>
                        <a:pt x="0" y="14"/>
                      </a:moveTo>
                      <a:lnTo>
                        <a:pt x="0" y="14"/>
                      </a:lnTo>
                      <a:lnTo>
                        <a:pt x="12" y="20"/>
                      </a:lnTo>
                      <a:lnTo>
                        <a:pt x="40" y="13"/>
                      </a:lnTo>
                      <a:lnTo>
                        <a:pt x="23" y="0"/>
                      </a:lnTo>
                      <a:lnTo>
                        <a:pt x="0" y="14"/>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2" name="Russia">
                  <a:extLst>
                    <a:ext uri="{FF2B5EF4-FFF2-40B4-BE49-F238E27FC236}">
                      <a16:creationId xmlns:a16="http://schemas.microsoft.com/office/drawing/2014/main" id="{915B7C18-FDC0-D8C0-F751-6362002A49A7}"/>
                    </a:ext>
                  </a:extLst>
                </p:cNvPr>
                <p:cNvSpPr>
                  <a:spLocks noGrp="1" noRot="1" noMove="1" noResize="1" noEditPoints="1" noAdjustHandles="1" noChangeArrowheads="1" noChangeShapeType="1"/>
                </p:cNvSpPr>
                <p:nvPr/>
              </p:nvSpPr>
              <p:spPr bwMode="gray">
                <a:xfrm>
                  <a:off x="6679472" y="836770"/>
                  <a:ext cx="253069" cy="119762"/>
                </a:xfrm>
                <a:custGeom>
                  <a:avLst/>
                  <a:gdLst/>
                  <a:ahLst/>
                  <a:cxnLst>
                    <a:cxn ang="0">
                      <a:pos x="0" y="18"/>
                    </a:cxn>
                    <a:cxn ang="0">
                      <a:pos x="0" y="18"/>
                    </a:cxn>
                    <a:cxn ang="0">
                      <a:pos x="15" y="12"/>
                    </a:cxn>
                    <a:cxn ang="0">
                      <a:pos x="4" y="7"/>
                    </a:cxn>
                    <a:cxn ang="0">
                      <a:pos x="53" y="0"/>
                    </a:cxn>
                    <a:cxn ang="0">
                      <a:pos x="61" y="0"/>
                    </a:cxn>
                    <a:cxn ang="0">
                      <a:pos x="52" y="7"/>
                    </a:cxn>
                    <a:cxn ang="0">
                      <a:pos x="69" y="6"/>
                    </a:cxn>
                    <a:cxn ang="0">
                      <a:pos x="25" y="21"/>
                    </a:cxn>
                    <a:cxn ang="0">
                      <a:pos x="15" y="26"/>
                    </a:cxn>
                    <a:cxn ang="0">
                      <a:pos x="17" y="19"/>
                    </a:cxn>
                    <a:cxn ang="0">
                      <a:pos x="0" y="18"/>
                    </a:cxn>
                    <a:cxn ang="0">
                      <a:pos x="0" y="18"/>
                    </a:cxn>
                  </a:cxnLst>
                  <a:rect l="0" t="0" r="r" b="b"/>
                  <a:pathLst>
                    <a:path w="70" h="27">
                      <a:moveTo>
                        <a:pt x="0" y="18"/>
                      </a:moveTo>
                      <a:lnTo>
                        <a:pt x="0" y="18"/>
                      </a:lnTo>
                      <a:lnTo>
                        <a:pt x="15" y="12"/>
                      </a:lnTo>
                      <a:lnTo>
                        <a:pt x="4" y="7"/>
                      </a:lnTo>
                      <a:lnTo>
                        <a:pt x="53" y="0"/>
                      </a:lnTo>
                      <a:lnTo>
                        <a:pt x="61" y="0"/>
                      </a:lnTo>
                      <a:lnTo>
                        <a:pt x="52" y="7"/>
                      </a:lnTo>
                      <a:lnTo>
                        <a:pt x="69" y="6"/>
                      </a:lnTo>
                      <a:lnTo>
                        <a:pt x="25" y="21"/>
                      </a:lnTo>
                      <a:lnTo>
                        <a:pt x="15" y="26"/>
                      </a:lnTo>
                      <a:lnTo>
                        <a:pt x="17" y="19"/>
                      </a:lnTo>
                      <a:lnTo>
                        <a:pt x="0" y="18"/>
                      </a:lnTo>
                      <a:lnTo>
                        <a:pt x="0" y="1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3" name="Russia">
                  <a:extLst>
                    <a:ext uri="{FF2B5EF4-FFF2-40B4-BE49-F238E27FC236}">
                      <a16:creationId xmlns:a16="http://schemas.microsoft.com/office/drawing/2014/main" id="{DC300E30-D2B2-0083-72F4-DB74DABD7C2C}"/>
                    </a:ext>
                  </a:extLst>
                </p:cNvPr>
                <p:cNvSpPr>
                  <a:spLocks noGrp="1" noRot="1" noMove="1" noResize="1" noEditPoints="1" noAdjustHandles="1" noChangeArrowheads="1" noChangeShapeType="1"/>
                </p:cNvSpPr>
                <p:nvPr/>
              </p:nvSpPr>
              <p:spPr bwMode="gray">
                <a:xfrm>
                  <a:off x="6756678" y="2092256"/>
                  <a:ext cx="102942" cy="66534"/>
                </a:xfrm>
                <a:custGeom>
                  <a:avLst/>
                  <a:gdLst/>
                  <a:ahLst/>
                  <a:cxnLst>
                    <a:cxn ang="0">
                      <a:pos x="0" y="13"/>
                    </a:cxn>
                    <a:cxn ang="0">
                      <a:pos x="0" y="13"/>
                    </a:cxn>
                    <a:cxn ang="0">
                      <a:pos x="8" y="0"/>
                    </a:cxn>
                    <a:cxn ang="0">
                      <a:pos x="27" y="7"/>
                    </a:cxn>
                    <a:cxn ang="0">
                      <a:pos x="0" y="13"/>
                    </a:cxn>
                    <a:cxn ang="0">
                      <a:pos x="0" y="13"/>
                    </a:cxn>
                  </a:cxnLst>
                  <a:rect l="0" t="0" r="r" b="b"/>
                  <a:pathLst>
                    <a:path w="28" h="14">
                      <a:moveTo>
                        <a:pt x="0" y="13"/>
                      </a:moveTo>
                      <a:lnTo>
                        <a:pt x="0" y="13"/>
                      </a:lnTo>
                      <a:lnTo>
                        <a:pt x="8" y="0"/>
                      </a:lnTo>
                      <a:lnTo>
                        <a:pt x="27" y="7"/>
                      </a:lnTo>
                      <a:lnTo>
                        <a:pt x="0" y="13"/>
                      </a:lnTo>
                      <a:lnTo>
                        <a:pt x="0" y="13"/>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4" name="Russia">
                  <a:extLst>
                    <a:ext uri="{FF2B5EF4-FFF2-40B4-BE49-F238E27FC236}">
                      <a16:creationId xmlns:a16="http://schemas.microsoft.com/office/drawing/2014/main" id="{8EC6C596-10EF-ECE1-FDDB-9575B5DF29AB}"/>
                    </a:ext>
                  </a:extLst>
                </p:cNvPr>
                <p:cNvSpPr>
                  <a:spLocks noGrp="1" noRot="1" noMove="1" noResize="1" noEditPoints="1" noAdjustHandles="1" noChangeArrowheads="1" noChangeShapeType="1"/>
                </p:cNvSpPr>
                <p:nvPr/>
              </p:nvSpPr>
              <p:spPr bwMode="gray">
                <a:xfrm>
                  <a:off x="6923959" y="1715226"/>
                  <a:ext cx="304539" cy="257266"/>
                </a:xfrm>
                <a:custGeom>
                  <a:avLst/>
                  <a:gdLst/>
                  <a:ahLst/>
                  <a:cxnLst>
                    <a:cxn ang="0">
                      <a:pos x="0" y="27"/>
                    </a:cxn>
                    <a:cxn ang="0">
                      <a:pos x="0" y="27"/>
                    </a:cxn>
                    <a:cxn ang="0">
                      <a:pos x="7" y="40"/>
                    </a:cxn>
                    <a:cxn ang="0">
                      <a:pos x="16" y="36"/>
                    </a:cxn>
                    <a:cxn ang="0">
                      <a:pos x="26" y="43"/>
                    </a:cxn>
                    <a:cxn ang="0">
                      <a:pos x="34" y="40"/>
                    </a:cxn>
                    <a:cxn ang="0">
                      <a:pos x="31" y="54"/>
                    </a:cxn>
                    <a:cxn ang="0">
                      <a:pos x="83" y="56"/>
                    </a:cxn>
                    <a:cxn ang="0">
                      <a:pos x="63" y="46"/>
                    </a:cxn>
                    <a:cxn ang="0">
                      <a:pos x="53" y="29"/>
                    </a:cxn>
                    <a:cxn ang="0">
                      <a:pos x="54" y="11"/>
                    </a:cxn>
                    <a:cxn ang="0">
                      <a:pos x="67" y="0"/>
                    </a:cxn>
                    <a:cxn ang="0">
                      <a:pos x="21" y="4"/>
                    </a:cxn>
                    <a:cxn ang="0">
                      <a:pos x="11" y="27"/>
                    </a:cxn>
                    <a:cxn ang="0">
                      <a:pos x="0" y="27"/>
                    </a:cxn>
                    <a:cxn ang="0">
                      <a:pos x="0" y="27"/>
                    </a:cxn>
                  </a:cxnLst>
                  <a:rect l="0" t="0" r="r" b="b"/>
                  <a:pathLst>
                    <a:path w="84" h="57">
                      <a:moveTo>
                        <a:pt x="0" y="27"/>
                      </a:moveTo>
                      <a:lnTo>
                        <a:pt x="0" y="27"/>
                      </a:lnTo>
                      <a:lnTo>
                        <a:pt x="7" y="40"/>
                      </a:lnTo>
                      <a:lnTo>
                        <a:pt x="16" y="36"/>
                      </a:lnTo>
                      <a:lnTo>
                        <a:pt x="26" y="43"/>
                      </a:lnTo>
                      <a:lnTo>
                        <a:pt x="34" y="40"/>
                      </a:lnTo>
                      <a:lnTo>
                        <a:pt x="31" y="54"/>
                      </a:lnTo>
                      <a:lnTo>
                        <a:pt x="83" y="56"/>
                      </a:lnTo>
                      <a:lnTo>
                        <a:pt x="63" y="46"/>
                      </a:lnTo>
                      <a:lnTo>
                        <a:pt x="53" y="29"/>
                      </a:lnTo>
                      <a:lnTo>
                        <a:pt x="54" y="11"/>
                      </a:lnTo>
                      <a:lnTo>
                        <a:pt x="67" y="0"/>
                      </a:lnTo>
                      <a:lnTo>
                        <a:pt x="21" y="4"/>
                      </a:lnTo>
                      <a:lnTo>
                        <a:pt x="11" y="27"/>
                      </a:lnTo>
                      <a:lnTo>
                        <a:pt x="0" y="27"/>
                      </a:lnTo>
                      <a:lnTo>
                        <a:pt x="0" y="27"/>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5" name="Russia">
                  <a:extLst>
                    <a:ext uri="{FF2B5EF4-FFF2-40B4-BE49-F238E27FC236}">
                      <a16:creationId xmlns:a16="http://schemas.microsoft.com/office/drawing/2014/main" id="{296C8FBB-D5DD-A7BB-05C3-D0EA5DF1A7EB}"/>
                    </a:ext>
                  </a:extLst>
                </p:cNvPr>
                <p:cNvSpPr>
                  <a:spLocks noGrp="1" noRot="1" noChangeAspect="1" noMove="1" noResize="1" noEditPoints="1" noAdjustHandles="1" noChangeArrowheads="1" noChangeShapeType="1"/>
                </p:cNvSpPr>
                <p:nvPr/>
              </p:nvSpPr>
              <p:spPr bwMode="gray">
                <a:xfrm>
                  <a:off x="13684412" y="2630168"/>
                  <a:ext cx="156203" cy="56458"/>
                </a:xfrm>
                <a:custGeom>
                  <a:avLst/>
                  <a:gdLst>
                    <a:gd name="T0" fmla="*/ 0 w 43"/>
                    <a:gd name="T1" fmla="*/ 4 h 14"/>
                    <a:gd name="T2" fmla="*/ 0 w 43"/>
                    <a:gd name="T3" fmla="*/ 4 h 14"/>
                    <a:gd name="T4" fmla="*/ 25 w 43"/>
                    <a:gd name="T5" fmla="*/ 0 h 14"/>
                    <a:gd name="T6" fmla="*/ 42 w 43"/>
                    <a:gd name="T7" fmla="*/ 6 h 14"/>
                    <a:gd name="T8" fmla="*/ 33 w 43"/>
                    <a:gd name="T9" fmla="*/ 13 h 14"/>
                    <a:gd name="T10" fmla="*/ 0 w 43"/>
                    <a:gd name="T11" fmla="*/ 4 h 14"/>
                    <a:gd name="T12" fmla="*/ 0 w 43"/>
                    <a:gd name="T13" fmla="*/ 4 h 14"/>
                    <a:gd name="T14" fmla="*/ 0 60000 65536"/>
                    <a:gd name="T15" fmla="*/ 0 60000 65536"/>
                    <a:gd name="T16" fmla="*/ 0 60000 65536"/>
                    <a:gd name="T17" fmla="*/ 0 60000 65536"/>
                    <a:gd name="T18" fmla="*/ 0 60000 65536"/>
                    <a:gd name="T19" fmla="*/ 0 60000 65536"/>
                    <a:gd name="T20" fmla="*/ 0 60000 65536"/>
                    <a:gd name="T21" fmla="*/ 0 w 43"/>
                    <a:gd name="T22" fmla="*/ 0 h 14"/>
                    <a:gd name="T23" fmla="*/ 43 w 43"/>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4">
                      <a:moveTo>
                        <a:pt x="0" y="4"/>
                      </a:moveTo>
                      <a:lnTo>
                        <a:pt x="0" y="4"/>
                      </a:lnTo>
                      <a:lnTo>
                        <a:pt x="25" y="0"/>
                      </a:lnTo>
                      <a:lnTo>
                        <a:pt x="42" y="6"/>
                      </a:lnTo>
                      <a:lnTo>
                        <a:pt x="33" y="13"/>
                      </a:lnTo>
                      <a:lnTo>
                        <a:pt x="0" y="4"/>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6" name="Russia">
                  <a:extLst>
                    <a:ext uri="{FF2B5EF4-FFF2-40B4-BE49-F238E27FC236}">
                      <a16:creationId xmlns:a16="http://schemas.microsoft.com/office/drawing/2014/main" id="{10514432-85D9-5903-8092-749D940FDA3E}"/>
                    </a:ext>
                  </a:extLst>
                </p:cNvPr>
                <p:cNvSpPr>
                  <a:spLocks noGrp="1" noRot="1" noMove="1" noResize="1" noEditPoints="1" noAdjustHandles="1" noChangeArrowheads="1" noChangeShapeType="1"/>
                </p:cNvSpPr>
                <p:nvPr/>
              </p:nvSpPr>
              <p:spPr bwMode="gray">
                <a:xfrm>
                  <a:off x="5331620" y="3305174"/>
                  <a:ext cx="185800" cy="87784"/>
                </a:xfrm>
                <a:custGeom>
                  <a:avLst/>
                  <a:gdLst>
                    <a:gd name="connsiteX0" fmla="*/ 154781 w 154781"/>
                    <a:gd name="connsiteY0" fmla="*/ 88106 h 92916"/>
                    <a:gd name="connsiteX1" fmla="*/ 154781 w 154781"/>
                    <a:gd name="connsiteY1" fmla="*/ 88106 h 92916"/>
                    <a:gd name="connsiteX2" fmla="*/ 76200 w 154781"/>
                    <a:gd name="connsiteY2" fmla="*/ 4762 h 92916"/>
                    <a:gd name="connsiteX3" fmla="*/ 69056 w 154781"/>
                    <a:gd name="connsiteY3" fmla="*/ 0 h 92916"/>
                    <a:gd name="connsiteX4" fmla="*/ 47625 w 154781"/>
                    <a:gd name="connsiteY4" fmla="*/ 2381 h 92916"/>
                    <a:gd name="connsiteX5" fmla="*/ 40481 w 154781"/>
                    <a:gd name="connsiteY5" fmla="*/ 7144 h 92916"/>
                    <a:gd name="connsiteX6" fmla="*/ 30956 w 154781"/>
                    <a:gd name="connsiteY6" fmla="*/ 26194 h 92916"/>
                    <a:gd name="connsiteX7" fmla="*/ 14287 w 154781"/>
                    <a:gd name="connsiteY7" fmla="*/ 23812 h 92916"/>
                    <a:gd name="connsiteX8" fmla="*/ 7144 w 154781"/>
                    <a:gd name="connsiteY8" fmla="*/ 21431 h 92916"/>
                    <a:gd name="connsiteX9" fmla="*/ 0 w 154781"/>
                    <a:gd name="connsiteY9" fmla="*/ 23812 h 92916"/>
                    <a:gd name="connsiteX10" fmla="*/ 2381 w 154781"/>
                    <a:gd name="connsiteY10" fmla="*/ 45244 h 92916"/>
                    <a:gd name="connsiteX11" fmla="*/ 4762 w 154781"/>
                    <a:gd name="connsiteY11" fmla="*/ 52387 h 92916"/>
                    <a:gd name="connsiteX12" fmla="*/ 7144 w 154781"/>
                    <a:gd name="connsiteY12" fmla="*/ 61912 h 92916"/>
                    <a:gd name="connsiteX13" fmla="*/ 9525 w 154781"/>
                    <a:gd name="connsiteY13" fmla="*/ 69056 h 92916"/>
                    <a:gd name="connsiteX14" fmla="*/ 30956 w 154781"/>
                    <a:gd name="connsiteY14" fmla="*/ 78581 h 92916"/>
                    <a:gd name="connsiteX15" fmla="*/ 40481 w 154781"/>
                    <a:gd name="connsiteY15" fmla="*/ 80962 h 92916"/>
                    <a:gd name="connsiteX16" fmla="*/ 126206 w 154781"/>
                    <a:gd name="connsiteY16" fmla="*/ 85725 h 92916"/>
                    <a:gd name="connsiteX17" fmla="*/ 138112 w 154781"/>
                    <a:gd name="connsiteY17" fmla="*/ 88106 h 92916"/>
                    <a:gd name="connsiteX18" fmla="*/ 145256 w 154781"/>
                    <a:gd name="connsiteY18" fmla="*/ 92869 h 92916"/>
                    <a:gd name="connsiteX19" fmla="*/ 154781 w 154781"/>
                    <a:gd name="connsiteY19" fmla="*/ 88106 h 92916"/>
                    <a:gd name="connsiteX0" fmla="*/ 154781 w 154781"/>
                    <a:gd name="connsiteY0" fmla="*/ 88495 h 93305"/>
                    <a:gd name="connsiteX1" fmla="*/ 154781 w 154781"/>
                    <a:gd name="connsiteY1" fmla="*/ 88495 h 93305"/>
                    <a:gd name="connsiteX2" fmla="*/ 76200 w 154781"/>
                    <a:gd name="connsiteY2" fmla="*/ 5151 h 93305"/>
                    <a:gd name="connsiteX3" fmla="*/ 119062 w 154781"/>
                    <a:gd name="connsiteY3" fmla="*/ 7533 h 93305"/>
                    <a:gd name="connsiteX4" fmla="*/ 47625 w 154781"/>
                    <a:gd name="connsiteY4" fmla="*/ 2770 h 93305"/>
                    <a:gd name="connsiteX5" fmla="*/ 40481 w 154781"/>
                    <a:gd name="connsiteY5" fmla="*/ 7533 h 93305"/>
                    <a:gd name="connsiteX6" fmla="*/ 30956 w 154781"/>
                    <a:gd name="connsiteY6" fmla="*/ 26583 h 93305"/>
                    <a:gd name="connsiteX7" fmla="*/ 14287 w 154781"/>
                    <a:gd name="connsiteY7" fmla="*/ 24201 h 93305"/>
                    <a:gd name="connsiteX8" fmla="*/ 7144 w 154781"/>
                    <a:gd name="connsiteY8" fmla="*/ 21820 h 93305"/>
                    <a:gd name="connsiteX9" fmla="*/ 0 w 154781"/>
                    <a:gd name="connsiteY9" fmla="*/ 24201 h 93305"/>
                    <a:gd name="connsiteX10" fmla="*/ 2381 w 154781"/>
                    <a:gd name="connsiteY10" fmla="*/ 45633 h 93305"/>
                    <a:gd name="connsiteX11" fmla="*/ 4762 w 154781"/>
                    <a:gd name="connsiteY11" fmla="*/ 52776 h 93305"/>
                    <a:gd name="connsiteX12" fmla="*/ 7144 w 154781"/>
                    <a:gd name="connsiteY12" fmla="*/ 62301 h 93305"/>
                    <a:gd name="connsiteX13" fmla="*/ 9525 w 154781"/>
                    <a:gd name="connsiteY13" fmla="*/ 69445 h 93305"/>
                    <a:gd name="connsiteX14" fmla="*/ 30956 w 154781"/>
                    <a:gd name="connsiteY14" fmla="*/ 78970 h 93305"/>
                    <a:gd name="connsiteX15" fmla="*/ 40481 w 154781"/>
                    <a:gd name="connsiteY15" fmla="*/ 81351 h 93305"/>
                    <a:gd name="connsiteX16" fmla="*/ 126206 w 154781"/>
                    <a:gd name="connsiteY16" fmla="*/ 86114 h 93305"/>
                    <a:gd name="connsiteX17" fmla="*/ 138112 w 154781"/>
                    <a:gd name="connsiteY17" fmla="*/ 88495 h 93305"/>
                    <a:gd name="connsiteX18" fmla="*/ 145256 w 154781"/>
                    <a:gd name="connsiteY18" fmla="*/ 93258 h 93305"/>
                    <a:gd name="connsiteX19" fmla="*/ 154781 w 154781"/>
                    <a:gd name="connsiteY19" fmla="*/ 88495 h 93305"/>
                    <a:gd name="connsiteX0" fmla="*/ 154781 w 154781"/>
                    <a:gd name="connsiteY0" fmla="*/ 85725 h 90535"/>
                    <a:gd name="connsiteX1" fmla="*/ 154781 w 154781"/>
                    <a:gd name="connsiteY1" fmla="*/ 85725 h 90535"/>
                    <a:gd name="connsiteX2" fmla="*/ 138113 w 154781"/>
                    <a:gd name="connsiteY2" fmla="*/ 14287 h 90535"/>
                    <a:gd name="connsiteX3" fmla="*/ 119062 w 154781"/>
                    <a:gd name="connsiteY3" fmla="*/ 4763 h 90535"/>
                    <a:gd name="connsiteX4" fmla="*/ 47625 w 154781"/>
                    <a:gd name="connsiteY4" fmla="*/ 0 h 90535"/>
                    <a:gd name="connsiteX5" fmla="*/ 40481 w 154781"/>
                    <a:gd name="connsiteY5" fmla="*/ 4763 h 90535"/>
                    <a:gd name="connsiteX6" fmla="*/ 30956 w 154781"/>
                    <a:gd name="connsiteY6" fmla="*/ 23813 h 90535"/>
                    <a:gd name="connsiteX7" fmla="*/ 14287 w 154781"/>
                    <a:gd name="connsiteY7" fmla="*/ 21431 h 90535"/>
                    <a:gd name="connsiteX8" fmla="*/ 7144 w 154781"/>
                    <a:gd name="connsiteY8" fmla="*/ 19050 h 90535"/>
                    <a:gd name="connsiteX9" fmla="*/ 0 w 154781"/>
                    <a:gd name="connsiteY9" fmla="*/ 21431 h 90535"/>
                    <a:gd name="connsiteX10" fmla="*/ 2381 w 154781"/>
                    <a:gd name="connsiteY10" fmla="*/ 42863 h 90535"/>
                    <a:gd name="connsiteX11" fmla="*/ 4762 w 154781"/>
                    <a:gd name="connsiteY11" fmla="*/ 50006 h 90535"/>
                    <a:gd name="connsiteX12" fmla="*/ 7144 w 154781"/>
                    <a:gd name="connsiteY12" fmla="*/ 59531 h 90535"/>
                    <a:gd name="connsiteX13" fmla="*/ 9525 w 154781"/>
                    <a:gd name="connsiteY13" fmla="*/ 66675 h 90535"/>
                    <a:gd name="connsiteX14" fmla="*/ 30956 w 154781"/>
                    <a:gd name="connsiteY14" fmla="*/ 76200 h 90535"/>
                    <a:gd name="connsiteX15" fmla="*/ 40481 w 154781"/>
                    <a:gd name="connsiteY15" fmla="*/ 78581 h 90535"/>
                    <a:gd name="connsiteX16" fmla="*/ 126206 w 154781"/>
                    <a:gd name="connsiteY16" fmla="*/ 83344 h 90535"/>
                    <a:gd name="connsiteX17" fmla="*/ 138112 w 154781"/>
                    <a:gd name="connsiteY17" fmla="*/ 85725 h 90535"/>
                    <a:gd name="connsiteX18" fmla="*/ 145256 w 154781"/>
                    <a:gd name="connsiteY18" fmla="*/ 90488 h 90535"/>
                    <a:gd name="connsiteX19" fmla="*/ 154781 w 154781"/>
                    <a:gd name="connsiteY19" fmla="*/ 85725 h 90535"/>
                    <a:gd name="connsiteX0" fmla="*/ 185737 w 185737"/>
                    <a:gd name="connsiteY0" fmla="*/ 83344 h 90520"/>
                    <a:gd name="connsiteX1" fmla="*/ 154781 w 185737"/>
                    <a:gd name="connsiteY1" fmla="*/ 85725 h 90520"/>
                    <a:gd name="connsiteX2" fmla="*/ 138113 w 185737"/>
                    <a:gd name="connsiteY2" fmla="*/ 14287 h 90520"/>
                    <a:gd name="connsiteX3" fmla="*/ 119062 w 185737"/>
                    <a:gd name="connsiteY3" fmla="*/ 4763 h 90520"/>
                    <a:gd name="connsiteX4" fmla="*/ 47625 w 185737"/>
                    <a:gd name="connsiteY4" fmla="*/ 0 h 90520"/>
                    <a:gd name="connsiteX5" fmla="*/ 40481 w 185737"/>
                    <a:gd name="connsiteY5" fmla="*/ 4763 h 90520"/>
                    <a:gd name="connsiteX6" fmla="*/ 30956 w 185737"/>
                    <a:gd name="connsiteY6" fmla="*/ 23813 h 90520"/>
                    <a:gd name="connsiteX7" fmla="*/ 14287 w 185737"/>
                    <a:gd name="connsiteY7" fmla="*/ 21431 h 90520"/>
                    <a:gd name="connsiteX8" fmla="*/ 7144 w 185737"/>
                    <a:gd name="connsiteY8" fmla="*/ 19050 h 90520"/>
                    <a:gd name="connsiteX9" fmla="*/ 0 w 185737"/>
                    <a:gd name="connsiteY9" fmla="*/ 21431 h 90520"/>
                    <a:gd name="connsiteX10" fmla="*/ 2381 w 185737"/>
                    <a:gd name="connsiteY10" fmla="*/ 42863 h 90520"/>
                    <a:gd name="connsiteX11" fmla="*/ 4762 w 185737"/>
                    <a:gd name="connsiteY11" fmla="*/ 50006 h 90520"/>
                    <a:gd name="connsiteX12" fmla="*/ 7144 w 185737"/>
                    <a:gd name="connsiteY12" fmla="*/ 59531 h 90520"/>
                    <a:gd name="connsiteX13" fmla="*/ 9525 w 185737"/>
                    <a:gd name="connsiteY13" fmla="*/ 66675 h 90520"/>
                    <a:gd name="connsiteX14" fmla="*/ 30956 w 185737"/>
                    <a:gd name="connsiteY14" fmla="*/ 76200 h 90520"/>
                    <a:gd name="connsiteX15" fmla="*/ 40481 w 185737"/>
                    <a:gd name="connsiteY15" fmla="*/ 78581 h 90520"/>
                    <a:gd name="connsiteX16" fmla="*/ 126206 w 185737"/>
                    <a:gd name="connsiteY16" fmla="*/ 83344 h 90520"/>
                    <a:gd name="connsiteX17" fmla="*/ 138112 w 185737"/>
                    <a:gd name="connsiteY17" fmla="*/ 85725 h 90520"/>
                    <a:gd name="connsiteX18" fmla="*/ 145256 w 185737"/>
                    <a:gd name="connsiteY18" fmla="*/ 90488 h 90520"/>
                    <a:gd name="connsiteX19" fmla="*/ 185737 w 185737"/>
                    <a:gd name="connsiteY19" fmla="*/ 83344 h 90520"/>
                    <a:gd name="connsiteX0" fmla="*/ 185737 w 185945"/>
                    <a:gd name="connsiteY0" fmla="*/ 83344 h 90288"/>
                    <a:gd name="connsiteX1" fmla="*/ 154781 w 185945"/>
                    <a:gd name="connsiteY1" fmla="*/ 85725 h 90288"/>
                    <a:gd name="connsiteX2" fmla="*/ 138113 w 185945"/>
                    <a:gd name="connsiteY2" fmla="*/ 14287 h 90288"/>
                    <a:gd name="connsiteX3" fmla="*/ 119062 w 185945"/>
                    <a:gd name="connsiteY3" fmla="*/ 4763 h 90288"/>
                    <a:gd name="connsiteX4" fmla="*/ 47625 w 185945"/>
                    <a:gd name="connsiteY4" fmla="*/ 0 h 90288"/>
                    <a:gd name="connsiteX5" fmla="*/ 40481 w 185945"/>
                    <a:gd name="connsiteY5" fmla="*/ 4763 h 90288"/>
                    <a:gd name="connsiteX6" fmla="*/ 30956 w 185945"/>
                    <a:gd name="connsiteY6" fmla="*/ 23813 h 90288"/>
                    <a:gd name="connsiteX7" fmla="*/ 14287 w 185945"/>
                    <a:gd name="connsiteY7" fmla="*/ 21431 h 90288"/>
                    <a:gd name="connsiteX8" fmla="*/ 7144 w 185945"/>
                    <a:gd name="connsiteY8" fmla="*/ 19050 h 90288"/>
                    <a:gd name="connsiteX9" fmla="*/ 0 w 185945"/>
                    <a:gd name="connsiteY9" fmla="*/ 21431 h 90288"/>
                    <a:gd name="connsiteX10" fmla="*/ 2381 w 185945"/>
                    <a:gd name="connsiteY10" fmla="*/ 42863 h 90288"/>
                    <a:gd name="connsiteX11" fmla="*/ 4762 w 185945"/>
                    <a:gd name="connsiteY11" fmla="*/ 50006 h 90288"/>
                    <a:gd name="connsiteX12" fmla="*/ 7144 w 185945"/>
                    <a:gd name="connsiteY12" fmla="*/ 59531 h 90288"/>
                    <a:gd name="connsiteX13" fmla="*/ 9525 w 185945"/>
                    <a:gd name="connsiteY13" fmla="*/ 66675 h 90288"/>
                    <a:gd name="connsiteX14" fmla="*/ 30956 w 185945"/>
                    <a:gd name="connsiteY14" fmla="*/ 76200 h 90288"/>
                    <a:gd name="connsiteX15" fmla="*/ 40481 w 185945"/>
                    <a:gd name="connsiteY15" fmla="*/ 78581 h 90288"/>
                    <a:gd name="connsiteX16" fmla="*/ 126206 w 185945"/>
                    <a:gd name="connsiteY16" fmla="*/ 83344 h 90288"/>
                    <a:gd name="connsiteX17" fmla="*/ 138112 w 185945"/>
                    <a:gd name="connsiteY17" fmla="*/ 85725 h 90288"/>
                    <a:gd name="connsiteX18" fmla="*/ 185737 w 185945"/>
                    <a:gd name="connsiteY18" fmla="*/ 83344 h 90288"/>
                    <a:gd name="connsiteX0" fmla="*/ 185737 w 185737"/>
                    <a:gd name="connsiteY0" fmla="*/ 83344 h 85725"/>
                    <a:gd name="connsiteX1" fmla="*/ 138113 w 185737"/>
                    <a:gd name="connsiteY1" fmla="*/ 14287 h 85725"/>
                    <a:gd name="connsiteX2" fmla="*/ 119062 w 185737"/>
                    <a:gd name="connsiteY2" fmla="*/ 4763 h 85725"/>
                    <a:gd name="connsiteX3" fmla="*/ 47625 w 185737"/>
                    <a:gd name="connsiteY3" fmla="*/ 0 h 85725"/>
                    <a:gd name="connsiteX4" fmla="*/ 40481 w 185737"/>
                    <a:gd name="connsiteY4" fmla="*/ 4763 h 85725"/>
                    <a:gd name="connsiteX5" fmla="*/ 30956 w 185737"/>
                    <a:gd name="connsiteY5" fmla="*/ 23813 h 85725"/>
                    <a:gd name="connsiteX6" fmla="*/ 14287 w 185737"/>
                    <a:gd name="connsiteY6" fmla="*/ 21431 h 85725"/>
                    <a:gd name="connsiteX7" fmla="*/ 7144 w 185737"/>
                    <a:gd name="connsiteY7" fmla="*/ 19050 h 85725"/>
                    <a:gd name="connsiteX8" fmla="*/ 0 w 185737"/>
                    <a:gd name="connsiteY8" fmla="*/ 21431 h 85725"/>
                    <a:gd name="connsiteX9" fmla="*/ 2381 w 185737"/>
                    <a:gd name="connsiteY9" fmla="*/ 42863 h 85725"/>
                    <a:gd name="connsiteX10" fmla="*/ 4762 w 185737"/>
                    <a:gd name="connsiteY10" fmla="*/ 50006 h 85725"/>
                    <a:gd name="connsiteX11" fmla="*/ 7144 w 185737"/>
                    <a:gd name="connsiteY11" fmla="*/ 59531 h 85725"/>
                    <a:gd name="connsiteX12" fmla="*/ 9525 w 185737"/>
                    <a:gd name="connsiteY12" fmla="*/ 66675 h 85725"/>
                    <a:gd name="connsiteX13" fmla="*/ 30956 w 185737"/>
                    <a:gd name="connsiteY13" fmla="*/ 76200 h 85725"/>
                    <a:gd name="connsiteX14" fmla="*/ 40481 w 185737"/>
                    <a:gd name="connsiteY14" fmla="*/ 78581 h 85725"/>
                    <a:gd name="connsiteX15" fmla="*/ 126206 w 185737"/>
                    <a:gd name="connsiteY15" fmla="*/ 83344 h 85725"/>
                    <a:gd name="connsiteX16" fmla="*/ 138112 w 185737"/>
                    <a:gd name="connsiteY16" fmla="*/ 85725 h 85725"/>
                    <a:gd name="connsiteX17" fmla="*/ 185737 w 185737"/>
                    <a:gd name="connsiteY17" fmla="*/ 83344 h 85725"/>
                    <a:gd name="connsiteX0" fmla="*/ 185737 w 185800"/>
                    <a:gd name="connsiteY0" fmla="*/ 83344 h 87784"/>
                    <a:gd name="connsiteX1" fmla="*/ 147638 w 185800"/>
                    <a:gd name="connsiteY1" fmla="*/ 35718 h 87784"/>
                    <a:gd name="connsiteX2" fmla="*/ 119062 w 185800"/>
                    <a:gd name="connsiteY2" fmla="*/ 4763 h 87784"/>
                    <a:gd name="connsiteX3" fmla="*/ 47625 w 185800"/>
                    <a:gd name="connsiteY3" fmla="*/ 0 h 87784"/>
                    <a:gd name="connsiteX4" fmla="*/ 40481 w 185800"/>
                    <a:gd name="connsiteY4" fmla="*/ 4763 h 87784"/>
                    <a:gd name="connsiteX5" fmla="*/ 30956 w 185800"/>
                    <a:gd name="connsiteY5" fmla="*/ 23813 h 87784"/>
                    <a:gd name="connsiteX6" fmla="*/ 14287 w 185800"/>
                    <a:gd name="connsiteY6" fmla="*/ 21431 h 87784"/>
                    <a:gd name="connsiteX7" fmla="*/ 7144 w 185800"/>
                    <a:gd name="connsiteY7" fmla="*/ 19050 h 87784"/>
                    <a:gd name="connsiteX8" fmla="*/ 0 w 185800"/>
                    <a:gd name="connsiteY8" fmla="*/ 21431 h 87784"/>
                    <a:gd name="connsiteX9" fmla="*/ 2381 w 185800"/>
                    <a:gd name="connsiteY9" fmla="*/ 42863 h 87784"/>
                    <a:gd name="connsiteX10" fmla="*/ 4762 w 185800"/>
                    <a:gd name="connsiteY10" fmla="*/ 50006 h 87784"/>
                    <a:gd name="connsiteX11" fmla="*/ 7144 w 185800"/>
                    <a:gd name="connsiteY11" fmla="*/ 59531 h 87784"/>
                    <a:gd name="connsiteX12" fmla="*/ 9525 w 185800"/>
                    <a:gd name="connsiteY12" fmla="*/ 66675 h 87784"/>
                    <a:gd name="connsiteX13" fmla="*/ 30956 w 185800"/>
                    <a:gd name="connsiteY13" fmla="*/ 76200 h 87784"/>
                    <a:gd name="connsiteX14" fmla="*/ 40481 w 185800"/>
                    <a:gd name="connsiteY14" fmla="*/ 78581 h 87784"/>
                    <a:gd name="connsiteX15" fmla="*/ 126206 w 185800"/>
                    <a:gd name="connsiteY15" fmla="*/ 83344 h 87784"/>
                    <a:gd name="connsiteX16" fmla="*/ 138112 w 185800"/>
                    <a:gd name="connsiteY16" fmla="*/ 85725 h 87784"/>
                    <a:gd name="connsiteX17" fmla="*/ 185737 w 185800"/>
                    <a:gd name="connsiteY17" fmla="*/ 83344 h 87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800" h="87784">
                      <a:moveTo>
                        <a:pt x="185737" y="83344"/>
                      </a:moveTo>
                      <a:cubicBezTo>
                        <a:pt x="187325" y="75010"/>
                        <a:pt x="158750" y="48815"/>
                        <a:pt x="147638" y="35718"/>
                      </a:cubicBezTo>
                      <a:cubicBezTo>
                        <a:pt x="136526" y="22621"/>
                        <a:pt x="121443" y="6350"/>
                        <a:pt x="119062" y="4763"/>
                      </a:cubicBezTo>
                      <a:cubicBezTo>
                        <a:pt x="111918" y="5557"/>
                        <a:pt x="60722" y="0"/>
                        <a:pt x="47625" y="0"/>
                      </a:cubicBezTo>
                      <a:cubicBezTo>
                        <a:pt x="34528" y="0"/>
                        <a:pt x="41643" y="2148"/>
                        <a:pt x="40481" y="4763"/>
                      </a:cubicBezTo>
                      <a:cubicBezTo>
                        <a:pt x="30963" y="26177"/>
                        <a:pt x="46457" y="18644"/>
                        <a:pt x="30956" y="23813"/>
                      </a:cubicBezTo>
                      <a:cubicBezTo>
                        <a:pt x="25400" y="23019"/>
                        <a:pt x="19791" y="22532"/>
                        <a:pt x="14287" y="21431"/>
                      </a:cubicBezTo>
                      <a:cubicBezTo>
                        <a:pt x="11826" y="20939"/>
                        <a:pt x="9654" y="19050"/>
                        <a:pt x="7144" y="19050"/>
                      </a:cubicBezTo>
                      <a:cubicBezTo>
                        <a:pt x="4634" y="19050"/>
                        <a:pt x="2381" y="20637"/>
                        <a:pt x="0" y="21431"/>
                      </a:cubicBezTo>
                      <a:cubicBezTo>
                        <a:pt x="794" y="28575"/>
                        <a:pt x="1199" y="35773"/>
                        <a:pt x="2381" y="42863"/>
                      </a:cubicBezTo>
                      <a:cubicBezTo>
                        <a:pt x="2794" y="45339"/>
                        <a:pt x="4072" y="47593"/>
                        <a:pt x="4762" y="50006"/>
                      </a:cubicBezTo>
                      <a:cubicBezTo>
                        <a:pt x="5661" y="53153"/>
                        <a:pt x="6245" y="56384"/>
                        <a:pt x="7144" y="59531"/>
                      </a:cubicBezTo>
                      <a:cubicBezTo>
                        <a:pt x="7834" y="61945"/>
                        <a:pt x="8133" y="64586"/>
                        <a:pt x="9525" y="66675"/>
                      </a:cubicBezTo>
                      <a:cubicBezTo>
                        <a:pt x="16337" y="76893"/>
                        <a:pt x="18718" y="73753"/>
                        <a:pt x="30956" y="76200"/>
                      </a:cubicBezTo>
                      <a:cubicBezTo>
                        <a:pt x="34165" y="76842"/>
                        <a:pt x="37217" y="78336"/>
                        <a:pt x="40481" y="78581"/>
                      </a:cubicBezTo>
                      <a:cubicBezTo>
                        <a:pt x="69020" y="80721"/>
                        <a:pt x="97631" y="81756"/>
                        <a:pt x="126206" y="83344"/>
                      </a:cubicBezTo>
                      <a:cubicBezTo>
                        <a:pt x="130175" y="84138"/>
                        <a:pt x="134322" y="84304"/>
                        <a:pt x="138112" y="85725"/>
                      </a:cubicBezTo>
                      <a:cubicBezTo>
                        <a:pt x="148034" y="85725"/>
                        <a:pt x="184149" y="91678"/>
                        <a:pt x="185737" y="83344"/>
                      </a:cubicBezTo>
                      <a:close/>
                    </a:path>
                  </a:pathLst>
                </a:custGeom>
                <a:grpFill/>
                <a:ln w="12700">
                  <a:solidFill>
                    <a:schemeClr val="bg1">
                      <a:alpha val="4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03" tIns="73103" rIns="73103" bIns="73103"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134" name="Europe">
                <a:extLst>
                  <a:ext uri="{FF2B5EF4-FFF2-40B4-BE49-F238E27FC236}">
                    <a16:creationId xmlns:a16="http://schemas.microsoft.com/office/drawing/2014/main" id="{50AD7AB9-F524-FDA0-7C01-50A5AC667F25}"/>
                  </a:ext>
                </a:extLst>
              </p:cNvPr>
              <p:cNvGrpSpPr>
                <a:grpSpLocks noGrp="1" noUngrp="1" noRot="1" noMove="1" noResize="1"/>
              </p:cNvGrpSpPr>
              <p:nvPr userDrawn="1"/>
            </p:nvGrpSpPr>
            <p:grpSpPr>
              <a:xfrm>
                <a:off x="3161859" y="872458"/>
                <a:ext cx="3701584" cy="3841250"/>
                <a:chOff x="3161859" y="872458"/>
                <a:chExt cx="3701584" cy="3841250"/>
              </a:xfrm>
              <a:grpFill/>
            </p:grpSpPr>
            <p:grpSp>
              <p:nvGrpSpPr>
                <p:cNvPr id="135" name="United Kingdom">
                  <a:extLst>
                    <a:ext uri="{FF2B5EF4-FFF2-40B4-BE49-F238E27FC236}">
                      <a16:creationId xmlns:a16="http://schemas.microsoft.com/office/drawing/2014/main" id="{380EB1F7-077A-BE89-2302-3D73ACE602F3}"/>
                    </a:ext>
                  </a:extLst>
                </p:cNvPr>
                <p:cNvGrpSpPr>
                  <a:grpSpLocks noGrp="1" noUngrp="1" noRot="1" noMove="1" noResize="1"/>
                </p:cNvGrpSpPr>
                <p:nvPr/>
              </p:nvGrpSpPr>
              <p:grpSpPr>
                <a:xfrm>
                  <a:off x="3977232" y="3050352"/>
                  <a:ext cx="484688" cy="647600"/>
                  <a:chOff x="4547548" y="2859796"/>
                  <a:chExt cx="242305" cy="323800"/>
                </a:xfrm>
                <a:grpFill/>
              </p:grpSpPr>
              <p:sp>
                <p:nvSpPr>
                  <p:cNvPr id="187" name="United Kingdom">
                    <a:extLst>
                      <a:ext uri="{FF2B5EF4-FFF2-40B4-BE49-F238E27FC236}">
                        <a16:creationId xmlns:a16="http://schemas.microsoft.com/office/drawing/2014/main" id="{349D9563-3F8A-BC35-E0E8-08F2C1433E0A}"/>
                      </a:ext>
                    </a:extLst>
                  </p:cNvPr>
                  <p:cNvSpPr>
                    <a:spLocks noGrp="1" noRot="1" noMove="1" noResize="1" noEditPoints="1" noAdjustHandles="1" noChangeArrowheads="1" noChangeShapeType="1"/>
                  </p:cNvSpPr>
                  <p:nvPr/>
                </p:nvSpPr>
                <p:spPr bwMode="gray">
                  <a:xfrm>
                    <a:off x="4575423" y="2868667"/>
                    <a:ext cx="17154" cy="24396"/>
                  </a:xfrm>
                  <a:custGeom>
                    <a:avLst/>
                    <a:gdLst/>
                    <a:ahLst/>
                    <a:cxnLst>
                      <a:cxn ang="0">
                        <a:pos x="0" y="10"/>
                      </a:cxn>
                      <a:cxn ang="0">
                        <a:pos x="0" y="10"/>
                      </a:cxn>
                      <a:cxn ang="0">
                        <a:pos x="0" y="2"/>
                      </a:cxn>
                      <a:cxn ang="0">
                        <a:pos x="9" y="0"/>
                      </a:cxn>
                      <a:cxn ang="0">
                        <a:pos x="0" y="10"/>
                      </a:cxn>
                      <a:cxn ang="0">
                        <a:pos x="0" y="10"/>
                      </a:cxn>
                    </a:cxnLst>
                    <a:rect l="0" t="0" r="r" b="b"/>
                    <a:pathLst>
                      <a:path w="10" h="11">
                        <a:moveTo>
                          <a:pt x="0" y="10"/>
                        </a:moveTo>
                        <a:lnTo>
                          <a:pt x="0" y="10"/>
                        </a:lnTo>
                        <a:lnTo>
                          <a:pt x="0" y="2"/>
                        </a:lnTo>
                        <a:lnTo>
                          <a:pt x="9" y="0"/>
                        </a:lnTo>
                        <a:lnTo>
                          <a:pt x="0" y="10"/>
                        </a:lnTo>
                        <a:lnTo>
                          <a:pt x="0" y="1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88" name="United Kingdom">
                    <a:extLst>
                      <a:ext uri="{FF2B5EF4-FFF2-40B4-BE49-F238E27FC236}">
                        <a16:creationId xmlns:a16="http://schemas.microsoft.com/office/drawing/2014/main" id="{AA97E3D4-D05E-3FCE-2864-0AB1BFF2FB09}"/>
                      </a:ext>
                    </a:extLst>
                  </p:cNvPr>
                  <p:cNvSpPr>
                    <a:spLocks noGrp="1" noRot="1" noMove="1" noResize="1" noEditPoints="1" noAdjustHandles="1" noChangeArrowheads="1" noChangeShapeType="1"/>
                  </p:cNvSpPr>
                  <p:nvPr/>
                </p:nvSpPr>
                <p:spPr bwMode="gray">
                  <a:xfrm>
                    <a:off x="4581857" y="2893063"/>
                    <a:ext cx="17154" cy="17743"/>
                  </a:xfrm>
                  <a:custGeom>
                    <a:avLst/>
                    <a:gdLst/>
                    <a:ahLst/>
                    <a:cxnLst>
                      <a:cxn ang="0">
                        <a:pos x="0" y="5"/>
                      </a:cxn>
                      <a:cxn ang="0">
                        <a:pos x="0" y="5"/>
                      </a:cxn>
                      <a:cxn ang="0">
                        <a:pos x="4" y="0"/>
                      </a:cxn>
                      <a:cxn ang="0">
                        <a:pos x="8" y="7"/>
                      </a:cxn>
                      <a:cxn ang="0">
                        <a:pos x="0" y="5"/>
                      </a:cxn>
                      <a:cxn ang="0">
                        <a:pos x="0" y="5"/>
                      </a:cxn>
                    </a:cxnLst>
                    <a:rect l="0" t="0" r="r" b="b"/>
                    <a:pathLst>
                      <a:path w="9" h="8">
                        <a:moveTo>
                          <a:pt x="0" y="5"/>
                        </a:moveTo>
                        <a:lnTo>
                          <a:pt x="0" y="5"/>
                        </a:lnTo>
                        <a:lnTo>
                          <a:pt x="4" y="0"/>
                        </a:lnTo>
                        <a:lnTo>
                          <a:pt x="8" y="7"/>
                        </a:lnTo>
                        <a:lnTo>
                          <a:pt x="0" y="5"/>
                        </a:lnTo>
                        <a:lnTo>
                          <a:pt x="0" y="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89" name="United Kingdom">
                    <a:extLst>
                      <a:ext uri="{FF2B5EF4-FFF2-40B4-BE49-F238E27FC236}">
                        <a16:creationId xmlns:a16="http://schemas.microsoft.com/office/drawing/2014/main" id="{FB91756D-B079-9950-C96A-8D454FDDB943}"/>
                      </a:ext>
                    </a:extLst>
                  </p:cNvPr>
                  <p:cNvSpPr>
                    <a:spLocks noGrp="1" noRot="1" noMove="1" noResize="1" noEditPoints="1" noAdjustHandles="1" noChangeArrowheads="1" noChangeShapeType="1"/>
                  </p:cNvSpPr>
                  <p:nvPr/>
                </p:nvSpPr>
                <p:spPr bwMode="gray">
                  <a:xfrm>
                    <a:off x="4596866" y="2859796"/>
                    <a:ext cx="192987" cy="323800"/>
                  </a:xfrm>
                  <a:custGeom>
                    <a:avLst/>
                    <a:gdLst/>
                    <a:ahLst/>
                    <a:cxnLst>
                      <a:cxn ang="0">
                        <a:pos x="0" y="33"/>
                      </a:cxn>
                      <a:cxn ang="0">
                        <a:pos x="0" y="33"/>
                      </a:cxn>
                      <a:cxn ang="0">
                        <a:pos x="4" y="13"/>
                      </a:cxn>
                      <a:cxn ang="0">
                        <a:pos x="16" y="0"/>
                      </a:cxn>
                      <a:cxn ang="0">
                        <a:pos x="40" y="0"/>
                      </a:cxn>
                      <a:cxn ang="0">
                        <a:pos x="26" y="16"/>
                      </a:cxn>
                      <a:cxn ang="0">
                        <a:pos x="58" y="20"/>
                      </a:cxn>
                      <a:cxn ang="0">
                        <a:pos x="38" y="43"/>
                      </a:cxn>
                      <a:cxn ang="0">
                        <a:pos x="62" y="51"/>
                      </a:cxn>
                      <a:cxn ang="0">
                        <a:pos x="85" y="81"/>
                      </a:cxn>
                      <a:cxn ang="0">
                        <a:pos x="78" y="83"/>
                      </a:cxn>
                      <a:cxn ang="0">
                        <a:pos x="89" y="90"/>
                      </a:cxn>
                      <a:cxn ang="0">
                        <a:pos x="83" y="98"/>
                      </a:cxn>
                      <a:cxn ang="0">
                        <a:pos x="106" y="99"/>
                      </a:cxn>
                      <a:cxn ang="0">
                        <a:pos x="92" y="119"/>
                      </a:cxn>
                      <a:cxn ang="0">
                        <a:pos x="102" y="124"/>
                      </a:cxn>
                      <a:cxn ang="0">
                        <a:pos x="6" y="143"/>
                      </a:cxn>
                      <a:cxn ang="0">
                        <a:pos x="49" y="116"/>
                      </a:cxn>
                      <a:cxn ang="0">
                        <a:pos x="36" y="121"/>
                      </a:cxn>
                      <a:cxn ang="0">
                        <a:pos x="12" y="113"/>
                      </a:cxn>
                      <a:cxn ang="0">
                        <a:pos x="30" y="102"/>
                      </a:cxn>
                      <a:cxn ang="0">
                        <a:pos x="19" y="98"/>
                      </a:cxn>
                      <a:cxn ang="0">
                        <a:pos x="43" y="87"/>
                      </a:cxn>
                      <a:cxn ang="0">
                        <a:pos x="46" y="74"/>
                      </a:cxn>
                      <a:cxn ang="0">
                        <a:pos x="33" y="70"/>
                      </a:cxn>
                      <a:cxn ang="0">
                        <a:pos x="40" y="62"/>
                      </a:cxn>
                      <a:cxn ang="0">
                        <a:pos x="15" y="66"/>
                      </a:cxn>
                      <a:cxn ang="0">
                        <a:pos x="16" y="46"/>
                      </a:cxn>
                      <a:cxn ang="0">
                        <a:pos x="4" y="55"/>
                      </a:cxn>
                      <a:cxn ang="0">
                        <a:pos x="11" y="34"/>
                      </a:cxn>
                      <a:cxn ang="0">
                        <a:pos x="0" y="33"/>
                      </a:cxn>
                      <a:cxn ang="0">
                        <a:pos x="0" y="33"/>
                      </a:cxn>
                    </a:cxnLst>
                    <a:rect l="0" t="0" r="r" b="b"/>
                    <a:pathLst>
                      <a:path w="107" h="144">
                        <a:moveTo>
                          <a:pt x="0" y="33"/>
                        </a:moveTo>
                        <a:lnTo>
                          <a:pt x="0" y="33"/>
                        </a:lnTo>
                        <a:lnTo>
                          <a:pt x="4" y="13"/>
                        </a:lnTo>
                        <a:lnTo>
                          <a:pt x="16" y="0"/>
                        </a:lnTo>
                        <a:lnTo>
                          <a:pt x="40" y="0"/>
                        </a:lnTo>
                        <a:lnTo>
                          <a:pt x="26" y="16"/>
                        </a:lnTo>
                        <a:lnTo>
                          <a:pt x="58" y="20"/>
                        </a:lnTo>
                        <a:lnTo>
                          <a:pt x="38" y="43"/>
                        </a:lnTo>
                        <a:lnTo>
                          <a:pt x="62" y="51"/>
                        </a:lnTo>
                        <a:lnTo>
                          <a:pt x="85" y="81"/>
                        </a:lnTo>
                        <a:lnTo>
                          <a:pt x="78" y="83"/>
                        </a:lnTo>
                        <a:lnTo>
                          <a:pt x="89" y="90"/>
                        </a:lnTo>
                        <a:lnTo>
                          <a:pt x="83" y="98"/>
                        </a:lnTo>
                        <a:lnTo>
                          <a:pt x="106" y="99"/>
                        </a:lnTo>
                        <a:lnTo>
                          <a:pt x="92" y="119"/>
                        </a:lnTo>
                        <a:lnTo>
                          <a:pt x="102" y="124"/>
                        </a:lnTo>
                        <a:lnTo>
                          <a:pt x="6" y="143"/>
                        </a:lnTo>
                        <a:lnTo>
                          <a:pt x="49" y="116"/>
                        </a:lnTo>
                        <a:lnTo>
                          <a:pt x="36" y="121"/>
                        </a:lnTo>
                        <a:lnTo>
                          <a:pt x="12" y="113"/>
                        </a:lnTo>
                        <a:lnTo>
                          <a:pt x="30" y="102"/>
                        </a:lnTo>
                        <a:lnTo>
                          <a:pt x="19" y="98"/>
                        </a:lnTo>
                        <a:lnTo>
                          <a:pt x="43" y="87"/>
                        </a:lnTo>
                        <a:lnTo>
                          <a:pt x="46" y="74"/>
                        </a:lnTo>
                        <a:lnTo>
                          <a:pt x="33" y="70"/>
                        </a:lnTo>
                        <a:lnTo>
                          <a:pt x="40" y="62"/>
                        </a:lnTo>
                        <a:lnTo>
                          <a:pt x="15" y="66"/>
                        </a:lnTo>
                        <a:lnTo>
                          <a:pt x="16" y="46"/>
                        </a:lnTo>
                        <a:lnTo>
                          <a:pt x="4" y="55"/>
                        </a:lnTo>
                        <a:lnTo>
                          <a:pt x="11" y="34"/>
                        </a:lnTo>
                        <a:lnTo>
                          <a:pt x="0" y="33"/>
                        </a:lnTo>
                        <a:lnTo>
                          <a:pt x="0" y="33"/>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0" name="Northern Ireland">
                    <a:extLst>
                      <a:ext uri="{FF2B5EF4-FFF2-40B4-BE49-F238E27FC236}">
                        <a16:creationId xmlns:a16="http://schemas.microsoft.com/office/drawing/2014/main" id="{2741A607-E6F9-2444-32F6-86C165999AE4}"/>
                      </a:ext>
                    </a:extLst>
                  </p:cNvPr>
                  <p:cNvSpPr>
                    <a:spLocks noGrp="1" noRot="1" noMove="1" noResize="1" noEditPoints="1" noAdjustHandles="1" noChangeArrowheads="1" noChangeShapeType="1"/>
                  </p:cNvSpPr>
                  <p:nvPr/>
                </p:nvSpPr>
                <p:spPr bwMode="gray">
                  <a:xfrm>
                    <a:off x="4547548" y="2983993"/>
                    <a:ext cx="66473" cy="53228"/>
                  </a:xfrm>
                  <a:custGeom>
                    <a:avLst/>
                    <a:gdLst/>
                    <a:ahLst/>
                    <a:cxnLst>
                      <a:cxn ang="0">
                        <a:pos x="0" y="15"/>
                      </a:cxn>
                      <a:cxn ang="0">
                        <a:pos x="0" y="15"/>
                      </a:cxn>
                      <a:cxn ang="0">
                        <a:pos x="5" y="19"/>
                      </a:cxn>
                      <a:cxn ang="0">
                        <a:pos x="19" y="15"/>
                      </a:cxn>
                      <a:cxn ang="0">
                        <a:pos x="26" y="23"/>
                      </a:cxn>
                      <a:cxn ang="0">
                        <a:pos x="35" y="15"/>
                      </a:cxn>
                      <a:cxn ang="0">
                        <a:pos x="27" y="4"/>
                      </a:cxn>
                      <a:cxn ang="0">
                        <a:pos x="10" y="0"/>
                      </a:cxn>
                      <a:cxn ang="0">
                        <a:pos x="6" y="7"/>
                      </a:cxn>
                      <a:cxn ang="0">
                        <a:pos x="0" y="15"/>
                      </a:cxn>
                      <a:cxn ang="0">
                        <a:pos x="0" y="15"/>
                      </a:cxn>
                    </a:cxnLst>
                    <a:rect l="0" t="0" r="r" b="b"/>
                    <a:pathLst>
                      <a:path w="36" h="24">
                        <a:moveTo>
                          <a:pt x="0" y="15"/>
                        </a:moveTo>
                        <a:lnTo>
                          <a:pt x="0" y="15"/>
                        </a:lnTo>
                        <a:lnTo>
                          <a:pt x="5" y="19"/>
                        </a:lnTo>
                        <a:lnTo>
                          <a:pt x="19" y="15"/>
                        </a:lnTo>
                        <a:lnTo>
                          <a:pt x="26" y="23"/>
                        </a:lnTo>
                        <a:lnTo>
                          <a:pt x="35" y="15"/>
                        </a:lnTo>
                        <a:lnTo>
                          <a:pt x="27" y="4"/>
                        </a:lnTo>
                        <a:lnTo>
                          <a:pt x="10" y="0"/>
                        </a:lnTo>
                        <a:lnTo>
                          <a:pt x="6" y="7"/>
                        </a:lnTo>
                        <a:lnTo>
                          <a:pt x="0" y="15"/>
                        </a:lnTo>
                        <a:lnTo>
                          <a:pt x="0" y="1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136" name="Ukraine">
                  <a:extLst>
                    <a:ext uri="{FF2B5EF4-FFF2-40B4-BE49-F238E27FC236}">
                      <a16:creationId xmlns:a16="http://schemas.microsoft.com/office/drawing/2014/main" id="{122BA3BF-15F2-9343-BA1C-AEF228C0C19A}"/>
                    </a:ext>
                  </a:extLst>
                </p:cNvPr>
                <p:cNvSpPr>
                  <a:spLocks noGrp="1" noRot="1" noMove="1" noResize="1" noEditPoints="1" noAdjustHandles="1" noChangeArrowheads="1" noChangeShapeType="1"/>
                </p:cNvSpPr>
                <p:nvPr/>
              </p:nvSpPr>
              <p:spPr bwMode="gray">
                <a:xfrm>
                  <a:off x="5465610" y="3520526"/>
                  <a:ext cx="875010" cy="558890"/>
                </a:xfrm>
                <a:custGeom>
                  <a:avLst/>
                  <a:gdLst/>
                  <a:ahLst/>
                  <a:cxnLst>
                    <a:cxn ang="0">
                      <a:pos x="124" y="5"/>
                    </a:cxn>
                    <a:cxn ang="0">
                      <a:pos x="135" y="0"/>
                    </a:cxn>
                    <a:cxn ang="0">
                      <a:pos x="150" y="8"/>
                    </a:cxn>
                    <a:cxn ang="0">
                      <a:pos x="156" y="18"/>
                    </a:cxn>
                    <a:cxn ang="0">
                      <a:pos x="173" y="26"/>
                    </a:cxn>
                    <a:cxn ang="0">
                      <a:pos x="195" y="40"/>
                    </a:cxn>
                    <a:cxn ang="0">
                      <a:pos x="211" y="40"/>
                    </a:cxn>
                    <a:cxn ang="0">
                      <a:pos x="234" y="45"/>
                    </a:cxn>
                    <a:cxn ang="0">
                      <a:pos x="228" y="67"/>
                    </a:cxn>
                    <a:cxn ang="0">
                      <a:pos x="208" y="86"/>
                    </a:cxn>
                    <a:cxn ang="0">
                      <a:pos x="177" y="101"/>
                    </a:cxn>
                    <a:cxn ang="0">
                      <a:pos x="178" y="109"/>
                    </a:cxn>
                    <a:cxn ang="0">
                      <a:pos x="163" y="123"/>
                    </a:cxn>
                    <a:cxn ang="0">
                      <a:pos x="160" y="99"/>
                    </a:cxn>
                    <a:cxn ang="0">
                      <a:pos x="134" y="96"/>
                    </a:cxn>
                    <a:cxn ang="0">
                      <a:pos x="134" y="89"/>
                    </a:cxn>
                    <a:cxn ang="0">
                      <a:pos x="103" y="109"/>
                    </a:cxn>
                    <a:cxn ang="0">
                      <a:pos x="92" y="98"/>
                    </a:cxn>
                    <a:cxn ang="0">
                      <a:pos x="101" y="90"/>
                    </a:cxn>
                    <a:cxn ang="0">
                      <a:pos x="107" y="83"/>
                    </a:cxn>
                    <a:cxn ang="0">
                      <a:pos x="95" y="71"/>
                    </a:cxn>
                    <a:cxn ang="0">
                      <a:pos x="73" y="63"/>
                    </a:cxn>
                    <a:cxn ang="0">
                      <a:pos x="37" y="67"/>
                    </a:cxn>
                    <a:cxn ang="0">
                      <a:pos x="9" y="69"/>
                    </a:cxn>
                    <a:cxn ang="0">
                      <a:pos x="6" y="51"/>
                    </a:cxn>
                    <a:cxn ang="0">
                      <a:pos x="26" y="27"/>
                    </a:cxn>
                    <a:cxn ang="0">
                      <a:pos x="22" y="10"/>
                    </a:cxn>
                    <a:cxn ang="0">
                      <a:pos x="33" y="9"/>
                    </a:cxn>
                    <a:cxn ang="0">
                      <a:pos x="53" y="11"/>
                    </a:cxn>
                    <a:cxn ang="0">
                      <a:pos x="72" y="13"/>
                    </a:cxn>
                    <a:cxn ang="0">
                      <a:pos x="88" y="18"/>
                    </a:cxn>
                    <a:cxn ang="0">
                      <a:pos x="99" y="19"/>
                    </a:cxn>
                    <a:cxn ang="0">
                      <a:pos x="103" y="10"/>
                    </a:cxn>
                    <a:cxn ang="0">
                      <a:pos x="116" y="9"/>
                    </a:cxn>
                    <a:cxn ang="0">
                      <a:pos x="120" y="6"/>
                    </a:cxn>
                  </a:cxnLst>
                  <a:rect l="0" t="0" r="r" b="b"/>
                  <a:pathLst>
                    <a:path w="241" h="124">
                      <a:moveTo>
                        <a:pt x="120" y="6"/>
                      </a:moveTo>
                      <a:lnTo>
                        <a:pt x="124" y="5"/>
                      </a:lnTo>
                      <a:lnTo>
                        <a:pt x="130" y="1"/>
                      </a:lnTo>
                      <a:lnTo>
                        <a:pt x="135" y="0"/>
                      </a:lnTo>
                      <a:lnTo>
                        <a:pt x="146" y="1"/>
                      </a:lnTo>
                      <a:lnTo>
                        <a:pt x="150" y="8"/>
                      </a:lnTo>
                      <a:lnTo>
                        <a:pt x="152" y="15"/>
                      </a:lnTo>
                      <a:lnTo>
                        <a:pt x="156" y="18"/>
                      </a:lnTo>
                      <a:lnTo>
                        <a:pt x="161" y="17"/>
                      </a:lnTo>
                      <a:lnTo>
                        <a:pt x="173" y="26"/>
                      </a:lnTo>
                      <a:lnTo>
                        <a:pt x="179" y="35"/>
                      </a:lnTo>
                      <a:lnTo>
                        <a:pt x="195" y="40"/>
                      </a:lnTo>
                      <a:lnTo>
                        <a:pt x="206" y="42"/>
                      </a:lnTo>
                      <a:lnTo>
                        <a:pt x="211" y="40"/>
                      </a:lnTo>
                      <a:lnTo>
                        <a:pt x="221" y="44"/>
                      </a:lnTo>
                      <a:lnTo>
                        <a:pt x="234" y="45"/>
                      </a:lnTo>
                      <a:lnTo>
                        <a:pt x="240" y="64"/>
                      </a:lnTo>
                      <a:lnTo>
                        <a:pt x="228" y="67"/>
                      </a:lnTo>
                      <a:lnTo>
                        <a:pt x="226" y="76"/>
                      </a:lnTo>
                      <a:lnTo>
                        <a:pt x="208" y="86"/>
                      </a:lnTo>
                      <a:lnTo>
                        <a:pt x="180" y="92"/>
                      </a:lnTo>
                      <a:lnTo>
                        <a:pt x="177" y="101"/>
                      </a:lnTo>
                      <a:lnTo>
                        <a:pt x="165" y="98"/>
                      </a:lnTo>
                      <a:lnTo>
                        <a:pt x="178" y="109"/>
                      </a:lnTo>
                      <a:lnTo>
                        <a:pt x="194" y="110"/>
                      </a:lnTo>
                      <a:lnTo>
                        <a:pt x="163" y="123"/>
                      </a:lnTo>
                      <a:lnTo>
                        <a:pt x="144" y="109"/>
                      </a:lnTo>
                      <a:lnTo>
                        <a:pt x="160" y="99"/>
                      </a:lnTo>
                      <a:lnTo>
                        <a:pt x="144" y="96"/>
                      </a:lnTo>
                      <a:lnTo>
                        <a:pt x="134" y="96"/>
                      </a:lnTo>
                      <a:lnTo>
                        <a:pt x="136" y="87"/>
                      </a:lnTo>
                      <a:lnTo>
                        <a:pt x="134" y="89"/>
                      </a:lnTo>
                      <a:lnTo>
                        <a:pt x="111" y="93"/>
                      </a:lnTo>
                      <a:lnTo>
                        <a:pt x="103" y="109"/>
                      </a:lnTo>
                      <a:lnTo>
                        <a:pt x="88" y="109"/>
                      </a:lnTo>
                      <a:lnTo>
                        <a:pt x="92" y="98"/>
                      </a:lnTo>
                      <a:lnTo>
                        <a:pt x="93" y="92"/>
                      </a:lnTo>
                      <a:lnTo>
                        <a:pt x="101" y="90"/>
                      </a:lnTo>
                      <a:lnTo>
                        <a:pt x="106" y="86"/>
                      </a:lnTo>
                      <a:lnTo>
                        <a:pt x="107" y="83"/>
                      </a:lnTo>
                      <a:lnTo>
                        <a:pt x="101" y="82"/>
                      </a:lnTo>
                      <a:lnTo>
                        <a:pt x="95" y="71"/>
                      </a:lnTo>
                      <a:lnTo>
                        <a:pt x="85" y="63"/>
                      </a:lnTo>
                      <a:lnTo>
                        <a:pt x="73" y="63"/>
                      </a:lnTo>
                      <a:lnTo>
                        <a:pt x="58" y="66"/>
                      </a:lnTo>
                      <a:lnTo>
                        <a:pt x="37" y="67"/>
                      </a:lnTo>
                      <a:lnTo>
                        <a:pt x="26" y="69"/>
                      </a:lnTo>
                      <a:lnTo>
                        <a:pt x="9" y="69"/>
                      </a:lnTo>
                      <a:lnTo>
                        <a:pt x="0" y="62"/>
                      </a:lnTo>
                      <a:lnTo>
                        <a:pt x="6" y="51"/>
                      </a:lnTo>
                      <a:lnTo>
                        <a:pt x="16" y="39"/>
                      </a:lnTo>
                      <a:lnTo>
                        <a:pt x="26" y="27"/>
                      </a:lnTo>
                      <a:lnTo>
                        <a:pt x="21" y="13"/>
                      </a:lnTo>
                      <a:lnTo>
                        <a:pt x="22" y="10"/>
                      </a:lnTo>
                      <a:lnTo>
                        <a:pt x="25" y="8"/>
                      </a:lnTo>
                      <a:lnTo>
                        <a:pt x="33" y="9"/>
                      </a:lnTo>
                      <a:lnTo>
                        <a:pt x="42" y="8"/>
                      </a:lnTo>
                      <a:lnTo>
                        <a:pt x="53" y="11"/>
                      </a:lnTo>
                      <a:lnTo>
                        <a:pt x="64" y="15"/>
                      </a:lnTo>
                      <a:lnTo>
                        <a:pt x="72" y="13"/>
                      </a:lnTo>
                      <a:lnTo>
                        <a:pt x="80" y="17"/>
                      </a:lnTo>
                      <a:lnTo>
                        <a:pt x="88" y="18"/>
                      </a:lnTo>
                      <a:lnTo>
                        <a:pt x="94" y="21"/>
                      </a:lnTo>
                      <a:lnTo>
                        <a:pt x="99" y="19"/>
                      </a:lnTo>
                      <a:lnTo>
                        <a:pt x="100" y="14"/>
                      </a:lnTo>
                      <a:lnTo>
                        <a:pt x="103" y="10"/>
                      </a:lnTo>
                      <a:lnTo>
                        <a:pt x="113" y="10"/>
                      </a:lnTo>
                      <a:lnTo>
                        <a:pt x="116" y="9"/>
                      </a:lnTo>
                      <a:lnTo>
                        <a:pt x="120" y="6"/>
                      </a:lnTo>
                      <a:lnTo>
                        <a:pt x="120" y="6"/>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7" name="Swizerland">
                  <a:extLst>
                    <a:ext uri="{FF2B5EF4-FFF2-40B4-BE49-F238E27FC236}">
                      <a16:creationId xmlns:a16="http://schemas.microsoft.com/office/drawing/2014/main" id="{33574F0C-2DC3-9F0D-98E2-CBE907A14435}"/>
                    </a:ext>
                  </a:extLst>
                </p:cNvPr>
                <p:cNvSpPr>
                  <a:spLocks noGrp="1" noRot="1" noMove="1" noResize="1" noEditPoints="1" noAdjustHandles="1" noChangeArrowheads="1" noChangeShapeType="1"/>
                </p:cNvSpPr>
                <p:nvPr/>
              </p:nvSpPr>
              <p:spPr bwMode="gray">
                <a:xfrm>
                  <a:off x="4672095" y="3853198"/>
                  <a:ext cx="218753" cy="128634"/>
                </a:xfrm>
                <a:custGeom>
                  <a:avLst/>
                  <a:gdLst/>
                  <a:ahLst/>
                  <a:cxnLst>
                    <a:cxn ang="0">
                      <a:pos x="0" y="18"/>
                    </a:cxn>
                    <a:cxn ang="0">
                      <a:pos x="0" y="18"/>
                    </a:cxn>
                    <a:cxn ang="0">
                      <a:pos x="13" y="27"/>
                    </a:cxn>
                    <a:cxn ang="0">
                      <a:pos x="33" y="19"/>
                    </a:cxn>
                    <a:cxn ang="0">
                      <a:pos x="41" y="26"/>
                    </a:cxn>
                    <a:cxn ang="0">
                      <a:pos x="60" y="12"/>
                    </a:cxn>
                    <a:cxn ang="0">
                      <a:pos x="49" y="11"/>
                    </a:cxn>
                    <a:cxn ang="0">
                      <a:pos x="48" y="4"/>
                    </a:cxn>
                    <a:cxn ang="0">
                      <a:pos x="47" y="3"/>
                    </a:cxn>
                    <a:cxn ang="0">
                      <a:pos x="20" y="0"/>
                    </a:cxn>
                    <a:cxn ang="0">
                      <a:pos x="0" y="18"/>
                    </a:cxn>
                    <a:cxn ang="0">
                      <a:pos x="0" y="18"/>
                    </a:cxn>
                  </a:cxnLst>
                  <a:rect l="0" t="0" r="r" b="b"/>
                  <a:pathLst>
                    <a:path w="61" h="28">
                      <a:moveTo>
                        <a:pt x="0" y="18"/>
                      </a:moveTo>
                      <a:lnTo>
                        <a:pt x="0" y="18"/>
                      </a:lnTo>
                      <a:lnTo>
                        <a:pt x="13" y="27"/>
                      </a:lnTo>
                      <a:lnTo>
                        <a:pt x="33" y="19"/>
                      </a:lnTo>
                      <a:lnTo>
                        <a:pt x="41" y="26"/>
                      </a:lnTo>
                      <a:lnTo>
                        <a:pt x="60" y="12"/>
                      </a:lnTo>
                      <a:lnTo>
                        <a:pt x="49" y="11"/>
                      </a:lnTo>
                      <a:lnTo>
                        <a:pt x="48" y="4"/>
                      </a:lnTo>
                      <a:lnTo>
                        <a:pt x="47" y="3"/>
                      </a:lnTo>
                      <a:lnTo>
                        <a:pt x="20" y="0"/>
                      </a:lnTo>
                      <a:lnTo>
                        <a:pt x="0" y="18"/>
                      </a:lnTo>
                      <a:lnTo>
                        <a:pt x="0" y="1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8" name="Sweden">
                  <a:extLst>
                    <a:ext uri="{FF2B5EF4-FFF2-40B4-BE49-F238E27FC236}">
                      <a16:creationId xmlns:a16="http://schemas.microsoft.com/office/drawing/2014/main" id="{AB4C8F32-107B-99B9-D736-C6EAFAA3CF29}"/>
                    </a:ext>
                  </a:extLst>
                </p:cNvPr>
                <p:cNvSpPr>
                  <a:spLocks noGrp="1" noRot="1" noMove="1" noResize="1" noEditPoints="1" noAdjustHandles="1" noChangeArrowheads="1" noChangeShapeType="1"/>
                </p:cNvSpPr>
                <p:nvPr/>
              </p:nvSpPr>
              <p:spPr bwMode="gray">
                <a:xfrm>
                  <a:off x="4929450" y="2132176"/>
                  <a:ext cx="639100" cy="1166570"/>
                </a:xfrm>
                <a:custGeom>
                  <a:avLst/>
                  <a:gdLst/>
                  <a:ahLst/>
                  <a:cxnLst>
                    <a:cxn ang="0">
                      <a:pos x="0" y="194"/>
                    </a:cxn>
                    <a:cxn ang="0">
                      <a:pos x="0" y="194"/>
                    </a:cxn>
                    <a:cxn ang="0">
                      <a:pos x="7" y="224"/>
                    </a:cxn>
                    <a:cxn ang="0">
                      <a:pos x="22" y="238"/>
                    </a:cxn>
                    <a:cxn ang="0">
                      <a:pos x="20" y="258"/>
                    </a:cxn>
                    <a:cxn ang="0">
                      <a:pos x="63" y="245"/>
                    </a:cxn>
                    <a:cxn ang="0">
                      <a:pos x="74" y="204"/>
                    </a:cxn>
                    <a:cxn ang="0">
                      <a:pos x="66" y="202"/>
                    </a:cxn>
                    <a:cxn ang="0">
                      <a:pos x="98" y="190"/>
                    </a:cxn>
                    <a:cxn ang="0">
                      <a:pos x="67" y="187"/>
                    </a:cxn>
                    <a:cxn ang="0">
                      <a:pos x="90" y="190"/>
                    </a:cxn>
                    <a:cxn ang="0">
                      <a:pos x="103" y="179"/>
                    </a:cxn>
                    <a:cxn ang="0">
                      <a:pos x="84" y="166"/>
                    </a:cxn>
                    <a:cxn ang="0">
                      <a:pos x="67" y="175"/>
                    </a:cxn>
                    <a:cxn ang="0">
                      <a:pos x="81" y="167"/>
                    </a:cxn>
                    <a:cxn ang="0">
                      <a:pos x="81" y="130"/>
                    </a:cxn>
                    <a:cxn ang="0">
                      <a:pos x="140" y="95"/>
                    </a:cxn>
                    <a:cxn ang="0">
                      <a:pos x="136" y="87"/>
                    </a:cxn>
                    <a:cxn ang="0">
                      <a:pos x="146" y="70"/>
                    </a:cxn>
                    <a:cxn ang="0">
                      <a:pos x="175" y="63"/>
                    </a:cxn>
                    <a:cxn ang="0">
                      <a:pos x="167" y="22"/>
                    </a:cxn>
                    <a:cxn ang="0">
                      <a:pos x="128" y="0"/>
                    </a:cxn>
                    <a:cxn ang="0">
                      <a:pos x="121" y="0"/>
                    </a:cxn>
                    <a:cxn ang="0">
                      <a:pos x="121" y="14"/>
                    </a:cxn>
                    <a:cxn ang="0">
                      <a:pos x="95" y="12"/>
                    </a:cxn>
                    <a:cxn ang="0">
                      <a:pos x="90" y="22"/>
                    </a:cxn>
                    <a:cxn ang="0">
                      <a:pos x="74" y="25"/>
                    </a:cxn>
                    <a:cxn ang="0">
                      <a:pos x="69" y="41"/>
                    </a:cxn>
                    <a:cxn ang="0">
                      <a:pos x="45" y="62"/>
                    </a:cxn>
                    <a:cxn ang="0">
                      <a:pos x="34" y="89"/>
                    </a:cxn>
                    <a:cxn ang="0">
                      <a:pos x="39" y="101"/>
                    </a:cxn>
                    <a:cxn ang="0">
                      <a:pos x="14" y="109"/>
                    </a:cxn>
                    <a:cxn ang="0">
                      <a:pos x="13" y="146"/>
                    </a:cxn>
                    <a:cxn ang="0">
                      <a:pos x="20" y="153"/>
                    </a:cxn>
                    <a:cxn ang="0">
                      <a:pos x="13" y="160"/>
                    </a:cxn>
                    <a:cxn ang="0">
                      <a:pos x="15" y="176"/>
                    </a:cxn>
                    <a:cxn ang="0">
                      <a:pos x="0" y="194"/>
                    </a:cxn>
                    <a:cxn ang="0">
                      <a:pos x="0" y="194"/>
                    </a:cxn>
                  </a:cxnLst>
                  <a:rect l="0" t="0" r="r" b="b"/>
                  <a:pathLst>
                    <a:path w="176" h="259">
                      <a:moveTo>
                        <a:pt x="0" y="194"/>
                      </a:moveTo>
                      <a:lnTo>
                        <a:pt x="0" y="194"/>
                      </a:lnTo>
                      <a:lnTo>
                        <a:pt x="7" y="224"/>
                      </a:lnTo>
                      <a:lnTo>
                        <a:pt x="22" y="238"/>
                      </a:lnTo>
                      <a:lnTo>
                        <a:pt x="20" y="258"/>
                      </a:lnTo>
                      <a:lnTo>
                        <a:pt x="63" y="245"/>
                      </a:lnTo>
                      <a:lnTo>
                        <a:pt x="74" y="204"/>
                      </a:lnTo>
                      <a:lnTo>
                        <a:pt x="66" y="202"/>
                      </a:lnTo>
                      <a:lnTo>
                        <a:pt x="98" y="190"/>
                      </a:lnTo>
                      <a:lnTo>
                        <a:pt x="67" y="187"/>
                      </a:lnTo>
                      <a:lnTo>
                        <a:pt x="90" y="190"/>
                      </a:lnTo>
                      <a:lnTo>
                        <a:pt x="103" y="179"/>
                      </a:lnTo>
                      <a:lnTo>
                        <a:pt x="84" y="166"/>
                      </a:lnTo>
                      <a:lnTo>
                        <a:pt x="67" y="175"/>
                      </a:lnTo>
                      <a:lnTo>
                        <a:pt x="81" y="167"/>
                      </a:lnTo>
                      <a:lnTo>
                        <a:pt x="81" y="130"/>
                      </a:lnTo>
                      <a:lnTo>
                        <a:pt x="140" y="95"/>
                      </a:lnTo>
                      <a:lnTo>
                        <a:pt x="136" y="87"/>
                      </a:lnTo>
                      <a:lnTo>
                        <a:pt x="146" y="70"/>
                      </a:lnTo>
                      <a:lnTo>
                        <a:pt x="175" y="63"/>
                      </a:lnTo>
                      <a:lnTo>
                        <a:pt x="167" y="22"/>
                      </a:lnTo>
                      <a:lnTo>
                        <a:pt x="128" y="0"/>
                      </a:lnTo>
                      <a:lnTo>
                        <a:pt x="121" y="0"/>
                      </a:lnTo>
                      <a:lnTo>
                        <a:pt x="121" y="14"/>
                      </a:lnTo>
                      <a:lnTo>
                        <a:pt x="95" y="12"/>
                      </a:lnTo>
                      <a:lnTo>
                        <a:pt x="90" y="22"/>
                      </a:lnTo>
                      <a:lnTo>
                        <a:pt x="74" y="25"/>
                      </a:lnTo>
                      <a:lnTo>
                        <a:pt x="69" y="41"/>
                      </a:lnTo>
                      <a:lnTo>
                        <a:pt x="45" y="62"/>
                      </a:lnTo>
                      <a:lnTo>
                        <a:pt x="34" y="89"/>
                      </a:lnTo>
                      <a:lnTo>
                        <a:pt x="39" y="101"/>
                      </a:lnTo>
                      <a:lnTo>
                        <a:pt x="14" y="109"/>
                      </a:lnTo>
                      <a:lnTo>
                        <a:pt x="13" y="146"/>
                      </a:lnTo>
                      <a:lnTo>
                        <a:pt x="20" y="153"/>
                      </a:lnTo>
                      <a:lnTo>
                        <a:pt x="13" y="160"/>
                      </a:lnTo>
                      <a:lnTo>
                        <a:pt x="15" y="176"/>
                      </a:lnTo>
                      <a:lnTo>
                        <a:pt x="0" y="194"/>
                      </a:lnTo>
                      <a:lnTo>
                        <a:pt x="0" y="194"/>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9" name="Spain">
                  <a:extLst>
                    <a:ext uri="{FF2B5EF4-FFF2-40B4-BE49-F238E27FC236}">
                      <a16:creationId xmlns:a16="http://schemas.microsoft.com/office/drawing/2014/main" id="{3B8693BF-5946-F67D-A3A1-A111F2E012C1}"/>
                    </a:ext>
                  </a:extLst>
                </p:cNvPr>
                <p:cNvSpPr>
                  <a:spLocks noGrp="1" noRot="1" noMove="1" noResize="1" noEditPoints="1" noAdjustHandles="1" noChangeArrowheads="1" noChangeShapeType="1"/>
                </p:cNvSpPr>
                <p:nvPr/>
              </p:nvSpPr>
              <p:spPr bwMode="gray">
                <a:xfrm>
                  <a:off x="3921473" y="4128208"/>
                  <a:ext cx="613366" cy="492354"/>
                </a:xfrm>
                <a:custGeom>
                  <a:avLst/>
                  <a:gdLst/>
                  <a:ahLst/>
                  <a:cxnLst>
                    <a:cxn ang="0">
                      <a:pos x="0" y="9"/>
                    </a:cxn>
                    <a:cxn ang="0">
                      <a:pos x="0" y="9"/>
                    </a:cxn>
                    <a:cxn ang="0">
                      <a:pos x="6" y="27"/>
                    </a:cxn>
                    <a:cxn ang="0">
                      <a:pos x="41" y="30"/>
                    </a:cxn>
                    <a:cxn ang="0">
                      <a:pos x="25" y="58"/>
                    </a:cxn>
                    <a:cxn ang="0">
                      <a:pos x="25" y="93"/>
                    </a:cxn>
                    <a:cxn ang="0">
                      <a:pos x="51" y="108"/>
                    </a:cxn>
                    <a:cxn ang="0">
                      <a:pos x="100" y="98"/>
                    </a:cxn>
                    <a:cxn ang="0">
                      <a:pos x="127" y="73"/>
                    </a:cxn>
                    <a:cxn ang="0">
                      <a:pos x="122" y="61"/>
                    </a:cxn>
                    <a:cxn ang="0">
                      <a:pos x="136" y="42"/>
                    </a:cxn>
                    <a:cxn ang="0">
                      <a:pos x="168" y="28"/>
                    </a:cxn>
                    <a:cxn ang="0">
                      <a:pos x="168" y="19"/>
                    </a:cxn>
                    <a:cxn ang="0">
                      <a:pos x="148" y="17"/>
                    </a:cxn>
                    <a:cxn ang="0">
                      <a:pos x="144" y="15"/>
                    </a:cxn>
                    <a:cxn ang="0">
                      <a:pos x="101" y="4"/>
                    </a:cxn>
                    <a:cxn ang="0">
                      <a:pos x="15" y="0"/>
                    </a:cxn>
                    <a:cxn ang="0">
                      <a:pos x="0" y="9"/>
                    </a:cxn>
                    <a:cxn ang="0">
                      <a:pos x="0" y="9"/>
                    </a:cxn>
                  </a:cxnLst>
                  <a:rect l="0" t="0" r="r" b="b"/>
                  <a:pathLst>
                    <a:path w="169" h="109">
                      <a:moveTo>
                        <a:pt x="0" y="9"/>
                      </a:moveTo>
                      <a:lnTo>
                        <a:pt x="0" y="9"/>
                      </a:lnTo>
                      <a:lnTo>
                        <a:pt x="6" y="27"/>
                      </a:lnTo>
                      <a:lnTo>
                        <a:pt x="41" y="30"/>
                      </a:lnTo>
                      <a:lnTo>
                        <a:pt x="25" y="58"/>
                      </a:lnTo>
                      <a:lnTo>
                        <a:pt x="25" y="93"/>
                      </a:lnTo>
                      <a:lnTo>
                        <a:pt x="51" y="108"/>
                      </a:lnTo>
                      <a:lnTo>
                        <a:pt x="100" y="98"/>
                      </a:lnTo>
                      <a:lnTo>
                        <a:pt x="127" y="73"/>
                      </a:lnTo>
                      <a:lnTo>
                        <a:pt x="122" y="61"/>
                      </a:lnTo>
                      <a:lnTo>
                        <a:pt x="136" y="42"/>
                      </a:lnTo>
                      <a:lnTo>
                        <a:pt x="168" y="28"/>
                      </a:lnTo>
                      <a:lnTo>
                        <a:pt x="168" y="19"/>
                      </a:lnTo>
                      <a:lnTo>
                        <a:pt x="148" y="17"/>
                      </a:lnTo>
                      <a:lnTo>
                        <a:pt x="144" y="15"/>
                      </a:lnTo>
                      <a:lnTo>
                        <a:pt x="101" y="4"/>
                      </a:lnTo>
                      <a:lnTo>
                        <a:pt x="15" y="0"/>
                      </a:lnTo>
                      <a:lnTo>
                        <a:pt x="0" y="9"/>
                      </a:lnTo>
                      <a:lnTo>
                        <a:pt x="0" y="9"/>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0" name="Slovenia">
                  <a:extLst>
                    <a:ext uri="{FF2B5EF4-FFF2-40B4-BE49-F238E27FC236}">
                      <a16:creationId xmlns:a16="http://schemas.microsoft.com/office/drawing/2014/main" id="{0C2B1E49-75D4-7180-5A92-2EFE436C3090}"/>
                    </a:ext>
                  </a:extLst>
                </p:cNvPr>
                <p:cNvSpPr>
                  <a:spLocks noGrp="1" noRot="1" noMove="1" noResize="1" noEditPoints="1" noAdjustHandles="1" noChangeArrowheads="1" noChangeShapeType="1"/>
                </p:cNvSpPr>
                <p:nvPr/>
              </p:nvSpPr>
              <p:spPr bwMode="gray">
                <a:xfrm>
                  <a:off x="5049551" y="3910860"/>
                  <a:ext cx="192579" cy="126962"/>
                </a:xfrm>
                <a:custGeom>
                  <a:avLst/>
                  <a:gdLst>
                    <a:gd name="connsiteX0" fmla="*/ 0 w 9922"/>
                    <a:gd name="connsiteY0" fmla="*/ 2308 h 9890"/>
                    <a:gd name="connsiteX1" fmla="*/ 0 w 9922"/>
                    <a:gd name="connsiteY1" fmla="*/ 2308 h 9890"/>
                    <a:gd name="connsiteX2" fmla="*/ 0 w 9922"/>
                    <a:gd name="connsiteY2" fmla="*/ 659 h 9890"/>
                    <a:gd name="connsiteX3" fmla="*/ 2558 w 9922"/>
                    <a:gd name="connsiteY3" fmla="*/ 0 h 9890"/>
                    <a:gd name="connsiteX4" fmla="*/ 4574 w 9922"/>
                    <a:gd name="connsiteY4" fmla="*/ 1868 h 9890"/>
                    <a:gd name="connsiteX5" fmla="*/ 6899 w 9922"/>
                    <a:gd name="connsiteY5" fmla="*/ 1429 h 9890"/>
                    <a:gd name="connsiteX6" fmla="*/ 9612 w 9922"/>
                    <a:gd name="connsiteY6" fmla="*/ 4505 h 9890"/>
                    <a:gd name="connsiteX7" fmla="*/ 9225 w 9922"/>
                    <a:gd name="connsiteY7" fmla="*/ 7692 h 9890"/>
                    <a:gd name="connsiteX8" fmla="*/ 9922 w 9922"/>
                    <a:gd name="connsiteY8" fmla="*/ 9121 h 9890"/>
                    <a:gd name="connsiteX9" fmla="*/ 7829 w 9922"/>
                    <a:gd name="connsiteY9" fmla="*/ 9890 h 9890"/>
                    <a:gd name="connsiteX10" fmla="*/ 6822 w 9922"/>
                    <a:gd name="connsiteY10" fmla="*/ 7033 h 9890"/>
                    <a:gd name="connsiteX11" fmla="*/ 5969 w 9922"/>
                    <a:gd name="connsiteY11" fmla="*/ 8242 h 9890"/>
                    <a:gd name="connsiteX12" fmla="*/ 2558 w 9922"/>
                    <a:gd name="connsiteY12" fmla="*/ 5604 h 9890"/>
                    <a:gd name="connsiteX13" fmla="*/ 930 w 9922"/>
                    <a:gd name="connsiteY13" fmla="*/ 2747 h 9890"/>
                    <a:gd name="connsiteX14" fmla="*/ 78 w 9922"/>
                    <a:gd name="connsiteY14" fmla="*/ 3407 h 9890"/>
                    <a:gd name="connsiteX15" fmla="*/ 0 w 9922"/>
                    <a:gd name="connsiteY15" fmla="*/ 2308 h 9890"/>
                    <a:gd name="connsiteX16" fmla="*/ 0 w 9922"/>
                    <a:gd name="connsiteY16" fmla="*/ 2308 h 9890"/>
                    <a:gd name="connsiteX0" fmla="*/ 0 w 9688"/>
                    <a:gd name="connsiteY0" fmla="*/ 2334 h 10000"/>
                    <a:gd name="connsiteX1" fmla="*/ 0 w 9688"/>
                    <a:gd name="connsiteY1" fmla="*/ 2334 h 10000"/>
                    <a:gd name="connsiteX2" fmla="*/ 0 w 9688"/>
                    <a:gd name="connsiteY2" fmla="*/ 666 h 10000"/>
                    <a:gd name="connsiteX3" fmla="*/ 2578 w 9688"/>
                    <a:gd name="connsiteY3" fmla="*/ 0 h 10000"/>
                    <a:gd name="connsiteX4" fmla="*/ 4610 w 9688"/>
                    <a:gd name="connsiteY4" fmla="*/ 1889 h 10000"/>
                    <a:gd name="connsiteX5" fmla="*/ 6953 w 9688"/>
                    <a:gd name="connsiteY5" fmla="*/ 1445 h 10000"/>
                    <a:gd name="connsiteX6" fmla="*/ 9688 w 9688"/>
                    <a:gd name="connsiteY6" fmla="*/ 4555 h 10000"/>
                    <a:gd name="connsiteX7" fmla="*/ 9298 w 9688"/>
                    <a:gd name="connsiteY7" fmla="*/ 7778 h 10000"/>
                    <a:gd name="connsiteX8" fmla="*/ 7891 w 9688"/>
                    <a:gd name="connsiteY8" fmla="*/ 10000 h 10000"/>
                    <a:gd name="connsiteX9" fmla="*/ 6876 w 9688"/>
                    <a:gd name="connsiteY9" fmla="*/ 7111 h 10000"/>
                    <a:gd name="connsiteX10" fmla="*/ 6016 w 9688"/>
                    <a:gd name="connsiteY10" fmla="*/ 8334 h 10000"/>
                    <a:gd name="connsiteX11" fmla="*/ 2578 w 9688"/>
                    <a:gd name="connsiteY11" fmla="*/ 5666 h 10000"/>
                    <a:gd name="connsiteX12" fmla="*/ 937 w 9688"/>
                    <a:gd name="connsiteY12" fmla="*/ 2778 h 10000"/>
                    <a:gd name="connsiteX13" fmla="*/ 79 w 9688"/>
                    <a:gd name="connsiteY13" fmla="*/ 3445 h 10000"/>
                    <a:gd name="connsiteX14" fmla="*/ 0 w 9688"/>
                    <a:gd name="connsiteY14" fmla="*/ 2334 h 10000"/>
                    <a:gd name="connsiteX15" fmla="*/ 0 w 9688"/>
                    <a:gd name="connsiteY15" fmla="*/ 2334 h 10000"/>
                    <a:gd name="connsiteX0" fmla="*/ 0 w 10000"/>
                    <a:gd name="connsiteY0" fmla="*/ 2334 h 8334"/>
                    <a:gd name="connsiteX1" fmla="*/ 0 w 10000"/>
                    <a:gd name="connsiteY1" fmla="*/ 2334 h 8334"/>
                    <a:gd name="connsiteX2" fmla="*/ 0 w 10000"/>
                    <a:gd name="connsiteY2" fmla="*/ 666 h 8334"/>
                    <a:gd name="connsiteX3" fmla="*/ 2661 w 10000"/>
                    <a:gd name="connsiteY3" fmla="*/ 0 h 8334"/>
                    <a:gd name="connsiteX4" fmla="*/ 4758 w 10000"/>
                    <a:gd name="connsiteY4" fmla="*/ 1889 h 8334"/>
                    <a:gd name="connsiteX5" fmla="*/ 7177 w 10000"/>
                    <a:gd name="connsiteY5" fmla="*/ 1445 h 8334"/>
                    <a:gd name="connsiteX6" fmla="*/ 10000 w 10000"/>
                    <a:gd name="connsiteY6" fmla="*/ 4555 h 8334"/>
                    <a:gd name="connsiteX7" fmla="*/ 9597 w 10000"/>
                    <a:gd name="connsiteY7" fmla="*/ 7778 h 8334"/>
                    <a:gd name="connsiteX8" fmla="*/ 7097 w 10000"/>
                    <a:gd name="connsiteY8" fmla="*/ 7111 h 8334"/>
                    <a:gd name="connsiteX9" fmla="*/ 6210 w 10000"/>
                    <a:gd name="connsiteY9" fmla="*/ 8334 h 8334"/>
                    <a:gd name="connsiteX10" fmla="*/ 2661 w 10000"/>
                    <a:gd name="connsiteY10" fmla="*/ 5666 h 8334"/>
                    <a:gd name="connsiteX11" fmla="*/ 967 w 10000"/>
                    <a:gd name="connsiteY11" fmla="*/ 2778 h 8334"/>
                    <a:gd name="connsiteX12" fmla="*/ 82 w 10000"/>
                    <a:gd name="connsiteY12" fmla="*/ 3445 h 8334"/>
                    <a:gd name="connsiteX13" fmla="*/ 0 w 10000"/>
                    <a:gd name="connsiteY13" fmla="*/ 2334 h 8334"/>
                    <a:gd name="connsiteX14" fmla="*/ 0 w 10000"/>
                    <a:gd name="connsiteY14" fmla="*/ 2334 h 8334"/>
                    <a:gd name="connsiteX0" fmla="*/ 0 w 10000"/>
                    <a:gd name="connsiteY0" fmla="*/ 2801 h 10000"/>
                    <a:gd name="connsiteX1" fmla="*/ 0 w 10000"/>
                    <a:gd name="connsiteY1" fmla="*/ 2801 h 10000"/>
                    <a:gd name="connsiteX2" fmla="*/ 0 w 10000"/>
                    <a:gd name="connsiteY2" fmla="*/ 799 h 10000"/>
                    <a:gd name="connsiteX3" fmla="*/ 2661 w 10000"/>
                    <a:gd name="connsiteY3" fmla="*/ 0 h 10000"/>
                    <a:gd name="connsiteX4" fmla="*/ 4758 w 10000"/>
                    <a:gd name="connsiteY4" fmla="*/ 2267 h 10000"/>
                    <a:gd name="connsiteX5" fmla="*/ 7177 w 10000"/>
                    <a:gd name="connsiteY5" fmla="*/ 1734 h 10000"/>
                    <a:gd name="connsiteX6" fmla="*/ 10000 w 10000"/>
                    <a:gd name="connsiteY6" fmla="*/ 5466 h 10000"/>
                    <a:gd name="connsiteX7" fmla="*/ 7097 w 10000"/>
                    <a:gd name="connsiteY7" fmla="*/ 8533 h 10000"/>
                    <a:gd name="connsiteX8" fmla="*/ 6210 w 10000"/>
                    <a:gd name="connsiteY8" fmla="*/ 10000 h 10000"/>
                    <a:gd name="connsiteX9" fmla="*/ 2661 w 10000"/>
                    <a:gd name="connsiteY9" fmla="*/ 6799 h 10000"/>
                    <a:gd name="connsiteX10" fmla="*/ 967 w 10000"/>
                    <a:gd name="connsiteY10" fmla="*/ 3333 h 10000"/>
                    <a:gd name="connsiteX11" fmla="*/ 82 w 10000"/>
                    <a:gd name="connsiteY11" fmla="*/ 4134 h 10000"/>
                    <a:gd name="connsiteX12" fmla="*/ 0 w 10000"/>
                    <a:gd name="connsiteY12" fmla="*/ 2801 h 10000"/>
                    <a:gd name="connsiteX13" fmla="*/ 0 w 10000"/>
                    <a:gd name="connsiteY13" fmla="*/ 2801 h 10000"/>
                    <a:gd name="connsiteX0" fmla="*/ 0 w 10000"/>
                    <a:gd name="connsiteY0" fmla="*/ 2801 h 10000"/>
                    <a:gd name="connsiteX1" fmla="*/ 0 w 10000"/>
                    <a:gd name="connsiteY1" fmla="*/ 2801 h 10000"/>
                    <a:gd name="connsiteX2" fmla="*/ 0 w 10000"/>
                    <a:gd name="connsiteY2" fmla="*/ 799 h 10000"/>
                    <a:gd name="connsiteX3" fmla="*/ 2661 w 10000"/>
                    <a:gd name="connsiteY3" fmla="*/ 0 h 10000"/>
                    <a:gd name="connsiteX4" fmla="*/ 4758 w 10000"/>
                    <a:gd name="connsiteY4" fmla="*/ 2267 h 10000"/>
                    <a:gd name="connsiteX5" fmla="*/ 7177 w 10000"/>
                    <a:gd name="connsiteY5" fmla="*/ 1734 h 10000"/>
                    <a:gd name="connsiteX6" fmla="*/ 10000 w 10000"/>
                    <a:gd name="connsiteY6" fmla="*/ 5466 h 10000"/>
                    <a:gd name="connsiteX7" fmla="*/ 7097 w 10000"/>
                    <a:gd name="connsiteY7" fmla="*/ 8533 h 10000"/>
                    <a:gd name="connsiteX8" fmla="*/ 6210 w 10000"/>
                    <a:gd name="connsiteY8" fmla="*/ 10000 h 10000"/>
                    <a:gd name="connsiteX9" fmla="*/ 2661 w 10000"/>
                    <a:gd name="connsiteY9" fmla="*/ 6799 h 10000"/>
                    <a:gd name="connsiteX10" fmla="*/ 967 w 10000"/>
                    <a:gd name="connsiteY10" fmla="*/ 3333 h 10000"/>
                    <a:gd name="connsiteX11" fmla="*/ 82 w 10000"/>
                    <a:gd name="connsiteY11" fmla="*/ 4134 h 10000"/>
                    <a:gd name="connsiteX12" fmla="*/ 0 w 10000"/>
                    <a:gd name="connsiteY12" fmla="*/ 2801 h 10000"/>
                    <a:gd name="connsiteX13" fmla="*/ 0 w 10000"/>
                    <a:gd name="connsiteY13" fmla="*/ 2801 h 10000"/>
                    <a:gd name="connsiteX0" fmla="*/ 0 w 10000"/>
                    <a:gd name="connsiteY0" fmla="*/ 2801 h 10000"/>
                    <a:gd name="connsiteX1" fmla="*/ 0 w 10000"/>
                    <a:gd name="connsiteY1" fmla="*/ 2801 h 10000"/>
                    <a:gd name="connsiteX2" fmla="*/ 0 w 10000"/>
                    <a:gd name="connsiteY2" fmla="*/ 799 h 10000"/>
                    <a:gd name="connsiteX3" fmla="*/ 2661 w 10000"/>
                    <a:gd name="connsiteY3" fmla="*/ 0 h 10000"/>
                    <a:gd name="connsiteX4" fmla="*/ 4758 w 10000"/>
                    <a:gd name="connsiteY4" fmla="*/ 2267 h 10000"/>
                    <a:gd name="connsiteX5" fmla="*/ 7177 w 10000"/>
                    <a:gd name="connsiteY5" fmla="*/ 1734 h 10000"/>
                    <a:gd name="connsiteX6" fmla="*/ 10000 w 10000"/>
                    <a:gd name="connsiteY6" fmla="*/ 5466 h 10000"/>
                    <a:gd name="connsiteX7" fmla="*/ 6210 w 10000"/>
                    <a:gd name="connsiteY7" fmla="*/ 10000 h 10000"/>
                    <a:gd name="connsiteX8" fmla="*/ 2661 w 10000"/>
                    <a:gd name="connsiteY8" fmla="*/ 6799 h 10000"/>
                    <a:gd name="connsiteX9" fmla="*/ 967 w 10000"/>
                    <a:gd name="connsiteY9" fmla="*/ 3333 h 10000"/>
                    <a:gd name="connsiteX10" fmla="*/ 82 w 10000"/>
                    <a:gd name="connsiteY10" fmla="*/ 4134 h 10000"/>
                    <a:gd name="connsiteX11" fmla="*/ 0 w 10000"/>
                    <a:gd name="connsiteY11" fmla="*/ 2801 h 10000"/>
                    <a:gd name="connsiteX12" fmla="*/ 0 w 10000"/>
                    <a:gd name="connsiteY12" fmla="*/ 2801 h 10000"/>
                    <a:gd name="connsiteX0" fmla="*/ 0 w 10000"/>
                    <a:gd name="connsiteY0" fmla="*/ 2801 h 6882"/>
                    <a:gd name="connsiteX1" fmla="*/ 0 w 10000"/>
                    <a:gd name="connsiteY1" fmla="*/ 2801 h 6882"/>
                    <a:gd name="connsiteX2" fmla="*/ 0 w 10000"/>
                    <a:gd name="connsiteY2" fmla="*/ 799 h 6882"/>
                    <a:gd name="connsiteX3" fmla="*/ 2661 w 10000"/>
                    <a:gd name="connsiteY3" fmla="*/ 0 h 6882"/>
                    <a:gd name="connsiteX4" fmla="*/ 4758 w 10000"/>
                    <a:gd name="connsiteY4" fmla="*/ 2267 h 6882"/>
                    <a:gd name="connsiteX5" fmla="*/ 7177 w 10000"/>
                    <a:gd name="connsiteY5" fmla="*/ 1734 h 6882"/>
                    <a:gd name="connsiteX6" fmla="*/ 10000 w 10000"/>
                    <a:gd name="connsiteY6" fmla="*/ 5466 h 6882"/>
                    <a:gd name="connsiteX7" fmla="*/ 2661 w 10000"/>
                    <a:gd name="connsiteY7" fmla="*/ 6799 h 6882"/>
                    <a:gd name="connsiteX8" fmla="*/ 967 w 10000"/>
                    <a:gd name="connsiteY8" fmla="*/ 3333 h 6882"/>
                    <a:gd name="connsiteX9" fmla="*/ 82 w 10000"/>
                    <a:gd name="connsiteY9" fmla="*/ 4134 h 6882"/>
                    <a:gd name="connsiteX10" fmla="*/ 0 w 10000"/>
                    <a:gd name="connsiteY10" fmla="*/ 2801 h 6882"/>
                    <a:gd name="connsiteX11" fmla="*/ 0 w 10000"/>
                    <a:gd name="connsiteY11" fmla="*/ 2801 h 6882"/>
                    <a:gd name="connsiteX0" fmla="*/ 0 w 7177"/>
                    <a:gd name="connsiteY0" fmla="*/ 4070 h 9879"/>
                    <a:gd name="connsiteX1" fmla="*/ 0 w 7177"/>
                    <a:gd name="connsiteY1" fmla="*/ 4070 h 9879"/>
                    <a:gd name="connsiteX2" fmla="*/ 0 w 7177"/>
                    <a:gd name="connsiteY2" fmla="*/ 1161 h 9879"/>
                    <a:gd name="connsiteX3" fmla="*/ 2661 w 7177"/>
                    <a:gd name="connsiteY3" fmla="*/ 0 h 9879"/>
                    <a:gd name="connsiteX4" fmla="*/ 4758 w 7177"/>
                    <a:gd name="connsiteY4" fmla="*/ 3294 h 9879"/>
                    <a:gd name="connsiteX5" fmla="*/ 7177 w 7177"/>
                    <a:gd name="connsiteY5" fmla="*/ 2520 h 9879"/>
                    <a:gd name="connsiteX6" fmla="*/ 2661 w 7177"/>
                    <a:gd name="connsiteY6" fmla="*/ 9879 h 9879"/>
                    <a:gd name="connsiteX7" fmla="*/ 967 w 7177"/>
                    <a:gd name="connsiteY7" fmla="*/ 4843 h 9879"/>
                    <a:gd name="connsiteX8" fmla="*/ 82 w 7177"/>
                    <a:gd name="connsiteY8" fmla="*/ 6007 h 9879"/>
                    <a:gd name="connsiteX9" fmla="*/ 0 w 7177"/>
                    <a:gd name="connsiteY9" fmla="*/ 4070 h 9879"/>
                    <a:gd name="connsiteX10" fmla="*/ 0 w 7177"/>
                    <a:gd name="connsiteY10" fmla="*/ 4070 h 9879"/>
                    <a:gd name="connsiteX0" fmla="*/ 0 w 6630"/>
                    <a:gd name="connsiteY0" fmla="*/ 4120 h 10000"/>
                    <a:gd name="connsiteX1" fmla="*/ 0 w 6630"/>
                    <a:gd name="connsiteY1" fmla="*/ 4120 h 10000"/>
                    <a:gd name="connsiteX2" fmla="*/ 0 w 6630"/>
                    <a:gd name="connsiteY2" fmla="*/ 1175 h 10000"/>
                    <a:gd name="connsiteX3" fmla="*/ 3708 w 6630"/>
                    <a:gd name="connsiteY3" fmla="*/ 0 h 10000"/>
                    <a:gd name="connsiteX4" fmla="*/ 6630 w 6630"/>
                    <a:gd name="connsiteY4" fmla="*/ 3334 h 10000"/>
                    <a:gd name="connsiteX5" fmla="*/ 3708 w 6630"/>
                    <a:gd name="connsiteY5" fmla="*/ 10000 h 10000"/>
                    <a:gd name="connsiteX6" fmla="*/ 1347 w 6630"/>
                    <a:gd name="connsiteY6" fmla="*/ 4902 h 10000"/>
                    <a:gd name="connsiteX7" fmla="*/ 114 w 6630"/>
                    <a:gd name="connsiteY7" fmla="*/ 6081 h 10000"/>
                    <a:gd name="connsiteX8" fmla="*/ 0 w 6630"/>
                    <a:gd name="connsiteY8" fmla="*/ 4120 h 10000"/>
                    <a:gd name="connsiteX9" fmla="*/ 0 w 6630"/>
                    <a:gd name="connsiteY9" fmla="*/ 4120 h 10000"/>
                    <a:gd name="connsiteX0" fmla="*/ 0 w 10000"/>
                    <a:gd name="connsiteY0" fmla="*/ 4120 h 10000"/>
                    <a:gd name="connsiteX1" fmla="*/ 0 w 10000"/>
                    <a:gd name="connsiteY1" fmla="*/ 4120 h 10000"/>
                    <a:gd name="connsiteX2" fmla="*/ 0 w 10000"/>
                    <a:gd name="connsiteY2" fmla="*/ 1175 h 10000"/>
                    <a:gd name="connsiteX3" fmla="*/ 5593 w 10000"/>
                    <a:gd name="connsiteY3" fmla="*/ 0 h 10000"/>
                    <a:gd name="connsiteX4" fmla="*/ 7415 w 10000"/>
                    <a:gd name="connsiteY4" fmla="*/ 1638 h 10000"/>
                    <a:gd name="connsiteX5" fmla="*/ 10000 w 10000"/>
                    <a:gd name="connsiteY5" fmla="*/ 3334 h 10000"/>
                    <a:gd name="connsiteX6" fmla="*/ 5593 w 10000"/>
                    <a:gd name="connsiteY6" fmla="*/ 10000 h 10000"/>
                    <a:gd name="connsiteX7" fmla="*/ 2032 w 10000"/>
                    <a:gd name="connsiteY7" fmla="*/ 4902 h 10000"/>
                    <a:gd name="connsiteX8" fmla="*/ 172 w 10000"/>
                    <a:gd name="connsiteY8" fmla="*/ 6081 h 10000"/>
                    <a:gd name="connsiteX9" fmla="*/ 0 w 10000"/>
                    <a:gd name="connsiteY9" fmla="*/ 4120 h 10000"/>
                    <a:gd name="connsiteX10" fmla="*/ 0 w 10000"/>
                    <a:gd name="connsiteY10" fmla="*/ 4120 h 10000"/>
                    <a:gd name="connsiteX0" fmla="*/ 0 w 7684"/>
                    <a:gd name="connsiteY0" fmla="*/ 4120 h 10000"/>
                    <a:gd name="connsiteX1" fmla="*/ 0 w 7684"/>
                    <a:gd name="connsiteY1" fmla="*/ 4120 h 10000"/>
                    <a:gd name="connsiteX2" fmla="*/ 0 w 7684"/>
                    <a:gd name="connsiteY2" fmla="*/ 1175 h 10000"/>
                    <a:gd name="connsiteX3" fmla="*/ 5593 w 7684"/>
                    <a:gd name="connsiteY3" fmla="*/ 0 h 10000"/>
                    <a:gd name="connsiteX4" fmla="*/ 7415 w 7684"/>
                    <a:gd name="connsiteY4" fmla="*/ 1638 h 10000"/>
                    <a:gd name="connsiteX5" fmla="*/ 7684 w 7684"/>
                    <a:gd name="connsiteY5" fmla="*/ 4839 h 10000"/>
                    <a:gd name="connsiteX6" fmla="*/ 5593 w 7684"/>
                    <a:gd name="connsiteY6" fmla="*/ 10000 h 10000"/>
                    <a:gd name="connsiteX7" fmla="*/ 2032 w 7684"/>
                    <a:gd name="connsiteY7" fmla="*/ 4902 h 10000"/>
                    <a:gd name="connsiteX8" fmla="*/ 172 w 7684"/>
                    <a:gd name="connsiteY8" fmla="*/ 6081 h 10000"/>
                    <a:gd name="connsiteX9" fmla="*/ 0 w 7684"/>
                    <a:gd name="connsiteY9" fmla="*/ 4120 h 10000"/>
                    <a:gd name="connsiteX10" fmla="*/ 0 w 7684"/>
                    <a:gd name="connsiteY10" fmla="*/ 4120 h 10000"/>
                    <a:gd name="connsiteX0" fmla="*/ 0 w 10000"/>
                    <a:gd name="connsiteY0" fmla="*/ 4120 h 10000"/>
                    <a:gd name="connsiteX1" fmla="*/ 0 w 10000"/>
                    <a:gd name="connsiteY1" fmla="*/ 4120 h 10000"/>
                    <a:gd name="connsiteX2" fmla="*/ 0 w 10000"/>
                    <a:gd name="connsiteY2" fmla="*/ 1175 h 10000"/>
                    <a:gd name="connsiteX3" fmla="*/ 7279 w 10000"/>
                    <a:gd name="connsiteY3" fmla="*/ 0 h 10000"/>
                    <a:gd name="connsiteX4" fmla="*/ 9650 w 10000"/>
                    <a:gd name="connsiteY4" fmla="*/ 1638 h 10000"/>
                    <a:gd name="connsiteX5" fmla="*/ 10000 w 10000"/>
                    <a:gd name="connsiteY5" fmla="*/ 4839 h 10000"/>
                    <a:gd name="connsiteX6" fmla="*/ 8519 w 10000"/>
                    <a:gd name="connsiteY6" fmla="*/ 8161 h 10000"/>
                    <a:gd name="connsiteX7" fmla="*/ 7279 w 10000"/>
                    <a:gd name="connsiteY7" fmla="*/ 10000 h 10000"/>
                    <a:gd name="connsiteX8" fmla="*/ 2644 w 10000"/>
                    <a:gd name="connsiteY8" fmla="*/ 4902 h 10000"/>
                    <a:gd name="connsiteX9" fmla="*/ 224 w 10000"/>
                    <a:gd name="connsiteY9" fmla="*/ 6081 h 10000"/>
                    <a:gd name="connsiteX10" fmla="*/ 0 w 10000"/>
                    <a:gd name="connsiteY10" fmla="*/ 4120 h 10000"/>
                    <a:gd name="connsiteX11" fmla="*/ 0 w 10000"/>
                    <a:gd name="connsiteY11" fmla="*/ 4120 h 10000"/>
                    <a:gd name="connsiteX0" fmla="*/ 0 w 10000"/>
                    <a:gd name="connsiteY0" fmla="*/ 4120 h 10000"/>
                    <a:gd name="connsiteX1" fmla="*/ 0 w 10000"/>
                    <a:gd name="connsiteY1" fmla="*/ 4120 h 10000"/>
                    <a:gd name="connsiteX2" fmla="*/ 0 w 10000"/>
                    <a:gd name="connsiteY2" fmla="*/ 1175 h 10000"/>
                    <a:gd name="connsiteX3" fmla="*/ 7279 w 10000"/>
                    <a:gd name="connsiteY3" fmla="*/ 0 h 10000"/>
                    <a:gd name="connsiteX4" fmla="*/ 9650 w 10000"/>
                    <a:gd name="connsiteY4" fmla="*/ 1638 h 10000"/>
                    <a:gd name="connsiteX5" fmla="*/ 10000 w 10000"/>
                    <a:gd name="connsiteY5" fmla="*/ 4839 h 10000"/>
                    <a:gd name="connsiteX6" fmla="*/ 7012 w 10000"/>
                    <a:gd name="connsiteY6" fmla="*/ 6656 h 10000"/>
                    <a:gd name="connsiteX7" fmla="*/ 7279 w 10000"/>
                    <a:gd name="connsiteY7" fmla="*/ 10000 h 10000"/>
                    <a:gd name="connsiteX8" fmla="*/ 2644 w 10000"/>
                    <a:gd name="connsiteY8" fmla="*/ 4902 h 10000"/>
                    <a:gd name="connsiteX9" fmla="*/ 224 w 10000"/>
                    <a:gd name="connsiteY9" fmla="*/ 6081 h 10000"/>
                    <a:gd name="connsiteX10" fmla="*/ 0 w 10000"/>
                    <a:gd name="connsiteY10" fmla="*/ 4120 h 10000"/>
                    <a:gd name="connsiteX11" fmla="*/ 0 w 10000"/>
                    <a:gd name="connsiteY11" fmla="*/ 4120 h 10000"/>
                    <a:gd name="connsiteX0" fmla="*/ 0 w 10000"/>
                    <a:gd name="connsiteY0" fmla="*/ 4120 h 6656"/>
                    <a:gd name="connsiteX1" fmla="*/ 0 w 10000"/>
                    <a:gd name="connsiteY1" fmla="*/ 4120 h 6656"/>
                    <a:gd name="connsiteX2" fmla="*/ 0 w 10000"/>
                    <a:gd name="connsiteY2" fmla="*/ 1175 h 6656"/>
                    <a:gd name="connsiteX3" fmla="*/ 7279 w 10000"/>
                    <a:gd name="connsiteY3" fmla="*/ 0 h 6656"/>
                    <a:gd name="connsiteX4" fmla="*/ 9650 w 10000"/>
                    <a:gd name="connsiteY4" fmla="*/ 1638 h 6656"/>
                    <a:gd name="connsiteX5" fmla="*/ 10000 w 10000"/>
                    <a:gd name="connsiteY5" fmla="*/ 4839 h 6656"/>
                    <a:gd name="connsiteX6" fmla="*/ 7012 w 10000"/>
                    <a:gd name="connsiteY6" fmla="*/ 6656 h 6656"/>
                    <a:gd name="connsiteX7" fmla="*/ 2644 w 10000"/>
                    <a:gd name="connsiteY7" fmla="*/ 4902 h 6656"/>
                    <a:gd name="connsiteX8" fmla="*/ 224 w 10000"/>
                    <a:gd name="connsiteY8" fmla="*/ 6081 h 6656"/>
                    <a:gd name="connsiteX9" fmla="*/ 0 w 10000"/>
                    <a:gd name="connsiteY9" fmla="*/ 4120 h 6656"/>
                    <a:gd name="connsiteX10" fmla="*/ 0 w 10000"/>
                    <a:gd name="connsiteY10" fmla="*/ 4120 h 6656"/>
                    <a:gd name="connsiteX0" fmla="*/ 0 w 10000"/>
                    <a:gd name="connsiteY0" fmla="*/ 6190 h 10000"/>
                    <a:gd name="connsiteX1" fmla="*/ 0 w 10000"/>
                    <a:gd name="connsiteY1" fmla="*/ 6190 h 10000"/>
                    <a:gd name="connsiteX2" fmla="*/ 0 w 10000"/>
                    <a:gd name="connsiteY2" fmla="*/ 1765 h 10000"/>
                    <a:gd name="connsiteX3" fmla="*/ 7279 w 10000"/>
                    <a:gd name="connsiteY3" fmla="*/ 0 h 10000"/>
                    <a:gd name="connsiteX4" fmla="*/ 9650 w 10000"/>
                    <a:gd name="connsiteY4" fmla="*/ 2461 h 10000"/>
                    <a:gd name="connsiteX5" fmla="*/ 10000 w 10000"/>
                    <a:gd name="connsiteY5" fmla="*/ 7270 h 10000"/>
                    <a:gd name="connsiteX6" fmla="*/ 7012 w 10000"/>
                    <a:gd name="connsiteY6" fmla="*/ 10000 h 10000"/>
                    <a:gd name="connsiteX7" fmla="*/ 4751 w 10000"/>
                    <a:gd name="connsiteY7" fmla="*/ 9246 h 10000"/>
                    <a:gd name="connsiteX8" fmla="*/ 2644 w 10000"/>
                    <a:gd name="connsiteY8" fmla="*/ 7365 h 10000"/>
                    <a:gd name="connsiteX9" fmla="*/ 224 w 10000"/>
                    <a:gd name="connsiteY9" fmla="*/ 9136 h 10000"/>
                    <a:gd name="connsiteX10" fmla="*/ 0 w 10000"/>
                    <a:gd name="connsiteY10" fmla="*/ 6190 h 10000"/>
                    <a:gd name="connsiteX11" fmla="*/ 0 w 10000"/>
                    <a:gd name="connsiteY11" fmla="*/ 6190 h 10000"/>
                    <a:gd name="connsiteX0" fmla="*/ 0 w 10000"/>
                    <a:gd name="connsiteY0" fmla="*/ 6190 h 10000"/>
                    <a:gd name="connsiteX1" fmla="*/ 0 w 10000"/>
                    <a:gd name="connsiteY1" fmla="*/ 6190 h 10000"/>
                    <a:gd name="connsiteX2" fmla="*/ 0 w 10000"/>
                    <a:gd name="connsiteY2" fmla="*/ 1765 h 10000"/>
                    <a:gd name="connsiteX3" fmla="*/ 7279 w 10000"/>
                    <a:gd name="connsiteY3" fmla="*/ 0 h 10000"/>
                    <a:gd name="connsiteX4" fmla="*/ 9650 w 10000"/>
                    <a:gd name="connsiteY4" fmla="*/ 2461 h 10000"/>
                    <a:gd name="connsiteX5" fmla="*/ 10000 w 10000"/>
                    <a:gd name="connsiteY5" fmla="*/ 7270 h 10000"/>
                    <a:gd name="connsiteX6" fmla="*/ 7012 w 10000"/>
                    <a:gd name="connsiteY6" fmla="*/ 10000 h 10000"/>
                    <a:gd name="connsiteX7" fmla="*/ 5505 w 10000"/>
                    <a:gd name="connsiteY7" fmla="*/ 7738 h 10000"/>
                    <a:gd name="connsiteX8" fmla="*/ 2644 w 10000"/>
                    <a:gd name="connsiteY8" fmla="*/ 7365 h 10000"/>
                    <a:gd name="connsiteX9" fmla="*/ 224 w 10000"/>
                    <a:gd name="connsiteY9" fmla="*/ 9136 h 10000"/>
                    <a:gd name="connsiteX10" fmla="*/ 0 w 10000"/>
                    <a:gd name="connsiteY10" fmla="*/ 6190 h 10000"/>
                    <a:gd name="connsiteX11" fmla="*/ 0 w 10000"/>
                    <a:gd name="connsiteY11" fmla="*/ 6190 h 10000"/>
                    <a:gd name="connsiteX0" fmla="*/ 0 w 10000"/>
                    <a:gd name="connsiteY0" fmla="*/ 6190 h 9136"/>
                    <a:gd name="connsiteX1" fmla="*/ 0 w 10000"/>
                    <a:gd name="connsiteY1" fmla="*/ 6190 h 9136"/>
                    <a:gd name="connsiteX2" fmla="*/ 0 w 10000"/>
                    <a:gd name="connsiteY2" fmla="*/ 1765 h 9136"/>
                    <a:gd name="connsiteX3" fmla="*/ 7279 w 10000"/>
                    <a:gd name="connsiteY3" fmla="*/ 0 h 9136"/>
                    <a:gd name="connsiteX4" fmla="*/ 9650 w 10000"/>
                    <a:gd name="connsiteY4" fmla="*/ 2461 h 9136"/>
                    <a:gd name="connsiteX5" fmla="*/ 10000 w 10000"/>
                    <a:gd name="connsiteY5" fmla="*/ 7270 h 9136"/>
                    <a:gd name="connsiteX6" fmla="*/ 5505 w 10000"/>
                    <a:gd name="connsiteY6" fmla="*/ 7738 h 9136"/>
                    <a:gd name="connsiteX7" fmla="*/ 2644 w 10000"/>
                    <a:gd name="connsiteY7" fmla="*/ 7365 h 9136"/>
                    <a:gd name="connsiteX8" fmla="*/ 224 w 10000"/>
                    <a:gd name="connsiteY8" fmla="*/ 9136 h 9136"/>
                    <a:gd name="connsiteX9" fmla="*/ 0 w 10000"/>
                    <a:gd name="connsiteY9" fmla="*/ 6190 h 9136"/>
                    <a:gd name="connsiteX10" fmla="*/ 0 w 10000"/>
                    <a:gd name="connsiteY10" fmla="*/ 6190 h 9136"/>
                    <a:gd name="connsiteX0" fmla="*/ 0 w 11539"/>
                    <a:gd name="connsiteY0" fmla="*/ 6775 h 10000"/>
                    <a:gd name="connsiteX1" fmla="*/ 0 w 11539"/>
                    <a:gd name="connsiteY1" fmla="*/ 6775 h 10000"/>
                    <a:gd name="connsiteX2" fmla="*/ 0 w 11539"/>
                    <a:gd name="connsiteY2" fmla="*/ 1932 h 10000"/>
                    <a:gd name="connsiteX3" fmla="*/ 7279 w 11539"/>
                    <a:gd name="connsiteY3" fmla="*/ 0 h 10000"/>
                    <a:gd name="connsiteX4" fmla="*/ 11534 w 11539"/>
                    <a:gd name="connsiteY4" fmla="*/ 4138 h 10000"/>
                    <a:gd name="connsiteX5" fmla="*/ 10000 w 11539"/>
                    <a:gd name="connsiteY5" fmla="*/ 7958 h 10000"/>
                    <a:gd name="connsiteX6" fmla="*/ 5505 w 11539"/>
                    <a:gd name="connsiteY6" fmla="*/ 8470 h 10000"/>
                    <a:gd name="connsiteX7" fmla="*/ 2644 w 11539"/>
                    <a:gd name="connsiteY7" fmla="*/ 8062 h 10000"/>
                    <a:gd name="connsiteX8" fmla="*/ 224 w 11539"/>
                    <a:gd name="connsiteY8" fmla="*/ 10000 h 10000"/>
                    <a:gd name="connsiteX9" fmla="*/ 0 w 11539"/>
                    <a:gd name="connsiteY9" fmla="*/ 6775 h 10000"/>
                    <a:gd name="connsiteX10" fmla="*/ 0 w 11539"/>
                    <a:gd name="connsiteY10" fmla="*/ 6775 h 10000"/>
                    <a:gd name="connsiteX0" fmla="*/ 0 w 11534"/>
                    <a:gd name="connsiteY0" fmla="*/ 6775 h 10000"/>
                    <a:gd name="connsiteX1" fmla="*/ 0 w 11534"/>
                    <a:gd name="connsiteY1" fmla="*/ 6775 h 10000"/>
                    <a:gd name="connsiteX2" fmla="*/ 0 w 11534"/>
                    <a:gd name="connsiteY2" fmla="*/ 1932 h 10000"/>
                    <a:gd name="connsiteX3" fmla="*/ 7279 w 11534"/>
                    <a:gd name="connsiteY3" fmla="*/ 0 h 10000"/>
                    <a:gd name="connsiteX4" fmla="*/ 11534 w 11534"/>
                    <a:gd name="connsiteY4" fmla="*/ 4138 h 10000"/>
                    <a:gd name="connsiteX5" fmla="*/ 10000 w 11534"/>
                    <a:gd name="connsiteY5" fmla="*/ 7958 h 10000"/>
                    <a:gd name="connsiteX6" fmla="*/ 5505 w 11534"/>
                    <a:gd name="connsiteY6" fmla="*/ 8470 h 10000"/>
                    <a:gd name="connsiteX7" fmla="*/ 2644 w 11534"/>
                    <a:gd name="connsiteY7" fmla="*/ 8062 h 10000"/>
                    <a:gd name="connsiteX8" fmla="*/ 224 w 11534"/>
                    <a:gd name="connsiteY8" fmla="*/ 10000 h 10000"/>
                    <a:gd name="connsiteX9" fmla="*/ 0 w 11534"/>
                    <a:gd name="connsiteY9" fmla="*/ 6775 h 10000"/>
                    <a:gd name="connsiteX10" fmla="*/ 0 w 11534"/>
                    <a:gd name="connsiteY10" fmla="*/ 6775 h 10000"/>
                    <a:gd name="connsiteX0" fmla="*/ 0 w 11534"/>
                    <a:gd name="connsiteY0" fmla="*/ 6775 h 10000"/>
                    <a:gd name="connsiteX1" fmla="*/ 0 w 11534"/>
                    <a:gd name="connsiteY1" fmla="*/ 6775 h 10000"/>
                    <a:gd name="connsiteX2" fmla="*/ 0 w 11534"/>
                    <a:gd name="connsiteY2" fmla="*/ 1932 h 10000"/>
                    <a:gd name="connsiteX3" fmla="*/ 7279 w 11534"/>
                    <a:gd name="connsiteY3" fmla="*/ 0 h 10000"/>
                    <a:gd name="connsiteX4" fmla="*/ 11534 w 11534"/>
                    <a:gd name="connsiteY4" fmla="*/ 4138 h 10000"/>
                    <a:gd name="connsiteX5" fmla="*/ 10000 w 11534"/>
                    <a:gd name="connsiteY5" fmla="*/ 7958 h 10000"/>
                    <a:gd name="connsiteX6" fmla="*/ 5505 w 11534"/>
                    <a:gd name="connsiteY6" fmla="*/ 8470 h 10000"/>
                    <a:gd name="connsiteX7" fmla="*/ 2644 w 11534"/>
                    <a:gd name="connsiteY7" fmla="*/ 8062 h 10000"/>
                    <a:gd name="connsiteX8" fmla="*/ 224 w 11534"/>
                    <a:gd name="connsiteY8" fmla="*/ 10000 h 10000"/>
                    <a:gd name="connsiteX9" fmla="*/ 0 w 11534"/>
                    <a:gd name="connsiteY9" fmla="*/ 6775 h 10000"/>
                    <a:gd name="connsiteX10" fmla="*/ 0 w 11534"/>
                    <a:gd name="connsiteY10" fmla="*/ 6775 h 10000"/>
                    <a:gd name="connsiteX0" fmla="*/ 0 w 11581"/>
                    <a:gd name="connsiteY0" fmla="*/ 6775 h 10000"/>
                    <a:gd name="connsiteX1" fmla="*/ 0 w 11581"/>
                    <a:gd name="connsiteY1" fmla="*/ 6775 h 10000"/>
                    <a:gd name="connsiteX2" fmla="*/ 0 w 11581"/>
                    <a:gd name="connsiteY2" fmla="*/ 1932 h 10000"/>
                    <a:gd name="connsiteX3" fmla="*/ 7279 w 11581"/>
                    <a:gd name="connsiteY3" fmla="*/ 0 h 10000"/>
                    <a:gd name="connsiteX4" fmla="*/ 11534 w 11581"/>
                    <a:gd name="connsiteY4" fmla="*/ 4138 h 10000"/>
                    <a:gd name="connsiteX5" fmla="*/ 10000 w 11581"/>
                    <a:gd name="connsiteY5" fmla="*/ 7958 h 10000"/>
                    <a:gd name="connsiteX6" fmla="*/ 5505 w 11581"/>
                    <a:gd name="connsiteY6" fmla="*/ 8470 h 10000"/>
                    <a:gd name="connsiteX7" fmla="*/ 2644 w 11581"/>
                    <a:gd name="connsiteY7" fmla="*/ 8062 h 10000"/>
                    <a:gd name="connsiteX8" fmla="*/ 224 w 11581"/>
                    <a:gd name="connsiteY8" fmla="*/ 10000 h 10000"/>
                    <a:gd name="connsiteX9" fmla="*/ 0 w 11581"/>
                    <a:gd name="connsiteY9" fmla="*/ 6775 h 10000"/>
                    <a:gd name="connsiteX10" fmla="*/ 0 w 11581"/>
                    <a:gd name="connsiteY10" fmla="*/ 6775 h 10000"/>
                    <a:gd name="connsiteX0" fmla="*/ 0 w 11534"/>
                    <a:gd name="connsiteY0" fmla="*/ 6775 h 10000"/>
                    <a:gd name="connsiteX1" fmla="*/ 0 w 11534"/>
                    <a:gd name="connsiteY1" fmla="*/ 6775 h 10000"/>
                    <a:gd name="connsiteX2" fmla="*/ 0 w 11534"/>
                    <a:gd name="connsiteY2" fmla="*/ 1932 h 10000"/>
                    <a:gd name="connsiteX3" fmla="*/ 7279 w 11534"/>
                    <a:gd name="connsiteY3" fmla="*/ 0 h 10000"/>
                    <a:gd name="connsiteX4" fmla="*/ 11534 w 11534"/>
                    <a:gd name="connsiteY4" fmla="*/ 4138 h 10000"/>
                    <a:gd name="connsiteX5" fmla="*/ 10000 w 11534"/>
                    <a:gd name="connsiteY5" fmla="*/ 7958 h 10000"/>
                    <a:gd name="connsiteX6" fmla="*/ 5505 w 11534"/>
                    <a:gd name="connsiteY6" fmla="*/ 8470 h 10000"/>
                    <a:gd name="connsiteX7" fmla="*/ 2644 w 11534"/>
                    <a:gd name="connsiteY7" fmla="*/ 8062 h 10000"/>
                    <a:gd name="connsiteX8" fmla="*/ 224 w 11534"/>
                    <a:gd name="connsiteY8" fmla="*/ 10000 h 10000"/>
                    <a:gd name="connsiteX9" fmla="*/ 0 w 11534"/>
                    <a:gd name="connsiteY9" fmla="*/ 6775 h 10000"/>
                    <a:gd name="connsiteX10" fmla="*/ 0 w 11534"/>
                    <a:gd name="connsiteY10" fmla="*/ 6775 h 10000"/>
                    <a:gd name="connsiteX0" fmla="*/ 0 w 11534"/>
                    <a:gd name="connsiteY0" fmla="*/ 6775 h 10000"/>
                    <a:gd name="connsiteX1" fmla="*/ 0 w 11534"/>
                    <a:gd name="connsiteY1" fmla="*/ 6775 h 10000"/>
                    <a:gd name="connsiteX2" fmla="*/ 0 w 11534"/>
                    <a:gd name="connsiteY2" fmla="*/ 1932 h 10000"/>
                    <a:gd name="connsiteX3" fmla="*/ 7279 w 11534"/>
                    <a:gd name="connsiteY3" fmla="*/ 0 h 10000"/>
                    <a:gd name="connsiteX4" fmla="*/ 11534 w 11534"/>
                    <a:gd name="connsiteY4" fmla="*/ 4138 h 10000"/>
                    <a:gd name="connsiteX5" fmla="*/ 10000 w 11534"/>
                    <a:gd name="connsiteY5" fmla="*/ 7958 h 10000"/>
                    <a:gd name="connsiteX6" fmla="*/ 5505 w 11534"/>
                    <a:gd name="connsiteY6" fmla="*/ 8470 h 10000"/>
                    <a:gd name="connsiteX7" fmla="*/ 2644 w 11534"/>
                    <a:gd name="connsiteY7" fmla="*/ 8062 h 10000"/>
                    <a:gd name="connsiteX8" fmla="*/ 224 w 11534"/>
                    <a:gd name="connsiteY8" fmla="*/ 10000 h 10000"/>
                    <a:gd name="connsiteX9" fmla="*/ 0 w 11534"/>
                    <a:gd name="connsiteY9" fmla="*/ 6775 h 10000"/>
                    <a:gd name="connsiteX10" fmla="*/ 0 w 11534"/>
                    <a:gd name="connsiteY10" fmla="*/ 6775 h 10000"/>
                    <a:gd name="connsiteX0" fmla="*/ 0 w 11534"/>
                    <a:gd name="connsiteY0" fmla="*/ 6775 h 10000"/>
                    <a:gd name="connsiteX1" fmla="*/ 0 w 11534"/>
                    <a:gd name="connsiteY1" fmla="*/ 6775 h 10000"/>
                    <a:gd name="connsiteX2" fmla="*/ 0 w 11534"/>
                    <a:gd name="connsiteY2" fmla="*/ 1932 h 10000"/>
                    <a:gd name="connsiteX3" fmla="*/ 7279 w 11534"/>
                    <a:gd name="connsiteY3" fmla="*/ 0 h 10000"/>
                    <a:gd name="connsiteX4" fmla="*/ 11534 w 11534"/>
                    <a:gd name="connsiteY4" fmla="*/ 4138 h 10000"/>
                    <a:gd name="connsiteX5" fmla="*/ 10000 w 11534"/>
                    <a:gd name="connsiteY5" fmla="*/ 7958 h 10000"/>
                    <a:gd name="connsiteX6" fmla="*/ 5505 w 11534"/>
                    <a:gd name="connsiteY6" fmla="*/ 8470 h 10000"/>
                    <a:gd name="connsiteX7" fmla="*/ 2644 w 11534"/>
                    <a:gd name="connsiteY7" fmla="*/ 8062 h 10000"/>
                    <a:gd name="connsiteX8" fmla="*/ 224 w 11534"/>
                    <a:gd name="connsiteY8" fmla="*/ 10000 h 10000"/>
                    <a:gd name="connsiteX9" fmla="*/ 0 w 11534"/>
                    <a:gd name="connsiteY9" fmla="*/ 6775 h 10000"/>
                    <a:gd name="connsiteX10" fmla="*/ 0 w 11534"/>
                    <a:gd name="connsiteY10" fmla="*/ 6775 h 10000"/>
                    <a:gd name="connsiteX0" fmla="*/ 0 w 11534"/>
                    <a:gd name="connsiteY0" fmla="*/ 6775 h 8470"/>
                    <a:gd name="connsiteX1" fmla="*/ 0 w 11534"/>
                    <a:gd name="connsiteY1" fmla="*/ 6775 h 8470"/>
                    <a:gd name="connsiteX2" fmla="*/ 0 w 11534"/>
                    <a:gd name="connsiteY2" fmla="*/ 1932 h 8470"/>
                    <a:gd name="connsiteX3" fmla="*/ 7279 w 11534"/>
                    <a:gd name="connsiteY3" fmla="*/ 0 h 8470"/>
                    <a:gd name="connsiteX4" fmla="*/ 11534 w 11534"/>
                    <a:gd name="connsiteY4" fmla="*/ 4138 h 8470"/>
                    <a:gd name="connsiteX5" fmla="*/ 10000 w 11534"/>
                    <a:gd name="connsiteY5" fmla="*/ 7958 h 8470"/>
                    <a:gd name="connsiteX6" fmla="*/ 5505 w 11534"/>
                    <a:gd name="connsiteY6" fmla="*/ 8470 h 8470"/>
                    <a:gd name="connsiteX7" fmla="*/ 2644 w 11534"/>
                    <a:gd name="connsiteY7" fmla="*/ 8062 h 8470"/>
                    <a:gd name="connsiteX8" fmla="*/ 36 w 11534"/>
                    <a:gd name="connsiteY8" fmla="*/ 8349 h 8470"/>
                    <a:gd name="connsiteX9" fmla="*/ 0 w 11534"/>
                    <a:gd name="connsiteY9" fmla="*/ 6775 h 8470"/>
                    <a:gd name="connsiteX10" fmla="*/ 0 w 11534"/>
                    <a:gd name="connsiteY10" fmla="*/ 6775 h 8470"/>
                    <a:gd name="connsiteX0" fmla="*/ 0 w 10000"/>
                    <a:gd name="connsiteY0" fmla="*/ 7999 h 10000"/>
                    <a:gd name="connsiteX1" fmla="*/ 0 w 10000"/>
                    <a:gd name="connsiteY1" fmla="*/ 7999 h 10000"/>
                    <a:gd name="connsiteX2" fmla="*/ 0 w 10000"/>
                    <a:gd name="connsiteY2" fmla="*/ 2281 h 10000"/>
                    <a:gd name="connsiteX3" fmla="*/ 6311 w 10000"/>
                    <a:gd name="connsiteY3" fmla="*/ 0 h 10000"/>
                    <a:gd name="connsiteX4" fmla="*/ 10000 w 10000"/>
                    <a:gd name="connsiteY4" fmla="*/ 4885 h 10000"/>
                    <a:gd name="connsiteX5" fmla="*/ 8670 w 10000"/>
                    <a:gd name="connsiteY5" fmla="*/ 9396 h 10000"/>
                    <a:gd name="connsiteX6" fmla="*/ 4773 w 10000"/>
                    <a:gd name="connsiteY6" fmla="*/ 10000 h 10000"/>
                    <a:gd name="connsiteX7" fmla="*/ 2292 w 10000"/>
                    <a:gd name="connsiteY7" fmla="*/ 9518 h 10000"/>
                    <a:gd name="connsiteX8" fmla="*/ 31 w 10000"/>
                    <a:gd name="connsiteY8" fmla="*/ 9309 h 10000"/>
                    <a:gd name="connsiteX9" fmla="*/ 0 w 10000"/>
                    <a:gd name="connsiteY9" fmla="*/ 7999 h 10000"/>
                    <a:gd name="connsiteX10" fmla="*/ 0 w 10000"/>
                    <a:gd name="connsiteY10" fmla="*/ 7999 h 10000"/>
                    <a:gd name="connsiteX0" fmla="*/ 0 w 10000"/>
                    <a:gd name="connsiteY0" fmla="*/ 7999 h 10000"/>
                    <a:gd name="connsiteX1" fmla="*/ 0 w 10000"/>
                    <a:gd name="connsiteY1" fmla="*/ 7999 h 10000"/>
                    <a:gd name="connsiteX2" fmla="*/ 0 w 10000"/>
                    <a:gd name="connsiteY2" fmla="*/ 2281 h 10000"/>
                    <a:gd name="connsiteX3" fmla="*/ 6311 w 10000"/>
                    <a:gd name="connsiteY3" fmla="*/ 0 h 10000"/>
                    <a:gd name="connsiteX4" fmla="*/ 10000 w 10000"/>
                    <a:gd name="connsiteY4" fmla="*/ 4885 h 10000"/>
                    <a:gd name="connsiteX5" fmla="*/ 8670 w 10000"/>
                    <a:gd name="connsiteY5" fmla="*/ 9396 h 10000"/>
                    <a:gd name="connsiteX6" fmla="*/ 4773 w 10000"/>
                    <a:gd name="connsiteY6" fmla="*/ 10000 h 10000"/>
                    <a:gd name="connsiteX7" fmla="*/ 2415 w 10000"/>
                    <a:gd name="connsiteY7" fmla="*/ 8909 h 10000"/>
                    <a:gd name="connsiteX8" fmla="*/ 31 w 10000"/>
                    <a:gd name="connsiteY8" fmla="*/ 9309 h 10000"/>
                    <a:gd name="connsiteX9" fmla="*/ 0 w 10000"/>
                    <a:gd name="connsiteY9" fmla="*/ 7999 h 10000"/>
                    <a:gd name="connsiteX10" fmla="*/ 0 w 10000"/>
                    <a:gd name="connsiteY10" fmla="*/ 7999 h 10000"/>
                    <a:gd name="connsiteX0" fmla="*/ 0 w 10000"/>
                    <a:gd name="connsiteY0" fmla="*/ 7999 h 10000"/>
                    <a:gd name="connsiteX1" fmla="*/ 0 w 10000"/>
                    <a:gd name="connsiteY1" fmla="*/ 7999 h 10000"/>
                    <a:gd name="connsiteX2" fmla="*/ 0 w 10000"/>
                    <a:gd name="connsiteY2" fmla="*/ 2281 h 10000"/>
                    <a:gd name="connsiteX3" fmla="*/ 6311 w 10000"/>
                    <a:gd name="connsiteY3" fmla="*/ 0 h 10000"/>
                    <a:gd name="connsiteX4" fmla="*/ 10000 w 10000"/>
                    <a:gd name="connsiteY4" fmla="*/ 4885 h 10000"/>
                    <a:gd name="connsiteX5" fmla="*/ 8670 w 10000"/>
                    <a:gd name="connsiteY5" fmla="*/ 9396 h 10000"/>
                    <a:gd name="connsiteX6" fmla="*/ 4773 w 10000"/>
                    <a:gd name="connsiteY6" fmla="*/ 10000 h 10000"/>
                    <a:gd name="connsiteX7" fmla="*/ 3722 w 10000"/>
                    <a:gd name="connsiteY7" fmla="*/ 8909 h 10000"/>
                    <a:gd name="connsiteX8" fmla="*/ 31 w 10000"/>
                    <a:gd name="connsiteY8" fmla="*/ 9309 h 10000"/>
                    <a:gd name="connsiteX9" fmla="*/ 0 w 10000"/>
                    <a:gd name="connsiteY9" fmla="*/ 7999 h 10000"/>
                    <a:gd name="connsiteX10" fmla="*/ 0 w 10000"/>
                    <a:gd name="connsiteY10" fmla="*/ 7999 h 10000"/>
                    <a:gd name="connsiteX0" fmla="*/ 0 w 10000"/>
                    <a:gd name="connsiteY0" fmla="*/ 7999 h 10000"/>
                    <a:gd name="connsiteX1" fmla="*/ 0 w 10000"/>
                    <a:gd name="connsiteY1" fmla="*/ 7999 h 10000"/>
                    <a:gd name="connsiteX2" fmla="*/ 0 w 10000"/>
                    <a:gd name="connsiteY2" fmla="*/ 2281 h 10000"/>
                    <a:gd name="connsiteX3" fmla="*/ 6311 w 10000"/>
                    <a:gd name="connsiteY3" fmla="*/ 0 h 10000"/>
                    <a:gd name="connsiteX4" fmla="*/ 10000 w 10000"/>
                    <a:gd name="connsiteY4" fmla="*/ 4885 h 10000"/>
                    <a:gd name="connsiteX5" fmla="*/ 8057 w 10000"/>
                    <a:gd name="connsiteY5" fmla="*/ 9396 h 10000"/>
                    <a:gd name="connsiteX6" fmla="*/ 4773 w 10000"/>
                    <a:gd name="connsiteY6" fmla="*/ 10000 h 10000"/>
                    <a:gd name="connsiteX7" fmla="*/ 3722 w 10000"/>
                    <a:gd name="connsiteY7" fmla="*/ 8909 h 10000"/>
                    <a:gd name="connsiteX8" fmla="*/ 31 w 10000"/>
                    <a:gd name="connsiteY8" fmla="*/ 9309 h 10000"/>
                    <a:gd name="connsiteX9" fmla="*/ 0 w 10000"/>
                    <a:gd name="connsiteY9" fmla="*/ 7999 h 10000"/>
                    <a:gd name="connsiteX10" fmla="*/ 0 w 10000"/>
                    <a:gd name="connsiteY10" fmla="*/ 7999 h 10000"/>
                    <a:gd name="connsiteX0" fmla="*/ 0 w 10000"/>
                    <a:gd name="connsiteY0" fmla="*/ 7999 h 10913"/>
                    <a:gd name="connsiteX1" fmla="*/ 0 w 10000"/>
                    <a:gd name="connsiteY1" fmla="*/ 7999 h 10913"/>
                    <a:gd name="connsiteX2" fmla="*/ 0 w 10000"/>
                    <a:gd name="connsiteY2" fmla="*/ 2281 h 10913"/>
                    <a:gd name="connsiteX3" fmla="*/ 6311 w 10000"/>
                    <a:gd name="connsiteY3" fmla="*/ 0 h 10913"/>
                    <a:gd name="connsiteX4" fmla="*/ 10000 w 10000"/>
                    <a:gd name="connsiteY4" fmla="*/ 4885 h 10913"/>
                    <a:gd name="connsiteX5" fmla="*/ 8057 w 10000"/>
                    <a:gd name="connsiteY5" fmla="*/ 9396 h 10913"/>
                    <a:gd name="connsiteX6" fmla="*/ 4977 w 10000"/>
                    <a:gd name="connsiteY6" fmla="*/ 10913 h 10913"/>
                    <a:gd name="connsiteX7" fmla="*/ 3722 w 10000"/>
                    <a:gd name="connsiteY7" fmla="*/ 8909 h 10913"/>
                    <a:gd name="connsiteX8" fmla="*/ 31 w 10000"/>
                    <a:gd name="connsiteY8" fmla="*/ 9309 h 10913"/>
                    <a:gd name="connsiteX9" fmla="*/ 0 w 10000"/>
                    <a:gd name="connsiteY9" fmla="*/ 7999 h 10913"/>
                    <a:gd name="connsiteX10" fmla="*/ 0 w 10000"/>
                    <a:gd name="connsiteY10" fmla="*/ 7999 h 10913"/>
                    <a:gd name="connsiteX0" fmla="*/ 0 w 10000"/>
                    <a:gd name="connsiteY0" fmla="*/ 7999 h 10913"/>
                    <a:gd name="connsiteX1" fmla="*/ 0 w 10000"/>
                    <a:gd name="connsiteY1" fmla="*/ 7999 h 10913"/>
                    <a:gd name="connsiteX2" fmla="*/ 0 w 10000"/>
                    <a:gd name="connsiteY2" fmla="*/ 2281 h 10913"/>
                    <a:gd name="connsiteX3" fmla="*/ 6311 w 10000"/>
                    <a:gd name="connsiteY3" fmla="*/ 0 h 10913"/>
                    <a:gd name="connsiteX4" fmla="*/ 10000 w 10000"/>
                    <a:gd name="connsiteY4" fmla="*/ 4885 h 10913"/>
                    <a:gd name="connsiteX5" fmla="*/ 8057 w 10000"/>
                    <a:gd name="connsiteY5" fmla="*/ 9396 h 10913"/>
                    <a:gd name="connsiteX6" fmla="*/ 4977 w 10000"/>
                    <a:gd name="connsiteY6" fmla="*/ 10913 h 10913"/>
                    <a:gd name="connsiteX7" fmla="*/ 2987 w 10000"/>
                    <a:gd name="connsiteY7" fmla="*/ 8544 h 10913"/>
                    <a:gd name="connsiteX8" fmla="*/ 31 w 10000"/>
                    <a:gd name="connsiteY8" fmla="*/ 9309 h 10913"/>
                    <a:gd name="connsiteX9" fmla="*/ 0 w 10000"/>
                    <a:gd name="connsiteY9" fmla="*/ 7999 h 10913"/>
                    <a:gd name="connsiteX10" fmla="*/ 0 w 10000"/>
                    <a:gd name="connsiteY10" fmla="*/ 7999 h 10913"/>
                    <a:gd name="connsiteX0" fmla="*/ 0 w 10000"/>
                    <a:gd name="connsiteY0" fmla="*/ 7999 h 10913"/>
                    <a:gd name="connsiteX1" fmla="*/ 0 w 10000"/>
                    <a:gd name="connsiteY1" fmla="*/ 7999 h 10913"/>
                    <a:gd name="connsiteX2" fmla="*/ 0 w 10000"/>
                    <a:gd name="connsiteY2" fmla="*/ 2281 h 10913"/>
                    <a:gd name="connsiteX3" fmla="*/ 6311 w 10000"/>
                    <a:gd name="connsiteY3" fmla="*/ 0 h 10913"/>
                    <a:gd name="connsiteX4" fmla="*/ 10000 w 10000"/>
                    <a:gd name="connsiteY4" fmla="*/ 4885 h 10913"/>
                    <a:gd name="connsiteX5" fmla="*/ 8057 w 10000"/>
                    <a:gd name="connsiteY5" fmla="*/ 9396 h 10913"/>
                    <a:gd name="connsiteX6" fmla="*/ 4977 w 10000"/>
                    <a:gd name="connsiteY6" fmla="*/ 10913 h 10913"/>
                    <a:gd name="connsiteX7" fmla="*/ 4357 w 10000"/>
                    <a:gd name="connsiteY7" fmla="*/ 10060 h 10913"/>
                    <a:gd name="connsiteX8" fmla="*/ 2987 w 10000"/>
                    <a:gd name="connsiteY8" fmla="*/ 8544 h 10913"/>
                    <a:gd name="connsiteX9" fmla="*/ 31 w 10000"/>
                    <a:gd name="connsiteY9" fmla="*/ 9309 h 10913"/>
                    <a:gd name="connsiteX10" fmla="*/ 0 w 10000"/>
                    <a:gd name="connsiteY10" fmla="*/ 7999 h 10913"/>
                    <a:gd name="connsiteX11" fmla="*/ 0 w 10000"/>
                    <a:gd name="connsiteY11" fmla="*/ 7999 h 10913"/>
                    <a:gd name="connsiteX0" fmla="*/ 0 w 10000"/>
                    <a:gd name="connsiteY0" fmla="*/ 7999 h 10913"/>
                    <a:gd name="connsiteX1" fmla="*/ 0 w 10000"/>
                    <a:gd name="connsiteY1" fmla="*/ 7999 h 10913"/>
                    <a:gd name="connsiteX2" fmla="*/ 0 w 10000"/>
                    <a:gd name="connsiteY2" fmla="*/ 2281 h 10913"/>
                    <a:gd name="connsiteX3" fmla="*/ 6311 w 10000"/>
                    <a:gd name="connsiteY3" fmla="*/ 0 h 10913"/>
                    <a:gd name="connsiteX4" fmla="*/ 10000 w 10000"/>
                    <a:gd name="connsiteY4" fmla="*/ 4885 h 10913"/>
                    <a:gd name="connsiteX5" fmla="*/ 8057 w 10000"/>
                    <a:gd name="connsiteY5" fmla="*/ 9396 h 10913"/>
                    <a:gd name="connsiteX6" fmla="*/ 4977 w 10000"/>
                    <a:gd name="connsiteY6" fmla="*/ 10913 h 10913"/>
                    <a:gd name="connsiteX7" fmla="*/ 4194 w 10000"/>
                    <a:gd name="connsiteY7" fmla="*/ 8599 h 10913"/>
                    <a:gd name="connsiteX8" fmla="*/ 2987 w 10000"/>
                    <a:gd name="connsiteY8" fmla="*/ 8544 h 10913"/>
                    <a:gd name="connsiteX9" fmla="*/ 31 w 10000"/>
                    <a:gd name="connsiteY9" fmla="*/ 9309 h 10913"/>
                    <a:gd name="connsiteX10" fmla="*/ 0 w 10000"/>
                    <a:gd name="connsiteY10" fmla="*/ 7999 h 10913"/>
                    <a:gd name="connsiteX11" fmla="*/ 0 w 10000"/>
                    <a:gd name="connsiteY11" fmla="*/ 7999 h 10913"/>
                    <a:gd name="connsiteX0" fmla="*/ 0 w 10000"/>
                    <a:gd name="connsiteY0" fmla="*/ 7999 h 10913"/>
                    <a:gd name="connsiteX1" fmla="*/ 0 w 10000"/>
                    <a:gd name="connsiteY1" fmla="*/ 7999 h 10913"/>
                    <a:gd name="connsiteX2" fmla="*/ 0 w 10000"/>
                    <a:gd name="connsiteY2" fmla="*/ 2281 h 10913"/>
                    <a:gd name="connsiteX3" fmla="*/ 6311 w 10000"/>
                    <a:gd name="connsiteY3" fmla="*/ 0 h 10913"/>
                    <a:gd name="connsiteX4" fmla="*/ 10000 w 10000"/>
                    <a:gd name="connsiteY4" fmla="*/ 4885 h 10913"/>
                    <a:gd name="connsiteX5" fmla="*/ 8057 w 10000"/>
                    <a:gd name="connsiteY5" fmla="*/ 9396 h 10913"/>
                    <a:gd name="connsiteX6" fmla="*/ 4977 w 10000"/>
                    <a:gd name="connsiteY6" fmla="*/ 10913 h 10913"/>
                    <a:gd name="connsiteX7" fmla="*/ 4194 w 10000"/>
                    <a:gd name="connsiteY7" fmla="*/ 8599 h 10913"/>
                    <a:gd name="connsiteX8" fmla="*/ 3459 w 10000"/>
                    <a:gd name="connsiteY8" fmla="*/ 8477 h 10913"/>
                    <a:gd name="connsiteX9" fmla="*/ 2987 w 10000"/>
                    <a:gd name="connsiteY9" fmla="*/ 8544 h 10913"/>
                    <a:gd name="connsiteX10" fmla="*/ 31 w 10000"/>
                    <a:gd name="connsiteY10" fmla="*/ 9309 h 10913"/>
                    <a:gd name="connsiteX11" fmla="*/ 0 w 10000"/>
                    <a:gd name="connsiteY11" fmla="*/ 7999 h 10913"/>
                    <a:gd name="connsiteX12" fmla="*/ 0 w 10000"/>
                    <a:gd name="connsiteY12" fmla="*/ 7999 h 10913"/>
                    <a:gd name="connsiteX0" fmla="*/ 0 w 10000"/>
                    <a:gd name="connsiteY0" fmla="*/ 7999 h 10913"/>
                    <a:gd name="connsiteX1" fmla="*/ 0 w 10000"/>
                    <a:gd name="connsiteY1" fmla="*/ 7999 h 10913"/>
                    <a:gd name="connsiteX2" fmla="*/ 0 w 10000"/>
                    <a:gd name="connsiteY2" fmla="*/ 2281 h 10913"/>
                    <a:gd name="connsiteX3" fmla="*/ 6311 w 10000"/>
                    <a:gd name="connsiteY3" fmla="*/ 0 h 10913"/>
                    <a:gd name="connsiteX4" fmla="*/ 10000 w 10000"/>
                    <a:gd name="connsiteY4" fmla="*/ 4885 h 10913"/>
                    <a:gd name="connsiteX5" fmla="*/ 8057 w 10000"/>
                    <a:gd name="connsiteY5" fmla="*/ 9396 h 10913"/>
                    <a:gd name="connsiteX6" fmla="*/ 4977 w 10000"/>
                    <a:gd name="connsiteY6" fmla="*/ 10913 h 10913"/>
                    <a:gd name="connsiteX7" fmla="*/ 4194 w 10000"/>
                    <a:gd name="connsiteY7" fmla="*/ 8599 h 10913"/>
                    <a:gd name="connsiteX8" fmla="*/ 3582 w 10000"/>
                    <a:gd name="connsiteY8" fmla="*/ 7442 h 10913"/>
                    <a:gd name="connsiteX9" fmla="*/ 2987 w 10000"/>
                    <a:gd name="connsiteY9" fmla="*/ 8544 h 10913"/>
                    <a:gd name="connsiteX10" fmla="*/ 31 w 10000"/>
                    <a:gd name="connsiteY10" fmla="*/ 9309 h 10913"/>
                    <a:gd name="connsiteX11" fmla="*/ 0 w 10000"/>
                    <a:gd name="connsiteY11" fmla="*/ 7999 h 10913"/>
                    <a:gd name="connsiteX12" fmla="*/ 0 w 10000"/>
                    <a:gd name="connsiteY12" fmla="*/ 7999 h 10913"/>
                    <a:gd name="connsiteX0" fmla="*/ 0 w 10000"/>
                    <a:gd name="connsiteY0" fmla="*/ 7999 h 10913"/>
                    <a:gd name="connsiteX1" fmla="*/ 0 w 10000"/>
                    <a:gd name="connsiteY1" fmla="*/ 7999 h 10913"/>
                    <a:gd name="connsiteX2" fmla="*/ 0 w 10000"/>
                    <a:gd name="connsiteY2" fmla="*/ 2281 h 10913"/>
                    <a:gd name="connsiteX3" fmla="*/ 6311 w 10000"/>
                    <a:gd name="connsiteY3" fmla="*/ 0 h 10913"/>
                    <a:gd name="connsiteX4" fmla="*/ 10000 w 10000"/>
                    <a:gd name="connsiteY4" fmla="*/ 4885 h 10913"/>
                    <a:gd name="connsiteX5" fmla="*/ 8057 w 10000"/>
                    <a:gd name="connsiteY5" fmla="*/ 9396 h 10913"/>
                    <a:gd name="connsiteX6" fmla="*/ 4977 w 10000"/>
                    <a:gd name="connsiteY6" fmla="*/ 10913 h 10913"/>
                    <a:gd name="connsiteX7" fmla="*/ 4194 w 10000"/>
                    <a:gd name="connsiteY7" fmla="*/ 8599 h 10913"/>
                    <a:gd name="connsiteX8" fmla="*/ 3582 w 10000"/>
                    <a:gd name="connsiteY8" fmla="*/ 7442 h 10913"/>
                    <a:gd name="connsiteX9" fmla="*/ 3191 w 10000"/>
                    <a:gd name="connsiteY9" fmla="*/ 8848 h 10913"/>
                    <a:gd name="connsiteX10" fmla="*/ 31 w 10000"/>
                    <a:gd name="connsiteY10" fmla="*/ 9309 h 10913"/>
                    <a:gd name="connsiteX11" fmla="*/ 0 w 10000"/>
                    <a:gd name="connsiteY11" fmla="*/ 7999 h 10913"/>
                    <a:gd name="connsiteX12" fmla="*/ 0 w 10000"/>
                    <a:gd name="connsiteY12" fmla="*/ 7999 h 10913"/>
                    <a:gd name="connsiteX0" fmla="*/ 0 w 10000"/>
                    <a:gd name="connsiteY0" fmla="*/ 7999 h 10913"/>
                    <a:gd name="connsiteX1" fmla="*/ 0 w 10000"/>
                    <a:gd name="connsiteY1" fmla="*/ 7999 h 10913"/>
                    <a:gd name="connsiteX2" fmla="*/ 0 w 10000"/>
                    <a:gd name="connsiteY2" fmla="*/ 2281 h 10913"/>
                    <a:gd name="connsiteX3" fmla="*/ 6311 w 10000"/>
                    <a:gd name="connsiteY3" fmla="*/ 0 h 10913"/>
                    <a:gd name="connsiteX4" fmla="*/ 10000 w 10000"/>
                    <a:gd name="connsiteY4" fmla="*/ 4885 h 10913"/>
                    <a:gd name="connsiteX5" fmla="*/ 8057 w 10000"/>
                    <a:gd name="connsiteY5" fmla="*/ 9396 h 10913"/>
                    <a:gd name="connsiteX6" fmla="*/ 4977 w 10000"/>
                    <a:gd name="connsiteY6" fmla="*/ 10913 h 10913"/>
                    <a:gd name="connsiteX7" fmla="*/ 4194 w 10000"/>
                    <a:gd name="connsiteY7" fmla="*/ 8903 h 10913"/>
                    <a:gd name="connsiteX8" fmla="*/ 3582 w 10000"/>
                    <a:gd name="connsiteY8" fmla="*/ 7442 h 10913"/>
                    <a:gd name="connsiteX9" fmla="*/ 3191 w 10000"/>
                    <a:gd name="connsiteY9" fmla="*/ 8848 h 10913"/>
                    <a:gd name="connsiteX10" fmla="*/ 31 w 10000"/>
                    <a:gd name="connsiteY10" fmla="*/ 9309 h 10913"/>
                    <a:gd name="connsiteX11" fmla="*/ 0 w 10000"/>
                    <a:gd name="connsiteY11" fmla="*/ 7999 h 10913"/>
                    <a:gd name="connsiteX12" fmla="*/ 0 w 10000"/>
                    <a:gd name="connsiteY12" fmla="*/ 7999 h 10913"/>
                    <a:gd name="connsiteX0" fmla="*/ 0 w 10000"/>
                    <a:gd name="connsiteY0" fmla="*/ 7999 h 10609"/>
                    <a:gd name="connsiteX1" fmla="*/ 0 w 10000"/>
                    <a:gd name="connsiteY1" fmla="*/ 7999 h 10609"/>
                    <a:gd name="connsiteX2" fmla="*/ 0 w 10000"/>
                    <a:gd name="connsiteY2" fmla="*/ 2281 h 10609"/>
                    <a:gd name="connsiteX3" fmla="*/ 6311 w 10000"/>
                    <a:gd name="connsiteY3" fmla="*/ 0 h 10609"/>
                    <a:gd name="connsiteX4" fmla="*/ 10000 w 10000"/>
                    <a:gd name="connsiteY4" fmla="*/ 4885 h 10609"/>
                    <a:gd name="connsiteX5" fmla="*/ 8057 w 10000"/>
                    <a:gd name="connsiteY5" fmla="*/ 9396 h 10609"/>
                    <a:gd name="connsiteX6" fmla="*/ 5345 w 10000"/>
                    <a:gd name="connsiteY6" fmla="*/ 10609 h 10609"/>
                    <a:gd name="connsiteX7" fmla="*/ 4194 w 10000"/>
                    <a:gd name="connsiteY7" fmla="*/ 8903 h 10609"/>
                    <a:gd name="connsiteX8" fmla="*/ 3582 w 10000"/>
                    <a:gd name="connsiteY8" fmla="*/ 7442 h 10609"/>
                    <a:gd name="connsiteX9" fmla="*/ 3191 w 10000"/>
                    <a:gd name="connsiteY9" fmla="*/ 8848 h 10609"/>
                    <a:gd name="connsiteX10" fmla="*/ 31 w 10000"/>
                    <a:gd name="connsiteY10" fmla="*/ 9309 h 10609"/>
                    <a:gd name="connsiteX11" fmla="*/ 0 w 10000"/>
                    <a:gd name="connsiteY11" fmla="*/ 7999 h 10609"/>
                    <a:gd name="connsiteX12" fmla="*/ 0 w 10000"/>
                    <a:gd name="connsiteY12" fmla="*/ 7999 h 10609"/>
                    <a:gd name="connsiteX0" fmla="*/ 0 w 10000"/>
                    <a:gd name="connsiteY0" fmla="*/ 7999 h 10609"/>
                    <a:gd name="connsiteX1" fmla="*/ 0 w 10000"/>
                    <a:gd name="connsiteY1" fmla="*/ 7999 h 10609"/>
                    <a:gd name="connsiteX2" fmla="*/ 0 w 10000"/>
                    <a:gd name="connsiteY2" fmla="*/ 2281 h 10609"/>
                    <a:gd name="connsiteX3" fmla="*/ 6311 w 10000"/>
                    <a:gd name="connsiteY3" fmla="*/ 0 h 10609"/>
                    <a:gd name="connsiteX4" fmla="*/ 10000 w 10000"/>
                    <a:gd name="connsiteY4" fmla="*/ 4885 h 10609"/>
                    <a:gd name="connsiteX5" fmla="*/ 8057 w 10000"/>
                    <a:gd name="connsiteY5" fmla="*/ 9396 h 10609"/>
                    <a:gd name="connsiteX6" fmla="*/ 5345 w 10000"/>
                    <a:gd name="connsiteY6" fmla="*/ 10609 h 10609"/>
                    <a:gd name="connsiteX7" fmla="*/ 4194 w 10000"/>
                    <a:gd name="connsiteY7" fmla="*/ 8903 h 10609"/>
                    <a:gd name="connsiteX8" fmla="*/ 3582 w 10000"/>
                    <a:gd name="connsiteY8" fmla="*/ 8051 h 10609"/>
                    <a:gd name="connsiteX9" fmla="*/ 3191 w 10000"/>
                    <a:gd name="connsiteY9" fmla="*/ 8848 h 10609"/>
                    <a:gd name="connsiteX10" fmla="*/ 31 w 10000"/>
                    <a:gd name="connsiteY10" fmla="*/ 9309 h 10609"/>
                    <a:gd name="connsiteX11" fmla="*/ 0 w 10000"/>
                    <a:gd name="connsiteY11" fmla="*/ 7999 h 10609"/>
                    <a:gd name="connsiteX12" fmla="*/ 0 w 10000"/>
                    <a:gd name="connsiteY12" fmla="*/ 7999 h 10609"/>
                    <a:gd name="connsiteX0" fmla="*/ 0 w 10000"/>
                    <a:gd name="connsiteY0" fmla="*/ 7999 h 10609"/>
                    <a:gd name="connsiteX1" fmla="*/ 0 w 10000"/>
                    <a:gd name="connsiteY1" fmla="*/ 7999 h 10609"/>
                    <a:gd name="connsiteX2" fmla="*/ 0 w 10000"/>
                    <a:gd name="connsiteY2" fmla="*/ 2281 h 10609"/>
                    <a:gd name="connsiteX3" fmla="*/ 6311 w 10000"/>
                    <a:gd name="connsiteY3" fmla="*/ 0 h 10609"/>
                    <a:gd name="connsiteX4" fmla="*/ 10000 w 10000"/>
                    <a:gd name="connsiteY4" fmla="*/ 4885 h 10609"/>
                    <a:gd name="connsiteX5" fmla="*/ 8057 w 10000"/>
                    <a:gd name="connsiteY5" fmla="*/ 9396 h 10609"/>
                    <a:gd name="connsiteX6" fmla="*/ 5345 w 10000"/>
                    <a:gd name="connsiteY6" fmla="*/ 10609 h 10609"/>
                    <a:gd name="connsiteX7" fmla="*/ 4194 w 10000"/>
                    <a:gd name="connsiteY7" fmla="*/ 8903 h 10609"/>
                    <a:gd name="connsiteX8" fmla="*/ 3623 w 10000"/>
                    <a:gd name="connsiteY8" fmla="*/ 7807 h 10609"/>
                    <a:gd name="connsiteX9" fmla="*/ 3191 w 10000"/>
                    <a:gd name="connsiteY9" fmla="*/ 8848 h 10609"/>
                    <a:gd name="connsiteX10" fmla="*/ 31 w 10000"/>
                    <a:gd name="connsiteY10" fmla="*/ 9309 h 10609"/>
                    <a:gd name="connsiteX11" fmla="*/ 0 w 10000"/>
                    <a:gd name="connsiteY11" fmla="*/ 7999 h 10609"/>
                    <a:gd name="connsiteX12" fmla="*/ 0 w 10000"/>
                    <a:gd name="connsiteY12" fmla="*/ 7999 h 10609"/>
                    <a:gd name="connsiteX0" fmla="*/ 28 w 10028"/>
                    <a:gd name="connsiteY0" fmla="*/ 7999 h 10609"/>
                    <a:gd name="connsiteX1" fmla="*/ 28 w 10028"/>
                    <a:gd name="connsiteY1" fmla="*/ 7999 h 10609"/>
                    <a:gd name="connsiteX2" fmla="*/ 28 w 10028"/>
                    <a:gd name="connsiteY2" fmla="*/ 2281 h 10609"/>
                    <a:gd name="connsiteX3" fmla="*/ 6339 w 10028"/>
                    <a:gd name="connsiteY3" fmla="*/ 0 h 10609"/>
                    <a:gd name="connsiteX4" fmla="*/ 10028 w 10028"/>
                    <a:gd name="connsiteY4" fmla="*/ 4885 h 10609"/>
                    <a:gd name="connsiteX5" fmla="*/ 8085 w 10028"/>
                    <a:gd name="connsiteY5" fmla="*/ 9396 h 10609"/>
                    <a:gd name="connsiteX6" fmla="*/ 5373 w 10028"/>
                    <a:gd name="connsiteY6" fmla="*/ 10609 h 10609"/>
                    <a:gd name="connsiteX7" fmla="*/ 4222 w 10028"/>
                    <a:gd name="connsiteY7" fmla="*/ 8903 h 10609"/>
                    <a:gd name="connsiteX8" fmla="*/ 3651 w 10028"/>
                    <a:gd name="connsiteY8" fmla="*/ 7807 h 10609"/>
                    <a:gd name="connsiteX9" fmla="*/ 3219 w 10028"/>
                    <a:gd name="connsiteY9" fmla="*/ 8848 h 10609"/>
                    <a:gd name="connsiteX10" fmla="*/ 18 w 10028"/>
                    <a:gd name="connsiteY10" fmla="*/ 9309 h 10609"/>
                    <a:gd name="connsiteX11" fmla="*/ 28 w 10028"/>
                    <a:gd name="connsiteY11" fmla="*/ 7999 h 10609"/>
                    <a:gd name="connsiteX12" fmla="*/ 28 w 10028"/>
                    <a:gd name="connsiteY12" fmla="*/ 7999 h 10609"/>
                    <a:gd name="connsiteX0" fmla="*/ 10 w 10010"/>
                    <a:gd name="connsiteY0" fmla="*/ 7999 h 10609"/>
                    <a:gd name="connsiteX1" fmla="*/ 10 w 10010"/>
                    <a:gd name="connsiteY1" fmla="*/ 7999 h 10609"/>
                    <a:gd name="connsiteX2" fmla="*/ 10 w 10010"/>
                    <a:gd name="connsiteY2" fmla="*/ 2281 h 10609"/>
                    <a:gd name="connsiteX3" fmla="*/ 6321 w 10010"/>
                    <a:gd name="connsiteY3" fmla="*/ 0 h 10609"/>
                    <a:gd name="connsiteX4" fmla="*/ 10010 w 10010"/>
                    <a:gd name="connsiteY4" fmla="*/ 4885 h 10609"/>
                    <a:gd name="connsiteX5" fmla="*/ 8067 w 10010"/>
                    <a:gd name="connsiteY5" fmla="*/ 9396 h 10609"/>
                    <a:gd name="connsiteX6" fmla="*/ 5355 w 10010"/>
                    <a:gd name="connsiteY6" fmla="*/ 10609 h 10609"/>
                    <a:gd name="connsiteX7" fmla="*/ 4204 w 10010"/>
                    <a:gd name="connsiteY7" fmla="*/ 8903 h 10609"/>
                    <a:gd name="connsiteX8" fmla="*/ 3633 w 10010"/>
                    <a:gd name="connsiteY8" fmla="*/ 7807 h 10609"/>
                    <a:gd name="connsiteX9" fmla="*/ 3201 w 10010"/>
                    <a:gd name="connsiteY9" fmla="*/ 8848 h 10609"/>
                    <a:gd name="connsiteX10" fmla="*/ 0 w 10010"/>
                    <a:gd name="connsiteY10" fmla="*/ 9309 h 10609"/>
                    <a:gd name="connsiteX11" fmla="*/ 10 w 10010"/>
                    <a:gd name="connsiteY11" fmla="*/ 7999 h 10609"/>
                    <a:gd name="connsiteX12" fmla="*/ 10 w 10010"/>
                    <a:gd name="connsiteY12" fmla="*/ 7999 h 10609"/>
                    <a:gd name="connsiteX0" fmla="*/ 0 w 10000"/>
                    <a:gd name="connsiteY0" fmla="*/ 7999 h 10609"/>
                    <a:gd name="connsiteX1" fmla="*/ 0 w 10000"/>
                    <a:gd name="connsiteY1" fmla="*/ 7999 h 10609"/>
                    <a:gd name="connsiteX2" fmla="*/ 0 w 10000"/>
                    <a:gd name="connsiteY2" fmla="*/ 2281 h 10609"/>
                    <a:gd name="connsiteX3" fmla="*/ 6311 w 10000"/>
                    <a:gd name="connsiteY3" fmla="*/ 0 h 10609"/>
                    <a:gd name="connsiteX4" fmla="*/ 10000 w 10000"/>
                    <a:gd name="connsiteY4" fmla="*/ 4885 h 10609"/>
                    <a:gd name="connsiteX5" fmla="*/ 8057 w 10000"/>
                    <a:gd name="connsiteY5" fmla="*/ 9396 h 10609"/>
                    <a:gd name="connsiteX6" fmla="*/ 5345 w 10000"/>
                    <a:gd name="connsiteY6" fmla="*/ 10609 h 10609"/>
                    <a:gd name="connsiteX7" fmla="*/ 4194 w 10000"/>
                    <a:gd name="connsiteY7" fmla="*/ 8903 h 10609"/>
                    <a:gd name="connsiteX8" fmla="*/ 3623 w 10000"/>
                    <a:gd name="connsiteY8" fmla="*/ 7807 h 10609"/>
                    <a:gd name="connsiteX9" fmla="*/ 3191 w 10000"/>
                    <a:gd name="connsiteY9" fmla="*/ 8848 h 10609"/>
                    <a:gd name="connsiteX10" fmla="*/ 72 w 10000"/>
                    <a:gd name="connsiteY10" fmla="*/ 9492 h 10609"/>
                    <a:gd name="connsiteX11" fmla="*/ 0 w 10000"/>
                    <a:gd name="connsiteY11" fmla="*/ 7999 h 10609"/>
                    <a:gd name="connsiteX12" fmla="*/ 0 w 10000"/>
                    <a:gd name="connsiteY12" fmla="*/ 7999 h 10609"/>
                    <a:gd name="connsiteX0" fmla="*/ 0 w 10000"/>
                    <a:gd name="connsiteY0" fmla="*/ 7999 h 10609"/>
                    <a:gd name="connsiteX1" fmla="*/ 0 w 10000"/>
                    <a:gd name="connsiteY1" fmla="*/ 7999 h 10609"/>
                    <a:gd name="connsiteX2" fmla="*/ 0 w 10000"/>
                    <a:gd name="connsiteY2" fmla="*/ 2281 h 10609"/>
                    <a:gd name="connsiteX3" fmla="*/ 6311 w 10000"/>
                    <a:gd name="connsiteY3" fmla="*/ 0 h 10609"/>
                    <a:gd name="connsiteX4" fmla="*/ 10000 w 10000"/>
                    <a:gd name="connsiteY4" fmla="*/ 4885 h 10609"/>
                    <a:gd name="connsiteX5" fmla="*/ 8057 w 10000"/>
                    <a:gd name="connsiteY5" fmla="*/ 9396 h 10609"/>
                    <a:gd name="connsiteX6" fmla="*/ 5345 w 10000"/>
                    <a:gd name="connsiteY6" fmla="*/ 10609 h 10609"/>
                    <a:gd name="connsiteX7" fmla="*/ 4194 w 10000"/>
                    <a:gd name="connsiteY7" fmla="*/ 8903 h 10609"/>
                    <a:gd name="connsiteX8" fmla="*/ 3623 w 10000"/>
                    <a:gd name="connsiteY8" fmla="*/ 7807 h 10609"/>
                    <a:gd name="connsiteX9" fmla="*/ 3191 w 10000"/>
                    <a:gd name="connsiteY9" fmla="*/ 8848 h 10609"/>
                    <a:gd name="connsiteX10" fmla="*/ 72 w 10000"/>
                    <a:gd name="connsiteY10" fmla="*/ 9492 h 10609"/>
                    <a:gd name="connsiteX11" fmla="*/ 0 w 10000"/>
                    <a:gd name="connsiteY11" fmla="*/ 7999 h 10609"/>
                    <a:gd name="connsiteX12" fmla="*/ 0 w 10000"/>
                    <a:gd name="connsiteY12" fmla="*/ 7999 h 10609"/>
                    <a:gd name="connsiteX0" fmla="*/ 0 w 10000"/>
                    <a:gd name="connsiteY0" fmla="*/ 7999 h 10609"/>
                    <a:gd name="connsiteX1" fmla="*/ 0 w 10000"/>
                    <a:gd name="connsiteY1" fmla="*/ 7999 h 10609"/>
                    <a:gd name="connsiteX2" fmla="*/ 0 w 10000"/>
                    <a:gd name="connsiteY2" fmla="*/ 2281 h 10609"/>
                    <a:gd name="connsiteX3" fmla="*/ 6311 w 10000"/>
                    <a:gd name="connsiteY3" fmla="*/ 0 h 10609"/>
                    <a:gd name="connsiteX4" fmla="*/ 10000 w 10000"/>
                    <a:gd name="connsiteY4" fmla="*/ 4885 h 10609"/>
                    <a:gd name="connsiteX5" fmla="*/ 8057 w 10000"/>
                    <a:gd name="connsiteY5" fmla="*/ 9396 h 10609"/>
                    <a:gd name="connsiteX6" fmla="*/ 5345 w 10000"/>
                    <a:gd name="connsiteY6" fmla="*/ 10609 h 10609"/>
                    <a:gd name="connsiteX7" fmla="*/ 4194 w 10000"/>
                    <a:gd name="connsiteY7" fmla="*/ 8903 h 10609"/>
                    <a:gd name="connsiteX8" fmla="*/ 3623 w 10000"/>
                    <a:gd name="connsiteY8" fmla="*/ 7807 h 10609"/>
                    <a:gd name="connsiteX9" fmla="*/ 3191 w 10000"/>
                    <a:gd name="connsiteY9" fmla="*/ 8848 h 10609"/>
                    <a:gd name="connsiteX10" fmla="*/ 72 w 10000"/>
                    <a:gd name="connsiteY10" fmla="*/ 9492 h 10609"/>
                    <a:gd name="connsiteX11" fmla="*/ 0 w 10000"/>
                    <a:gd name="connsiteY11" fmla="*/ 7999 h 10609"/>
                    <a:gd name="connsiteX12" fmla="*/ 0 w 10000"/>
                    <a:gd name="connsiteY12" fmla="*/ 7999 h 10609"/>
                    <a:gd name="connsiteX0" fmla="*/ 0 w 10000"/>
                    <a:gd name="connsiteY0" fmla="*/ 7999 h 10609"/>
                    <a:gd name="connsiteX1" fmla="*/ 0 w 10000"/>
                    <a:gd name="connsiteY1" fmla="*/ 7999 h 10609"/>
                    <a:gd name="connsiteX2" fmla="*/ 0 w 10000"/>
                    <a:gd name="connsiteY2" fmla="*/ 2281 h 10609"/>
                    <a:gd name="connsiteX3" fmla="*/ 6311 w 10000"/>
                    <a:gd name="connsiteY3" fmla="*/ 0 h 10609"/>
                    <a:gd name="connsiteX4" fmla="*/ 10000 w 10000"/>
                    <a:gd name="connsiteY4" fmla="*/ 4885 h 10609"/>
                    <a:gd name="connsiteX5" fmla="*/ 8057 w 10000"/>
                    <a:gd name="connsiteY5" fmla="*/ 9396 h 10609"/>
                    <a:gd name="connsiteX6" fmla="*/ 5345 w 10000"/>
                    <a:gd name="connsiteY6" fmla="*/ 10609 h 10609"/>
                    <a:gd name="connsiteX7" fmla="*/ 4194 w 10000"/>
                    <a:gd name="connsiteY7" fmla="*/ 8903 h 10609"/>
                    <a:gd name="connsiteX8" fmla="*/ 3623 w 10000"/>
                    <a:gd name="connsiteY8" fmla="*/ 7807 h 10609"/>
                    <a:gd name="connsiteX9" fmla="*/ 3191 w 10000"/>
                    <a:gd name="connsiteY9" fmla="*/ 8848 h 10609"/>
                    <a:gd name="connsiteX10" fmla="*/ 72 w 10000"/>
                    <a:gd name="connsiteY10" fmla="*/ 9492 h 10609"/>
                    <a:gd name="connsiteX11" fmla="*/ 0 w 10000"/>
                    <a:gd name="connsiteY11" fmla="*/ 7999 h 10609"/>
                    <a:gd name="connsiteX12" fmla="*/ 0 w 10000"/>
                    <a:gd name="connsiteY12" fmla="*/ 7999 h 10609"/>
                    <a:gd name="connsiteX0" fmla="*/ 0 w 10000"/>
                    <a:gd name="connsiteY0" fmla="*/ 7999 h 10609"/>
                    <a:gd name="connsiteX1" fmla="*/ 0 w 10000"/>
                    <a:gd name="connsiteY1" fmla="*/ 7999 h 10609"/>
                    <a:gd name="connsiteX2" fmla="*/ 0 w 10000"/>
                    <a:gd name="connsiteY2" fmla="*/ 2281 h 10609"/>
                    <a:gd name="connsiteX3" fmla="*/ 6311 w 10000"/>
                    <a:gd name="connsiteY3" fmla="*/ 0 h 10609"/>
                    <a:gd name="connsiteX4" fmla="*/ 10000 w 10000"/>
                    <a:gd name="connsiteY4" fmla="*/ 4885 h 10609"/>
                    <a:gd name="connsiteX5" fmla="*/ 8057 w 10000"/>
                    <a:gd name="connsiteY5" fmla="*/ 9396 h 10609"/>
                    <a:gd name="connsiteX6" fmla="*/ 5345 w 10000"/>
                    <a:gd name="connsiteY6" fmla="*/ 10609 h 10609"/>
                    <a:gd name="connsiteX7" fmla="*/ 4194 w 10000"/>
                    <a:gd name="connsiteY7" fmla="*/ 8903 h 10609"/>
                    <a:gd name="connsiteX8" fmla="*/ 3623 w 10000"/>
                    <a:gd name="connsiteY8" fmla="*/ 7807 h 10609"/>
                    <a:gd name="connsiteX9" fmla="*/ 3191 w 10000"/>
                    <a:gd name="connsiteY9" fmla="*/ 8848 h 10609"/>
                    <a:gd name="connsiteX10" fmla="*/ 72 w 10000"/>
                    <a:gd name="connsiteY10" fmla="*/ 9492 h 10609"/>
                    <a:gd name="connsiteX11" fmla="*/ 0 w 10000"/>
                    <a:gd name="connsiteY11" fmla="*/ 7999 h 10609"/>
                    <a:gd name="connsiteX12" fmla="*/ 0 w 10000"/>
                    <a:gd name="connsiteY12" fmla="*/ 7999 h 1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609">
                      <a:moveTo>
                        <a:pt x="0" y="7999"/>
                      </a:moveTo>
                      <a:lnTo>
                        <a:pt x="0" y="7999"/>
                      </a:lnTo>
                      <a:lnTo>
                        <a:pt x="0" y="2281"/>
                      </a:lnTo>
                      <a:lnTo>
                        <a:pt x="6311" y="0"/>
                      </a:lnTo>
                      <a:lnTo>
                        <a:pt x="10000" y="4885"/>
                      </a:lnTo>
                      <a:cubicBezTo>
                        <a:pt x="8059" y="9453"/>
                        <a:pt x="9988" y="4887"/>
                        <a:pt x="8057" y="9396"/>
                      </a:cubicBezTo>
                      <a:lnTo>
                        <a:pt x="5345" y="10609"/>
                      </a:lnTo>
                      <a:lnTo>
                        <a:pt x="4194" y="8903"/>
                      </a:lnTo>
                      <a:lnTo>
                        <a:pt x="3623" y="7807"/>
                      </a:lnTo>
                      <a:cubicBezTo>
                        <a:pt x="3493" y="8276"/>
                        <a:pt x="3321" y="8379"/>
                        <a:pt x="3191" y="8848"/>
                      </a:cubicBezTo>
                      <a:lnTo>
                        <a:pt x="72" y="9492"/>
                      </a:lnTo>
                      <a:cubicBezTo>
                        <a:pt x="77" y="8837"/>
                        <a:pt x="64" y="9267"/>
                        <a:pt x="0" y="7999"/>
                      </a:cubicBezTo>
                      <a:lnTo>
                        <a:pt x="0" y="7999"/>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1" name="Slovakia">
                  <a:extLst>
                    <a:ext uri="{FF2B5EF4-FFF2-40B4-BE49-F238E27FC236}">
                      <a16:creationId xmlns:a16="http://schemas.microsoft.com/office/drawing/2014/main" id="{BFF0E4C2-7D0C-15BE-700A-FCCF382CAB2B}"/>
                    </a:ext>
                  </a:extLst>
                </p:cNvPr>
                <p:cNvSpPr>
                  <a:spLocks noGrp="1" noRot="1" noMove="1" noResize="1" noEditPoints="1" noAdjustHandles="1" noChangeArrowheads="1" noChangeShapeType="1"/>
                </p:cNvSpPr>
                <p:nvPr/>
              </p:nvSpPr>
              <p:spPr bwMode="gray">
                <a:xfrm>
                  <a:off x="4959475" y="3609238"/>
                  <a:ext cx="523290" cy="243958"/>
                </a:xfrm>
                <a:custGeom>
                  <a:avLst/>
                  <a:gdLst/>
                  <a:ahLst/>
                  <a:cxnLst>
                    <a:cxn ang="0">
                      <a:pos x="0" y="14"/>
                    </a:cxn>
                    <a:cxn ang="0">
                      <a:pos x="0" y="14"/>
                    </a:cxn>
                    <a:cxn ang="0">
                      <a:pos x="25" y="38"/>
                    </a:cxn>
                    <a:cxn ang="0">
                      <a:pos x="65" y="37"/>
                    </a:cxn>
                    <a:cxn ang="0">
                      <a:pos x="71" y="48"/>
                    </a:cxn>
                    <a:cxn ang="0">
                      <a:pos x="89" y="54"/>
                    </a:cxn>
                    <a:cxn ang="0">
                      <a:pos x="121" y="42"/>
                    </a:cxn>
                    <a:cxn ang="0">
                      <a:pos x="139" y="44"/>
                    </a:cxn>
                    <a:cxn ang="0">
                      <a:pos x="143" y="33"/>
                    </a:cxn>
                    <a:cxn ang="0">
                      <a:pos x="109" y="30"/>
                    </a:cxn>
                    <a:cxn ang="0">
                      <a:pos x="38" y="6"/>
                    </a:cxn>
                    <a:cxn ang="0">
                      <a:pos x="30" y="0"/>
                    </a:cxn>
                    <a:cxn ang="0">
                      <a:pos x="0" y="14"/>
                    </a:cxn>
                    <a:cxn ang="0">
                      <a:pos x="0" y="14"/>
                    </a:cxn>
                  </a:cxnLst>
                  <a:rect l="0" t="0" r="r" b="b"/>
                  <a:pathLst>
                    <a:path w="144" h="55">
                      <a:moveTo>
                        <a:pt x="0" y="14"/>
                      </a:moveTo>
                      <a:lnTo>
                        <a:pt x="0" y="14"/>
                      </a:lnTo>
                      <a:lnTo>
                        <a:pt x="25" y="38"/>
                      </a:lnTo>
                      <a:lnTo>
                        <a:pt x="65" y="37"/>
                      </a:lnTo>
                      <a:lnTo>
                        <a:pt x="71" y="48"/>
                      </a:lnTo>
                      <a:lnTo>
                        <a:pt x="89" y="54"/>
                      </a:lnTo>
                      <a:lnTo>
                        <a:pt x="121" y="42"/>
                      </a:lnTo>
                      <a:lnTo>
                        <a:pt x="139" y="44"/>
                      </a:lnTo>
                      <a:lnTo>
                        <a:pt x="143" y="33"/>
                      </a:lnTo>
                      <a:lnTo>
                        <a:pt x="109" y="30"/>
                      </a:lnTo>
                      <a:lnTo>
                        <a:pt x="38" y="6"/>
                      </a:lnTo>
                      <a:lnTo>
                        <a:pt x="30" y="0"/>
                      </a:lnTo>
                      <a:lnTo>
                        <a:pt x="0" y="14"/>
                      </a:lnTo>
                      <a:lnTo>
                        <a:pt x="0" y="14"/>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2" name="Romania">
                  <a:extLst>
                    <a:ext uri="{FF2B5EF4-FFF2-40B4-BE49-F238E27FC236}">
                      <a16:creationId xmlns:a16="http://schemas.microsoft.com/office/drawing/2014/main" id="{98561B05-0835-D70F-486B-5E1C278AF4EE}"/>
                    </a:ext>
                  </a:extLst>
                </p:cNvPr>
                <p:cNvSpPr>
                  <a:spLocks noGrp="1" noRot="1" noMove="1" noResize="1" noEditPoints="1" noAdjustHandles="1" noChangeArrowheads="1" noChangeShapeType="1"/>
                </p:cNvSpPr>
                <p:nvPr/>
              </p:nvSpPr>
              <p:spPr bwMode="gray">
                <a:xfrm>
                  <a:off x="5371245" y="3813276"/>
                  <a:ext cx="476108" cy="314930"/>
                </a:xfrm>
                <a:custGeom>
                  <a:avLst/>
                  <a:gdLst/>
                  <a:ahLst/>
                  <a:cxnLst>
                    <a:cxn ang="0">
                      <a:pos x="0" y="34"/>
                    </a:cxn>
                    <a:cxn ang="0">
                      <a:pos x="0" y="34"/>
                    </a:cxn>
                    <a:cxn ang="0">
                      <a:pos x="35" y="62"/>
                    </a:cxn>
                    <a:cxn ang="0">
                      <a:pos x="116" y="69"/>
                    </a:cxn>
                    <a:cxn ang="0">
                      <a:pos x="130" y="44"/>
                    </a:cxn>
                    <a:cxn ang="0">
                      <a:pos x="110" y="43"/>
                    </a:cxn>
                    <a:cxn ang="0">
                      <a:pos x="107" y="22"/>
                    </a:cxn>
                    <a:cxn ang="0">
                      <a:pos x="89" y="0"/>
                    </a:cxn>
                    <a:cxn ang="0">
                      <a:pos x="35" y="5"/>
                    </a:cxn>
                    <a:cxn ang="0">
                      <a:pos x="0" y="34"/>
                    </a:cxn>
                    <a:cxn ang="0">
                      <a:pos x="0" y="34"/>
                    </a:cxn>
                  </a:cxnLst>
                  <a:rect l="0" t="0" r="r" b="b"/>
                  <a:pathLst>
                    <a:path w="131" h="70">
                      <a:moveTo>
                        <a:pt x="0" y="34"/>
                      </a:moveTo>
                      <a:lnTo>
                        <a:pt x="0" y="34"/>
                      </a:lnTo>
                      <a:lnTo>
                        <a:pt x="35" y="62"/>
                      </a:lnTo>
                      <a:lnTo>
                        <a:pt x="116" y="69"/>
                      </a:lnTo>
                      <a:lnTo>
                        <a:pt x="130" y="44"/>
                      </a:lnTo>
                      <a:lnTo>
                        <a:pt x="110" y="43"/>
                      </a:lnTo>
                      <a:lnTo>
                        <a:pt x="107" y="22"/>
                      </a:lnTo>
                      <a:lnTo>
                        <a:pt x="89" y="0"/>
                      </a:lnTo>
                      <a:lnTo>
                        <a:pt x="35" y="5"/>
                      </a:lnTo>
                      <a:lnTo>
                        <a:pt x="0" y="34"/>
                      </a:lnTo>
                      <a:lnTo>
                        <a:pt x="0" y="34"/>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3" name="Portugal">
                  <a:extLst>
                    <a:ext uri="{FF2B5EF4-FFF2-40B4-BE49-F238E27FC236}">
                      <a16:creationId xmlns:a16="http://schemas.microsoft.com/office/drawing/2014/main" id="{91446A14-F7AE-8386-CF7D-71021BABABB5}"/>
                    </a:ext>
                  </a:extLst>
                </p:cNvPr>
                <p:cNvSpPr>
                  <a:spLocks noGrp="1" noRot="1" noMove="1" noResize="1" noEditPoints="1" noAdjustHandles="1" noChangeArrowheads="1" noChangeShapeType="1"/>
                </p:cNvSpPr>
                <p:nvPr/>
              </p:nvSpPr>
              <p:spPr bwMode="gray">
                <a:xfrm>
                  <a:off x="3917182" y="4252404"/>
                  <a:ext cx="158703" cy="310494"/>
                </a:xfrm>
                <a:custGeom>
                  <a:avLst/>
                  <a:gdLst/>
                  <a:ahLst/>
                  <a:cxnLst>
                    <a:cxn ang="0">
                      <a:pos x="0" y="44"/>
                    </a:cxn>
                    <a:cxn ang="0">
                      <a:pos x="0" y="44"/>
                    </a:cxn>
                    <a:cxn ang="0">
                      <a:pos x="7" y="0"/>
                    </a:cxn>
                    <a:cxn ang="0">
                      <a:pos x="42" y="3"/>
                    </a:cxn>
                    <a:cxn ang="0">
                      <a:pos x="26" y="31"/>
                    </a:cxn>
                    <a:cxn ang="0">
                      <a:pos x="26" y="66"/>
                    </a:cxn>
                    <a:cxn ang="0">
                      <a:pos x="6" y="68"/>
                    </a:cxn>
                    <a:cxn ang="0">
                      <a:pos x="8" y="47"/>
                    </a:cxn>
                    <a:cxn ang="0">
                      <a:pos x="0" y="44"/>
                    </a:cxn>
                    <a:cxn ang="0">
                      <a:pos x="0" y="44"/>
                    </a:cxn>
                  </a:cxnLst>
                  <a:rect l="0" t="0" r="r" b="b"/>
                  <a:pathLst>
                    <a:path w="43" h="69">
                      <a:moveTo>
                        <a:pt x="0" y="44"/>
                      </a:moveTo>
                      <a:lnTo>
                        <a:pt x="0" y="44"/>
                      </a:lnTo>
                      <a:lnTo>
                        <a:pt x="7" y="0"/>
                      </a:lnTo>
                      <a:lnTo>
                        <a:pt x="42" y="3"/>
                      </a:lnTo>
                      <a:lnTo>
                        <a:pt x="26" y="31"/>
                      </a:lnTo>
                      <a:lnTo>
                        <a:pt x="26" y="66"/>
                      </a:lnTo>
                      <a:lnTo>
                        <a:pt x="6" y="68"/>
                      </a:lnTo>
                      <a:lnTo>
                        <a:pt x="8" y="47"/>
                      </a:lnTo>
                      <a:lnTo>
                        <a:pt x="0" y="44"/>
                      </a:lnTo>
                      <a:lnTo>
                        <a:pt x="0" y="44"/>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4" name="Poland">
                  <a:extLst>
                    <a:ext uri="{FF2B5EF4-FFF2-40B4-BE49-F238E27FC236}">
                      <a16:creationId xmlns:a16="http://schemas.microsoft.com/office/drawing/2014/main" id="{F4C87AC4-C776-5677-6DF0-C767A2529E0D}"/>
                    </a:ext>
                  </a:extLst>
                </p:cNvPr>
                <p:cNvSpPr>
                  <a:spLocks noGrp="1" noRot="1" noMove="1" noResize="1" noEditPoints="1" noAdjustHandles="1" noChangeArrowheads="1" noChangeShapeType="1"/>
                </p:cNvSpPr>
                <p:nvPr/>
              </p:nvSpPr>
              <p:spPr bwMode="gray">
                <a:xfrm>
                  <a:off x="5070997" y="3343102"/>
                  <a:ext cx="497554" cy="416948"/>
                </a:xfrm>
                <a:custGeom>
                  <a:avLst/>
                  <a:gdLst/>
                  <a:ahLst/>
                  <a:cxnLst>
                    <a:cxn ang="0">
                      <a:pos x="0" y="16"/>
                    </a:cxn>
                    <a:cxn ang="0">
                      <a:pos x="0" y="16"/>
                    </a:cxn>
                    <a:cxn ang="0">
                      <a:pos x="8" y="65"/>
                    </a:cxn>
                    <a:cxn ang="0">
                      <a:pos x="79" y="89"/>
                    </a:cxn>
                    <a:cxn ang="0">
                      <a:pos x="113" y="92"/>
                    </a:cxn>
                    <a:cxn ang="0">
                      <a:pos x="136" y="68"/>
                    </a:cxn>
                    <a:cxn ang="0">
                      <a:pos x="125" y="40"/>
                    </a:cxn>
                    <a:cxn ang="0">
                      <a:pos x="133" y="33"/>
                    </a:cxn>
                    <a:cxn ang="0">
                      <a:pos x="127" y="12"/>
                    </a:cxn>
                    <a:cxn ang="0">
                      <a:pos x="76" y="5"/>
                    </a:cxn>
                    <a:cxn ang="0">
                      <a:pos x="42" y="0"/>
                    </a:cxn>
                    <a:cxn ang="0">
                      <a:pos x="0" y="16"/>
                    </a:cxn>
                    <a:cxn ang="0">
                      <a:pos x="0" y="16"/>
                    </a:cxn>
                  </a:cxnLst>
                  <a:rect l="0" t="0" r="r" b="b"/>
                  <a:pathLst>
                    <a:path w="137" h="93">
                      <a:moveTo>
                        <a:pt x="0" y="16"/>
                      </a:moveTo>
                      <a:lnTo>
                        <a:pt x="0" y="16"/>
                      </a:lnTo>
                      <a:lnTo>
                        <a:pt x="8" y="65"/>
                      </a:lnTo>
                      <a:lnTo>
                        <a:pt x="79" y="89"/>
                      </a:lnTo>
                      <a:lnTo>
                        <a:pt x="113" y="92"/>
                      </a:lnTo>
                      <a:lnTo>
                        <a:pt x="136" y="68"/>
                      </a:lnTo>
                      <a:lnTo>
                        <a:pt x="125" y="40"/>
                      </a:lnTo>
                      <a:lnTo>
                        <a:pt x="133" y="33"/>
                      </a:lnTo>
                      <a:lnTo>
                        <a:pt x="127" y="12"/>
                      </a:lnTo>
                      <a:lnTo>
                        <a:pt x="76" y="5"/>
                      </a:lnTo>
                      <a:lnTo>
                        <a:pt x="42" y="0"/>
                      </a:lnTo>
                      <a:lnTo>
                        <a:pt x="0" y="16"/>
                      </a:lnTo>
                      <a:lnTo>
                        <a:pt x="0" y="16"/>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45" name="Norway">
                  <a:extLst>
                    <a:ext uri="{FF2B5EF4-FFF2-40B4-BE49-F238E27FC236}">
                      <a16:creationId xmlns:a16="http://schemas.microsoft.com/office/drawing/2014/main" id="{B88735C2-BC26-169D-C9F6-B436B47F5621}"/>
                    </a:ext>
                  </a:extLst>
                </p:cNvPr>
                <p:cNvGrpSpPr>
                  <a:grpSpLocks noGrp="1" noUngrp="1" noRot="1" noMove="1" noResize="1"/>
                </p:cNvGrpSpPr>
                <p:nvPr/>
              </p:nvGrpSpPr>
              <p:grpSpPr>
                <a:xfrm>
                  <a:off x="4624911" y="872458"/>
                  <a:ext cx="1282489" cy="2208942"/>
                  <a:chOff x="4871336" y="1770849"/>
                  <a:chExt cx="641142" cy="1104471"/>
                </a:xfrm>
                <a:grpFill/>
              </p:grpSpPr>
              <p:sp>
                <p:nvSpPr>
                  <p:cNvPr id="183" name="Norway">
                    <a:extLst>
                      <a:ext uri="{FF2B5EF4-FFF2-40B4-BE49-F238E27FC236}">
                        <a16:creationId xmlns:a16="http://schemas.microsoft.com/office/drawing/2014/main" id="{DB22BC26-8BDC-EE08-67FD-9B49AAA8A038}"/>
                      </a:ext>
                    </a:extLst>
                  </p:cNvPr>
                  <p:cNvSpPr>
                    <a:spLocks noGrp="1" noRot="1" noMove="1" noResize="1" noEditPoints="1" noAdjustHandles="1" noChangeArrowheads="1" noChangeShapeType="1"/>
                  </p:cNvSpPr>
                  <p:nvPr/>
                </p:nvSpPr>
                <p:spPr bwMode="gray">
                  <a:xfrm>
                    <a:off x="4871336" y="2303124"/>
                    <a:ext cx="641142" cy="572196"/>
                  </a:xfrm>
                  <a:custGeom>
                    <a:avLst/>
                    <a:gdLst/>
                    <a:ahLst/>
                    <a:cxnLst>
                      <a:cxn ang="0">
                        <a:pos x="0" y="189"/>
                      </a:cxn>
                      <a:cxn ang="0">
                        <a:pos x="33" y="193"/>
                      </a:cxn>
                      <a:cxn ang="0">
                        <a:pos x="1" y="205"/>
                      </a:cxn>
                      <a:cxn ang="0">
                        <a:pos x="6" y="222"/>
                      </a:cxn>
                      <a:cxn ang="0">
                        <a:pos x="3" y="230"/>
                      </a:cxn>
                      <a:cxn ang="0">
                        <a:pos x="9" y="247"/>
                      </a:cxn>
                      <a:cxn ang="0">
                        <a:pos x="70" y="237"/>
                      </a:cxn>
                      <a:cxn ang="0">
                        <a:pos x="84" y="237"/>
                      </a:cxn>
                      <a:cxn ang="0">
                        <a:pos x="97" y="203"/>
                      </a:cxn>
                      <a:cxn ang="0">
                        <a:pos x="97" y="189"/>
                      </a:cxn>
                      <a:cxn ang="0">
                        <a:pos x="123" y="144"/>
                      </a:cxn>
                      <a:cxn ang="0">
                        <a:pos x="129" y="105"/>
                      </a:cxn>
                      <a:cxn ang="0">
                        <a:pos x="158" y="68"/>
                      </a:cxn>
                      <a:cxn ang="0">
                        <a:pos x="179" y="55"/>
                      </a:cxn>
                      <a:cxn ang="0">
                        <a:pos x="205" y="43"/>
                      </a:cxn>
                      <a:cxn ang="0">
                        <a:pos x="221" y="37"/>
                      </a:cxn>
                      <a:cxn ang="0">
                        <a:pos x="266" y="51"/>
                      </a:cxn>
                      <a:cxn ang="0">
                        <a:pos x="286" y="27"/>
                      </a:cxn>
                      <a:cxn ang="0">
                        <a:pos x="328" y="29"/>
                      </a:cxn>
                      <a:cxn ang="0">
                        <a:pos x="352" y="27"/>
                      </a:cxn>
                      <a:cxn ang="0">
                        <a:pos x="339" y="26"/>
                      </a:cxn>
                      <a:cxn ang="0">
                        <a:pos x="353" y="13"/>
                      </a:cxn>
                      <a:cxn ang="0">
                        <a:pos x="312" y="13"/>
                      </a:cxn>
                      <a:cxn ang="0">
                        <a:pos x="307" y="0"/>
                      </a:cxn>
                      <a:cxn ang="0">
                        <a:pos x="294" y="14"/>
                      </a:cxn>
                      <a:cxn ang="0">
                        <a:pos x="272" y="23"/>
                      </a:cxn>
                      <a:cxn ang="0">
                        <a:pos x="272" y="1"/>
                      </a:cxn>
                      <a:cxn ang="0">
                        <a:pos x="224" y="16"/>
                      </a:cxn>
                      <a:cxn ang="0">
                        <a:pos x="221" y="23"/>
                      </a:cxn>
                      <a:cxn ang="0">
                        <a:pos x="207" y="25"/>
                      </a:cxn>
                      <a:cxn ang="0">
                        <a:pos x="191" y="28"/>
                      </a:cxn>
                      <a:cxn ang="0">
                        <a:pos x="178" y="35"/>
                      </a:cxn>
                      <a:cxn ang="0">
                        <a:pos x="156" y="55"/>
                      </a:cxn>
                      <a:cxn ang="0">
                        <a:pos x="144" y="64"/>
                      </a:cxn>
                      <a:cxn ang="0">
                        <a:pos x="147" y="74"/>
                      </a:cxn>
                      <a:cxn ang="0">
                        <a:pos x="100" y="122"/>
                      </a:cxn>
                      <a:cxn ang="0">
                        <a:pos x="70" y="154"/>
                      </a:cxn>
                      <a:cxn ang="0">
                        <a:pos x="48" y="158"/>
                      </a:cxn>
                      <a:cxn ang="0">
                        <a:pos x="33" y="173"/>
                      </a:cxn>
                      <a:cxn ang="0">
                        <a:pos x="20" y="181"/>
                      </a:cxn>
                      <a:cxn ang="0">
                        <a:pos x="19" y="185"/>
                      </a:cxn>
                      <a:cxn ang="0">
                        <a:pos x="0" y="189"/>
                      </a:cxn>
                    </a:cxnLst>
                    <a:rect l="0" t="0" r="r" b="b"/>
                    <a:pathLst>
                      <a:path w="354" h="254">
                        <a:moveTo>
                          <a:pt x="0" y="189"/>
                        </a:moveTo>
                        <a:lnTo>
                          <a:pt x="0" y="189"/>
                        </a:lnTo>
                        <a:lnTo>
                          <a:pt x="1" y="200"/>
                        </a:lnTo>
                        <a:lnTo>
                          <a:pt x="33" y="193"/>
                        </a:lnTo>
                        <a:lnTo>
                          <a:pt x="34" y="197"/>
                        </a:lnTo>
                        <a:lnTo>
                          <a:pt x="1" y="205"/>
                        </a:lnTo>
                        <a:lnTo>
                          <a:pt x="9" y="208"/>
                        </a:lnTo>
                        <a:lnTo>
                          <a:pt x="6" y="222"/>
                        </a:lnTo>
                        <a:lnTo>
                          <a:pt x="28" y="211"/>
                        </a:lnTo>
                        <a:lnTo>
                          <a:pt x="3" y="230"/>
                        </a:lnTo>
                        <a:lnTo>
                          <a:pt x="17" y="230"/>
                        </a:lnTo>
                        <a:lnTo>
                          <a:pt x="9" y="247"/>
                        </a:lnTo>
                        <a:lnTo>
                          <a:pt x="43" y="253"/>
                        </a:lnTo>
                        <a:lnTo>
                          <a:pt x="70" y="237"/>
                        </a:lnTo>
                        <a:lnTo>
                          <a:pt x="75" y="223"/>
                        </a:lnTo>
                        <a:lnTo>
                          <a:pt x="84" y="237"/>
                        </a:lnTo>
                        <a:lnTo>
                          <a:pt x="99" y="219"/>
                        </a:lnTo>
                        <a:lnTo>
                          <a:pt x="97" y="203"/>
                        </a:lnTo>
                        <a:lnTo>
                          <a:pt x="104" y="196"/>
                        </a:lnTo>
                        <a:lnTo>
                          <a:pt x="97" y="189"/>
                        </a:lnTo>
                        <a:lnTo>
                          <a:pt x="98" y="152"/>
                        </a:lnTo>
                        <a:lnTo>
                          <a:pt x="123" y="144"/>
                        </a:lnTo>
                        <a:lnTo>
                          <a:pt x="118" y="132"/>
                        </a:lnTo>
                        <a:lnTo>
                          <a:pt x="129" y="105"/>
                        </a:lnTo>
                        <a:lnTo>
                          <a:pt x="153" y="84"/>
                        </a:lnTo>
                        <a:lnTo>
                          <a:pt x="158" y="68"/>
                        </a:lnTo>
                        <a:lnTo>
                          <a:pt x="174" y="65"/>
                        </a:lnTo>
                        <a:lnTo>
                          <a:pt x="179" y="55"/>
                        </a:lnTo>
                        <a:lnTo>
                          <a:pt x="205" y="57"/>
                        </a:lnTo>
                        <a:lnTo>
                          <a:pt x="205" y="43"/>
                        </a:lnTo>
                        <a:lnTo>
                          <a:pt x="212" y="43"/>
                        </a:lnTo>
                        <a:lnTo>
                          <a:pt x="221" y="37"/>
                        </a:lnTo>
                        <a:lnTo>
                          <a:pt x="237" y="49"/>
                        </a:lnTo>
                        <a:lnTo>
                          <a:pt x="266" y="51"/>
                        </a:lnTo>
                        <a:lnTo>
                          <a:pt x="282" y="44"/>
                        </a:lnTo>
                        <a:lnTo>
                          <a:pt x="286" y="27"/>
                        </a:lnTo>
                        <a:lnTo>
                          <a:pt x="313" y="23"/>
                        </a:lnTo>
                        <a:lnTo>
                          <a:pt x="328" y="29"/>
                        </a:lnTo>
                        <a:lnTo>
                          <a:pt x="326" y="43"/>
                        </a:lnTo>
                        <a:lnTo>
                          <a:pt x="352" y="27"/>
                        </a:lnTo>
                        <a:lnTo>
                          <a:pt x="335" y="29"/>
                        </a:lnTo>
                        <a:lnTo>
                          <a:pt x="339" y="26"/>
                        </a:lnTo>
                        <a:lnTo>
                          <a:pt x="322" y="21"/>
                        </a:lnTo>
                        <a:lnTo>
                          <a:pt x="353" y="13"/>
                        </a:lnTo>
                        <a:lnTo>
                          <a:pt x="328" y="3"/>
                        </a:lnTo>
                        <a:lnTo>
                          <a:pt x="312" y="13"/>
                        </a:lnTo>
                        <a:lnTo>
                          <a:pt x="320" y="1"/>
                        </a:lnTo>
                        <a:lnTo>
                          <a:pt x="307" y="0"/>
                        </a:lnTo>
                        <a:lnTo>
                          <a:pt x="299" y="13"/>
                        </a:lnTo>
                        <a:lnTo>
                          <a:pt x="294" y="14"/>
                        </a:lnTo>
                        <a:lnTo>
                          <a:pt x="294" y="2"/>
                        </a:lnTo>
                        <a:lnTo>
                          <a:pt x="272" y="23"/>
                        </a:lnTo>
                        <a:lnTo>
                          <a:pt x="284" y="4"/>
                        </a:lnTo>
                        <a:lnTo>
                          <a:pt x="272" y="1"/>
                        </a:lnTo>
                        <a:lnTo>
                          <a:pt x="248" y="23"/>
                        </a:lnTo>
                        <a:lnTo>
                          <a:pt x="224" y="16"/>
                        </a:lnTo>
                        <a:lnTo>
                          <a:pt x="231" y="29"/>
                        </a:lnTo>
                        <a:lnTo>
                          <a:pt x="221" y="23"/>
                        </a:lnTo>
                        <a:lnTo>
                          <a:pt x="205" y="38"/>
                        </a:lnTo>
                        <a:lnTo>
                          <a:pt x="207" y="25"/>
                        </a:lnTo>
                        <a:lnTo>
                          <a:pt x="199" y="36"/>
                        </a:lnTo>
                        <a:lnTo>
                          <a:pt x="191" y="28"/>
                        </a:lnTo>
                        <a:lnTo>
                          <a:pt x="196" y="39"/>
                        </a:lnTo>
                        <a:lnTo>
                          <a:pt x="178" y="35"/>
                        </a:lnTo>
                        <a:lnTo>
                          <a:pt x="173" y="50"/>
                        </a:lnTo>
                        <a:lnTo>
                          <a:pt x="156" y="55"/>
                        </a:lnTo>
                        <a:lnTo>
                          <a:pt x="172" y="56"/>
                        </a:lnTo>
                        <a:lnTo>
                          <a:pt x="144" y="64"/>
                        </a:lnTo>
                        <a:lnTo>
                          <a:pt x="139" y="74"/>
                        </a:lnTo>
                        <a:lnTo>
                          <a:pt x="147" y="74"/>
                        </a:lnTo>
                        <a:lnTo>
                          <a:pt x="113" y="92"/>
                        </a:lnTo>
                        <a:lnTo>
                          <a:pt x="100" y="122"/>
                        </a:lnTo>
                        <a:lnTo>
                          <a:pt x="63" y="148"/>
                        </a:lnTo>
                        <a:lnTo>
                          <a:pt x="70" y="154"/>
                        </a:lnTo>
                        <a:lnTo>
                          <a:pt x="86" y="150"/>
                        </a:lnTo>
                        <a:lnTo>
                          <a:pt x="48" y="158"/>
                        </a:lnTo>
                        <a:lnTo>
                          <a:pt x="28" y="167"/>
                        </a:lnTo>
                        <a:lnTo>
                          <a:pt x="33" y="173"/>
                        </a:lnTo>
                        <a:lnTo>
                          <a:pt x="19" y="173"/>
                        </a:lnTo>
                        <a:lnTo>
                          <a:pt x="20" y="181"/>
                        </a:lnTo>
                        <a:lnTo>
                          <a:pt x="2" y="181"/>
                        </a:lnTo>
                        <a:lnTo>
                          <a:pt x="19" y="185"/>
                        </a:lnTo>
                        <a:lnTo>
                          <a:pt x="0" y="189"/>
                        </a:lnTo>
                        <a:lnTo>
                          <a:pt x="0" y="189"/>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84" name="Norway">
                    <a:extLst>
                      <a:ext uri="{FF2B5EF4-FFF2-40B4-BE49-F238E27FC236}">
                        <a16:creationId xmlns:a16="http://schemas.microsoft.com/office/drawing/2014/main" id="{807ED3D1-72AB-82BF-34C8-0497CF26CC36}"/>
                      </a:ext>
                    </a:extLst>
                  </p:cNvPr>
                  <p:cNvSpPr>
                    <a:spLocks noGrp="1" noRot="1" noMove="1" noResize="1" noEditPoints="1" noAdjustHandles="1" noChangeArrowheads="1" noChangeShapeType="1"/>
                  </p:cNvSpPr>
                  <p:nvPr/>
                </p:nvSpPr>
                <p:spPr bwMode="gray">
                  <a:xfrm>
                    <a:off x="5012860" y="1799681"/>
                    <a:ext cx="261603" cy="210692"/>
                  </a:xfrm>
                  <a:custGeom>
                    <a:avLst/>
                    <a:gdLst/>
                    <a:ahLst/>
                    <a:cxnLst>
                      <a:cxn ang="0">
                        <a:pos x="0" y="11"/>
                      </a:cxn>
                      <a:cxn ang="0">
                        <a:pos x="0" y="11"/>
                      </a:cxn>
                      <a:cxn ang="0">
                        <a:pos x="1" y="22"/>
                      </a:cxn>
                      <a:cxn ang="0">
                        <a:pos x="16" y="22"/>
                      </a:cxn>
                      <a:cxn ang="0">
                        <a:pos x="11" y="28"/>
                      </a:cxn>
                      <a:cxn ang="0">
                        <a:pos x="22" y="31"/>
                      </a:cxn>
                      <a:cxn ang="0">
                        <a:pos x="8" y="31"/>
                      </a:cxn>
                      <a:cxn ang="0">
                        <a:pos x="34" y="40"/>
                      </a:cxn>
                      <a:cxn ang="0">
                        <a:pos x="23" y="44"/>
                      </a:cxn>
                      <a:cxn ang="0">
                        <a:pos x="30" y="51"/>
                      </a:cxn>
                      <a:cxn ang="0">
                        <a:pos x="53" y="47"/>
                      </a:cxn>
                      <a:cxn ang="0">
                        <a:pos x="52" y="37"/>
                      </a:cxn>
                      <a:cxn ang="0">
                        <a:pos x="64" y="34"/>
                      </a:cxn>
                      <a:cxn ang="0">
                        <a:pos x="66" y="44"/>
                      </a:cxn>
                      <a:cxn ang="0">
                        <a:pos x="80" y="37"/>
                      </a:cxn>
                      <a:cxn ang="0">
                        <a:pos x="77" y="44"/>
                      </a:cxn>
                      <a:cxn ang="0">
                        <a:pos x="90" y="44"/>
                      </a:cxn>
                      <a:cxn ang="0">
                        <a:pos x="40" y="55"/>
                      </a:cxn>
                      <a:cxn ang="0">
                        <a:pos x="42" y="63"/>
                      </a:cxn>
                      <a:cxn ang="0">
                        <a:pos x="83" y="58"/>
                      </a:cxn>
                      <a:cxn ang="0">
                        <a:pos x="55" y="65"/>
                      </a:cxn>
                      <a:cxn ang="0">
                        <a:pos x="71" y="69"/>
                      </a:cxn>
                      <a:cxn ang="0">
                        <a:pos x="43" y="73"/>
                      </a:cxn>
                      <a:cxn ang="0">
                        <a:pos x="85" y="92"/>
                      </a:cxn>
                      <a:cxn ang="0">
                        <a:pos x="112" y="44"/>
                      </a:cxn>
                      <a:cxn ang="0">
                        <a:pos x="144" y="33"/>
                      </a:cxn>
                      <a:cxn ang="0">
                        <a:pos x="109" y="25"/>
                      </a:cxn>
                      <a:cxn ang="0">
                        <a:pos x="104" y="13"/>
                      </a:cxn>
                      <a:cxn ang="0">
                        <a:pos x="94" y="20"/>
                      </a:cxn>
                      <a:cxn ang="0">
                        <a:pos x="98" y="9"/>
                      </a:cxn>
                      <a:cxn ang="0">
                        <a:pos x="74" y="0"/>
                      </a:cxn>
                      <a:cxn ang="0">
                        <a:pos x="66" y="9"/>
                      </a:cxn>
                      <a:cxn ang="0">
                        <a:pos x="77" y="31"/>
                      </a:cxn>
                      <a:cxn ang="0">
                        <a:pos x="51" y="9"/>
                      </a:cxn>
                      <a:cxn ang="0">
                        <a:pos x="42" y="13"/>
                      </a:cxn>
                      <a:cxn ang="0">
                        <a:pos x="48" y="25"/>
                      </a:cxn>
                      <a:cxn ang="0">
                        <a:pos x="21" y="14"/>
                      </a:cxn>
                      <a:cxn ang="0">
                        <a:pos x="40" y="7"/>
                      </a:cxn>
                      <a:cxn ang="0">
                        <a:pos x="0" y="11"/>
                      </a:cxn>
                      <a:cxn ang="0">
                        <a:pos x="0" y="11"/>
                      </a:cxn>
                    </a:cxnLst>
                    <a:rect l="0" t="0" r="r" b="b"/>
                    <a:pathLst>
                      <a:path w="145" h="93">
                        <a:moveTo>
                          <a:pt x="0" y="11"/>
                        </a:moveTo>
                        <a:lnTo>
                          <a:pt x="0" y="11"/>
                        </a:lnTo>
                        <a:lnTo>
                          <a:pt x="1" y="22"/>
                        </a:lnTo>
                        <a:lnTo>
                          <a:pt x="16" y="22"/>
                        </a:lnTo>
                        <a:lnTo>
                          <a:pt x="11" y="28"/>
                        </a:lnTo>
                        <a:lnTo>
                          <a:pt x="22" y="31"/>
                        </a:lnTo>
                        <a:lnTo>
                          <a:pt x="8" y="31"/>
                        </a:lnTo>
                        <a:lnTo>
                          <a:pt x="34" y="40"/>
                        </a:lnTo>
                        <a:lnTo>
                          <a:pt x="23" y="44"/>
                        </a:lnTo>
                        <a:lnTo>
                          <a:pt x="30" y="51"/>
                        </a:lnTo>
                        <a:lnTo>
                          <a:pt x="53" y="47"/>
                        </a:lnTo>
                        <a:lnTo>
                          <a:pt x="52" y="37"/>
                        </a:lnTo>
                        <a:lnTo>
                          <a:pt x="64" y="34"/>
                        </a:lnTo>
                        <a:lnTo>
                          <a:pt x="66" y="44"/>
                        </a:lnTo>
                        <a:lnTo>
                          <a:pt x="80" y="37"/>
                        </a:lnTo>
                        <a:lnTo>
                          <a:pt x="77" y="44"/>
                        </a:lnTo>
                        <a:lnTo>
                          <a:pt x="90" y="44"/>
                        </a:lnTo>
                        <a:lnTo>
                          <a:pt x="40" y="55"/>
                        </a:lnTo>
                        <a:lnTo>
                          <a:pt x="42" y="63"/>
                        </a:lnTo>
                        <a:lnTo>
                          <a:pt x="83" y="58"/>
                        </a:lnTo>
                        <a:lnTo>
                          <a:pt x="55" y="65"/>
                        </a:lnTo>
                        <a:lnTo>
                          <a:pt x="71" y="69"/>
                        </a:lnTo>
                        <a:lnTo>
                          <a:pt x="43" y="73"/>
                        </a:lnTo>
                        <a:lnTo>
                          <a:pt x="85" y="92"/>
                        </a:lnTo>
                        <a:lnTo>
                          <a:pt x="112" y="44"/>
                        </a:lnTo>
                        <a:lnTo>
                          <a:pt x="144" y="33"/>
                        </a:lnTo>
                        <a:lnTo>
                          <a:pt x="109" y="25"/>
                        </a:lnTo>
                        <a:lnTo>
                          <a:pt x="104" y="13"/>
                        </a:lnTo>
                        <a:lnTo>
                          <a:pt x="94" y="20"/>
                        </a:lnTo>
                        <a:lnTo>
                          <a:pt x="98" y="9"/>
                        </a:lnTo>
                        <a:lnTo>
                          <a:pt x="74" y="0"/>
                        </a:lnTo>
                        <a:lnTo>
                          <a:pt x="66" y="9"/>
                        </a:lnTo>
                        <a:lnTo>
                          <a:pt x="77" y="31"/>
                        </a:lnTo>
                        <a:lnTo>
                          <a:pt x="51" y="9"/>
                        </a:lnTo>
                        <a:lnTo>
                          <a:pt x="42" y="13"/>
                        </a:lnTo>
                        <a:lnTo>
                          <a:pt x="48" y="25"/>
                        </a:lnTo>
                        <a:lnTo>
                          <a:pt x="21" y="14"/>
                        </a:lnTo>
                        <a:lnTo>
                          <a:pt x="40" y="7"/>
                        </a:lnTo>
                        <a:lnTo>
                          <a:pt x="0" y="11"/>
                        </a:lnTo>
                        <a:lnTo>
                          <a:pt x="0" y="11"/>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85" name="Norway">
                    <a:extLst>
                      <a:ext uri="{FF2B5EF4-FFF2-40B4-BE49-F238E27FC236}">
                        <a16:creationId xmlns:a16="http://schemas.microsoft.com/office/drawing/2014/main" id="{31DAA94B-8390-A93B-F819-B2A9289CA2FA}"/>
                      </a:ext>
                    </a:extLst>
                  </p:cNvPr>
                  <p:cNvSpPr>
                    <a:spLocks noGrp="1" noRot="1" noMove="1" noResize="1" noEditPoints="1" noAdjustHandles="1" noChangeArrowheads="1" noChangeShapeType="1"/>
                  </p:cNvSpPr>
                  <p:nvPr/>
                </p:nvSpPr>
                <p:spPr bwMode="gray">
                  <a:xfrm>
                    <a:off x="5180115" y="1770849"/>
                    <a:ext cx="240160" cy="88713"/>
                  </a:xfrm>
                  <a:custGeom>
                    <a:avLst/>
                    <a:gdLst/>
                    <a:ahLst/>
                    <a:cxnLst>
                      <a:cxn ang="0">
                        <a:pos x="0" y="10"/>
                      </a:cxn>
                      <a:cxn ang="0">
                        <a:pos x="0" y="10"/>
                      </a:cxn>
                      <a:cxn ang="0">
                        <a:pos x="19" y="13"/>
                      </a:cxn>
                      <a:cxn ang="0">
                        <a:pos x="6" y="18"/>
                      </a:cxn>
                      <a:cxn ang="0">
                        <a:pos x="11" y="22"/>
                      </a:cxn>
                      <a:cxn ang="0">
                        <a:pos x="60" y="21"/>
                      </a:cxn>
                      <a:cxn ang="0">
                        <a:pos x="29" y="26"/>
                      </a:cxn>
                      <a:cxn ang="0">
                        <a:pos x="78" y="38"/>
                      </a:cxn>
                      <a:cxn ang="0">
                        <a:pos x="110" y="32"/>
                      </a:cxn>
                      <a:cxn ang="0">
                        <a:pos x="131" y="18"/>
                      </a:cxn>
                      <a:cxn ang="0">
                        <a:pos x="125" y="11"/>
                      </a:cxn>
                      <a:cxn ang="0">
                        <a:pos x="94" y="12"/>
                      </a:cxn>
                      <a:cxn ang="0">
                        <a:pos x="99" y="5"/>
                      </a:cxn>
                      <a:cxn ang="0">
                        <a:pos x="74" y="12"/>
                      </a:cxn>
                      <a:cxn ang="0">
                        <a:pos x="70" y="0"/>
                      </a:cxn>
                      <a:cxn ang="0">
                        <a:pos x="64" y="16"/>
                      </a:cxn>
                      <a:cxn ang="0">
                        <a:pos x="29" y="0"/>
                      </a:cxn>
                      <a:cxn ang="0">
                        <a:pos x="30" y="9"/>
                      </a:cxn>
                      <a:cxn ang="0">
                        <a:pos x="20" y="5"/>
                      </a:cxn>
                      <a:cxn ang="0">
                        <a:pos x="24" y="14"/>
                      </a:cxn>
                      <a:cxn ang="0">
                        <a:pos x="0" y="10"/>
                      </a:cxn>
                      <a:cxn ang="0">
                        <a:pos x="0" y="10"/>
                      </a:cxn>
                    </a:cxnLst>
                    <a:rect l="0" t="0" r="r" b="b"/>
                    <a:pathLst>
                      <a:path w="132" h="39">
                        <a:moveTo>
                          <a:pt x="0" y="10"/>
                        </a:moveTo>
                        <a:lnTo>
                          <a:pt x="0" y="10"/>
                        </a:lnTo>
                        <a:lnTo>
                          <a:pt x="19" y="13"/>
                        </a:lnTo>
                        <a:lnTo>
                          <a:pt x="6" y="18"/>
                        </a:lnTo>
                        <a:lnTo>
                          <a:pt x="11" y="22"/>
                        </a:lnTo>
                        <a:lnTo>
                          <a:pt x="60" y="21"/>
                        </a:lnTo>
                        <a:lnTo>
                          <a:pt x="29" y="26"/>
                        </a:lnTo>
                        <a:lnTo>
                          <a:pt x="78" y="38"/>
                        </a:lnTo>
                        <a:lnTo>
                          <a:pt x="110" y="32"/>
                        </a:lnTo>
                        <a:lnTo>
                          <a:pt x="131" y="18"/>
                        </a:lnTo>
                        <a:lnTo>
                          <a:pt x="125" y="11"/>
                        </a:lnTo>
                        <a:lnTo>
                          <a:pt x="94" y="12"/>
                        </a:lnTo>
                        <a:lnTo>
                          <a:pt x="99" y="5"/>
                        </a:lnTo>
                        <a:lnTo>
                          <a:pt x="74" y="12"/>
                        </a:lnTo>
                        <a:lnTo>
                          <a:pt x="70" y="0"/>
                        </a:lnTo>
                        <a:lnTo>
                          <a:pt x="64" y="16"/>
                        </a:lnTo>
                        <a:lnTo>
                          <a:pt x="29" y="0"/>
                        </a:lnTo>
                        <a:lnTo>
                          <a:pt x="30" y="9"/>
                        </a:lnTo>
                        <a:lnTo>
                          <a:pt x="20" y="5"/>
                        </a:lnTo>
                        <a:lnTo>
                          <a:pt x="24" y="14"/>
                        </a:lnTo>
                        <a:lnTo>
                          <a:pt x="0" y="10"/>
                        </a:lnTo>
                        <a:lnTo>
                          <a:pt x="0" y="1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86" name="Norway">
                    <a:extLst>
                      <a:ext uri="{FF2B5EF4-FFF2-40B4-BE49-F238E27FC236}">
                        <a16:creationId xmlns:a16="http://schemas.microsoft.com/office/drawing/2014/main" id="{F688C6D5-ED7A-3303-1F7E-361F7455CF35}"/>
                      </a:ext>
                    </a:extLst>
                  </p:cNvPr>
                  <p:cNvSpPr>
                    <a:spLocks noGrp="1" noRot="1" noMove="1" noResize="1" noEditPoints="1" noAdjustHandles="1" noChangeArrowheads="1" noChangeShapeType="1"/>
                  </p:cNvSpPr>
                  <p:nvPr/>
                </p:nvSpPr>
                <p:spPr bwMode="gray">
                  <a:xfrm>
                    <a:off x="5261597" y="1912789"/>
                    <a:ext cx="105070" cy="59881"/>
                  </a:xfrm>
                  <a:custGeom>
                    <a:avLst/>
                    <a:gdLst/>
                    <a:ahLst/>
                    <a:cxnLst>
                      <a:cxn ang="0">
                        <a:pos x="0" y="20"/>
                      </a:cxn>
                      <a:cxn ang="0">
                        <a:pos x="0" y="20"/>
                      </a:cxn>
                      <a:cxn ang="0">
                        <a:pos x="5" y="7"/>
                      </a:cxn>
                      <a:cxn ang="0">
                        <a:pos x="28" y="0"/>
                      </a:cxn>
                      <a:cxn ang="0">
                        <a:pos x="32" y="7"/>
                      </a:cxn>
                      <a:cxn ang="0">
                        <a:pos x="57" y="13"/>
                      </a:cxn>
                      <a:cxn ang="0">
                        <a:pos x="22" y="25"/>
                      </a:cxn>
                      <a:cxn ang="0">
                        <a:pos x="28" y="18"/>
                      </a:cxn>
                      <a:cxn ang="0">
                        <a:pos x="0" y="20"/>
                      </a:cxn>
                      <a:cxn ang="0">
                        <a:pos x="0" y="20"/>
                      </a:cxn>
                    </a:cxnLst>
                    <a:rect l="0" t="0" r="r" b="b"/>
                    <a:pathLst>
                      <a:path w="58" h="26">
                        <a:moveTo>
                          <a:pt x="0" y="20"/>
                        </a:moveTo>
                        <a:lnTo>
                          <a:pt x="0" y="20"/>
                        </a:lnTo>
                        <a:lnTo>
                          <a:pt x="5" y="7"/>
                        </a:lnTo>
                        <a:lnTo>
                          <a:pt x="28" y="0"/>
                        </a:lnTo>
                        <a:lnTo>
                          <a:pt x="32" y="7"/>
                        </a:lnTo>
                        <a:lnTo>
                          <a:pt x="57" y="13"/>
                        </a:lnTo>
                        <a:lnTo>
                          <a:pt x="22" y="25"/>
                        </a:lnTo>
                        <a:lnTo>
                          <a:pt x="28" y="18"/>
                        </a:lnTo>
                        <a:lnTo>
                          <a:pt x="0" y="20"/>
                        </a:lnTo>
                        <a:lnTo>
                          <a:pt x="0" y="2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146" name="Netherlands">
                  <a:extLst>
                    <a:ext uri="{FF2B5EF4-FFF2-40B4-BE49-F238E27FC236}">
                      <a16:creationId xmlns:a16="http://schemas.microsoft.com/office/drawing/2014/main" id="{82BBE6CD-C68B-ADDF-DBB7-A5B302400C3A}"/>
                    </a:ext>
                  </a:extLst>
                </p:cNvPr>
                <p:cNvSpPr>
                  <a:spLocks noGrp="1" noRot="1" noMove="1" noResize="1" noEditPoints="1" noAdjustHandles="1" noChangeArrowheads="1" noChangeShapeType="1"/>
                </p:cNvSpPr>
                <p:nvPr/>
              </p:nvSpPr>
              <p:spPr bwMode="gray">
                <a:xfrm>
                  <a:off x="4551994" y="3453994"/>
                  <a:ext cx="180149" cy="190730"/>
                </a:xfrm>
                <a:custGeom>
                  <a:avLst/>
                  <a:gdLst/>
                  <a:ahLst/>
                  <a:cxnLst>
                    <a:cxn ang="0">
                      <a:pos x="0" y="32"/>
                    </a:cxn>
                    <a:cxn ang="0">
                      <a:pos x="0" y="32"/>
                    </a:cxn>
                    <a:cxn ang="0">
                      <a:pos x="19" y="26"/>
                    </a:cxn>
                    <a:cxn ang="0">
                      <a:pos x="9" y="21"/>
                    </a:cxn>
                    <a:cxn ang="0">
                      <a:pos x="18" y="7"/>
                    </a:cxn>
                    <a:cxn ang="0">
                      <a:pos x="26" y="16"/>
                    </a:cxn>
                    <a:cxn ang="0">
                      <a:pos x="26" y="0"/>
                    </a:cxn>
                    <a:cxn ang="0">
                      <a:pos x="49" y="0"/>
                    </a:cxn>
                    <a:cxn ang="0">
                      <a:pos x="46" y="16"/>
                    </a:cxn>
                    <a:cxn ang="0">
                      <a:pos x="32" y="22"/>
                    </a:cxn>
                    <a:cxn ang="0">
                      <a:pos x="33" y="41"/>
                    </a:cxn>
                    <a:cxn ang="0">
                      <a:pos x="19" y="30"/>
                    </a:cxn>
                    <a:cxn ang="0">
                      <a:pos x="0" y="32"/>
                    </a:cxn>
                    <a:cxn ang="0">
                      <a:pos x="0" y="32"/>
                    </a:cxn>
                  </a:cxnLst>
                  <a:rect l="0" t="0" r="r" b="b"/>
                  <a:pathLst>
                    <a:path w="50" h="42">
                      <a:moveTo>
                        <a:pt x="0" y="32"/>
                      </a:moveTo>
                      <a:lnTo>
                        <a:pt x="0" y="32"/>
                      </a:lnTo>
                      <a:lnTo>
                        <a:pt x="19" y="26"/>
                      </a:lnTo>
                      <a:lnTo>
                        <a:pt x="9" y="21"/>
                      </a:lnTo>
                      <a:lnTo>
                        <a:pt x="18" y="7"/>
                      </a:lnTo>
                      <a:lnTo>
                        <a:pt x="26" y="16"/>
                      </a:lnTo>
                      <a:lnTo>
                        <a:pt x="26" y="0"/>
                      </a:lnTo>
                      <a:lnTo>
                        <a:pt x="49" y="0"/>
                      </a:lnTo>
                      <a:lnTo>
                        <a:pt x="46" y="16"/>
                      </a:lnTo>
                      <a:lnTo>
                        <a:pt x="32" y="22"/>
                      </a:lnTo>
                      <a:lnTo>
                        <a:pt x="33" y="41"/>
                      </a:lnTo>
                      <a:lnTo>
                        <a:pt x="19" y="30"/>
                      </a:lnTo>
                      <a:lnTo>
                        <a:pt x="0" y="32"/>
                      </a:lnTo>
                      <a:lnTo>
                        <a:pt x="0" y="32"/>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7" name="Montenegro">
                  <a:extLst>
                    <a:ext uri="{FF2B5EF4-FFF2-40B4-BE49-F238E27FC236}">
                      <a16:creationId xmlns:a16="http://schemas.microsoft.com/office/drawing/2014/main" id="{340240C1-FB6A-88B1-19A5-A189B8DE93CA}"/>
                    </a:ext>
                  </a:extLst>
                </p:cNvPr>
                <p:cNvSpPr>
                  <a:spLocks noGrp="1" noRot="1" noChangeAspect="1" noMove="1" noResize="1" noEditPoints="1" noAdjustHandles="1" noChangeArrowheads="1" noChangeShapeType="1"/>
                </p:cNvSpPr>
                <p:nvPr/>
              </p:nvSpPr>
              <p:spPr bwMode="gray">
                <a:xfrm>
                  <a:off x="5388304" y="4198560"/>
                  <a:ext cx="134223" cy="123896"/>
                </a:xfrm>
                <a:custGeom>
                  <a:avLst/>
                  <a:gdLst>
                    <a:gd name="connsiteX0" fmla="*/ 0 w 9922"/>
                    <a:gd name="connsiteY0" fmla="*/ 2308 h 9890"/>
                    <a:gd name="connsiteX1" fmla="*/ 0 w 9922"/>
                    <a:gd name="connsiteY1" fmla="*/ 2308 h 9890"/>
                    <a:gd name="connsiteX2" fmla="*/ 0 w 9922"/>
                    <a:gd name="connsiteY2" fmla="*/ 659 h 9890"/>
                    <a:gd name="connsiteX3" fmla="*/ 2558 w 9922"/>
                    <a:gd name="connsiteY3" fmla="*/ 0 h 9890"/>
                    <a:gd name="connsiteX4" fmla="*/ 4574 w 9922"/>
                    <a:gd name="connsiteY4" fmla="*/ 1868 h 9890"/>
                    <a:gd name="connsiteX5" fmla="*/ 6899 w 9922"/>
                    <a:gd name="connsiteY5" fmla="*/ 1429 h 9890"/>
                    <a:gd name="connsiteX6" fmla="*/ 9612 w 9922"/>
                    <a:gd name="connsiteY6" fmla="*/ 4505 h 9890"/>
                    <a:gd name="connsiteX7" fmla="*/ 9225 w 9922"/>
                    <a:gd name="connsiteY7" fmla="*/ 7692 h 9890"/>
                    <a:gd name="connsiteX8" fmla="*/ 9922 w 9922"/>
                    <a:gd name="connsiteY8" fmla="*/ 9121 h 9890"/>
                    <a:gd name="connsiteX9" fmla="*/ 7829 w 9922"/>
                    <a:gd name="connsiteY9" fmla="*/ 9890 h 9890"/>
                    <a:gd name="connsiteX10" fmla="*/ 6822 w 9922"/>
                    <a:gd name="connsiteY10" fmla="*/ 7033 h 9890"/>
                    <a:gd name="connsiteX11" fmla="*/ 5969 w 9922"/>
                    <a:gd name="connsiteY11" fmla="*/ 8242 h 9890"/>
                    <a:gd name="connsiteX12" fmla="*/ 2558 w 9922"/>
                    <a:gd name="connsiteY12" fmla="*/ 5604 h 9890"/>
                    <a:gd name="connsiteX13" fmla="*/ 930 w 9922"/>
                    <a:gd name="connsiteY13" fmla="*/ 2747 h 9890"/>
                    <a:gd name="connsiteX14" fmla="*/ 78 w 9922"/>
                    <a:gd name="connsiteY14" fmla="*/ 3407 h 9890"/>
                    <a:gd name="connsiteX15" fmla="*/ 0 w 9922"/>
                    <a:gd name="connsiteY15" fmla="*/ 2308 h 9890"/>
                    <a:gd name="connsiteX16" fmla="*/ 0 w 9922"/>
                    <a:gd name="connsiteY16" fmla="*/ 2308 h 9890"/>
                    <a:gd name="connsiteX0" fmla="*/ 0 w 10000"/>
                    <a:gd name="connsiteY0" fmla="*/ 2334 h 10000"/>
                    <a:gd name="connsiteX1" fmla="*/ 0 w 10000"/>
                    <a:gd name="connsiteY1" fmla="*/ 2334 h 10000"/>
                    <a:gd name="connsiteX2" fmla="*/ 2578 w 10000"/>
                    <a:gd name="connsiteY2" fmla="*/ 0 h 10000"/>
                    <a:gd name="connsiteX3" fmla="*/ 4610 w 10000"/>
                    <a:gd name="connsiteY3" fmla="*/ 1889 h 10000"/>
                    <a:gd name="connsiteX4" fmla="*/ 6953 w 10000"/>
                    <a:gd name="connsiteY4" fmla="*/ 1445 h 10000"/>
                    <a:gd name="connsiteX5" fmla="*/ 9688 w 10000"/>
                    <a:gd name="connsiteY5" fmla="*/ 4555 h 10000"/>
                    <a:gd name="connsiteX6" fmla="*/ 9298 w 10000"/>
                    <a:gd name="connsiteY6" fmla="*/ 7778 h 10000"/>
                    <a:gd name="connsiteX7" fmla="*/ 10000 w 10000"/>
                    <a:gd name="connsiteY7" fmla="*/ 9222 h 10000"/>
                    <a:gd name="connsiteX8" fmla="*/ 7891 w 10000"/>
                    <a:gd name="connsiteY8" fmla="*/ 10000 h 10000"/>
                    <a:gd name="connsiteX9" fmla="*/ 6876 w 10000"/>
                    <a:gd name="connsiteY9" fmla="*/ 7111 h 10000"/>
                    <a:gd name="connsiteX10" fmla="*/ 6016 w 10000"/>
                    <a:gd name="connsiteY10" fmla="*/ 8334 h 10000"/>
                    <a:gd name="connsiteX11" fmla="*/ 2578 w 10000"/>
                    <a:gd name="connsiteY11" fmla="*/ 5666 h 10000"/>
                    <a:gd name="connsiteX12" fmla="*/ 937 w 10000"/>
                    <a:gd name="connsiteY12" fmla="*/ 2778 h 10000"/>
                    <a:gd name="connsiteX13" fmla="*/ 79 w 10000"/>
                    <a:gd name="connsiteY13" fmla="*/ 3445 h 10000"/>
                    <a:gd name="connsiteX14" fmla="*/ 0 w 10000"/>
                    <a:gd name="connsiteY14" fmla="*/ 2334 h 10000"/>
                    <a:gd name="connsiteX15" fmla="*/ 0 w 10000"/>
                    <a:gd name="connsiteY15" fmla="*/ 2334 h 10000"/>
                    <a:gd name="connsiteX0" fmla="*/ 0 w 10000"/>
                    <a:gd name="connsiteY0" fmla="*/ 889 h 8555"/>
                    <a:gd name="connsiteX1" fmla="*/ 0 w 10000"/>
                    <a:gd name="connsiteY1" fmla="*/ 889 h 8555"/>
                    <a:gd name="connsiteX2" fmla="*/ 4610 w 10000"/>
                    <a:gd name="connsiteY2" fmla="*/ 444 h 8555"/>
                    <a:gd name="connsiteX3" fmla="*/ 6953 w 10000"/>
                    <a:gd name="connsiteY3" fmla="*/ 0 h 8555"/>
                    <a:gd name="connsiteX4" fmla="*/ 9688 w 10000"/>
                    <a:gd name="connsiteY4" fmla="*/ 3110 h 8555"/>
                    <a:gd name="connsiteX5" fmla="*/ 9298 w 10000"/>
                    <a:gd name="connsiteY5" fmla="*/ 6333 h 8555"/>
                    <a:gd name="connsiteX6" fmla="*/ 10000 w 10000"/>
                    <a:gd name="connsiteY6" fmla="*/ 7777 h 8555"/>
                    <a:gd name="connsiteX7" fmla="*/ 7891 w 10000"/>
                    <a:gd name="connsiteY7" fmla="*/ 8555 h 8555"/>
                    <a:gd name="connsiteX8" fmla="*/ 6876 w 10000"/>
                    <a:gd name="connsiteY8" fmla="*/ 5666 h 8555"/>
                    <a:gd name="connsiteX9" fmla="*/ 6016 w 10000"/>
                    <a:gd name="connsiteY9" fmla="*/ 6889 h 8555"/>
                    <a:gd name="connsiteX10" fmla="*/ 2578 w 10000"/>
                    <a:gd name="connsiteY10" fmla="*/ 4221 h 8555"/>
                    <a:gd name="connsiteX11" fmla="*/ 937 w 10000"/>
                    <a:gd name="connsiteY11" fmla="*/ 1333 h 8555"/>
                    <a:gd name="connsiteX12" fmla="*/ 79 w 10000"/>
                    <a:gd name="connsiteY12" fmla="*/ 2000 h 8555"/>
                    <a:gd name="connsiteX13" fmla="*/ 0 w 10000"/>
                    <a:gd name="connsiteY13" fmla="*/ 889 h 8555"/>
                    <a:gd name="connsiteX14" fmla="*/ 0 w 10000"/>
                    <a:gd name="connsiteY14" fmla="*/ 889 h 8555"/>
                    <a:gd name="connsiteX0" fmla="*/ 0 w 10000"/>
                    <a:gd name="connsiteY0" fmla="*/ 1039 h 10000"/>
                    <a:gd name="connsiteX1" fmla="*/ 0 w 10000"/>
                    <a:gd name="connsiteY1" fmla="*/ 1039 h 10000"/>
                    <a:gd name="connsiteX2" fmla="*/ 4610 w 10000"/>
                    <a:gd name="connsiteY2" fmla="*/ 519 h 10000"/>
                    <a:gd name="connsiteX3" fmla="*/ 6953 w 10000"/>
                    <a:gd name="connsiteY3" fmla="*/ 0 h 10000"/>
                    <a:gd name="connsiteX4" fmla="*/ 9688 w 10000"/>
                    <a:gd name="connsiteY4" fmla="*/ 3635 h 10000"/>
                    <a:gd name="connsiteX5" fmla="*/ 9298 w 10000"/>
                    <a:gd name="connsiteY5" fmla="*/ 7403 h 10000"/>
                    <a:gd name="connsiteX6" fmla="*/ 10000 w 10000"/>
                    <a:gd name="connsiteY6" fmla="*/ 9091 h 10000"/>
                    <a:gd name="connsiteX7" fmla="*/ 7891 w 10000"/>
                    <a:gd name="connsiteY7" fmla="*/ 10000 h 10000"/>
                    <a:gd name="connsiteX8" fmla="*/ 6876 w 10000"/>
                    <a:gd name="connsiteY8" fmla="*/ 6623 h 10000"/>
                    <a:gd name="connsiteX9" fmla="*/ 6016 w 10000"/>
                    <a:gd name="connsiteY9" fmla="*/ 8053 h 10000"/>
                    <a:gd name="connsiteX10" fmla="*/ 2578 w 10000"/>
                    <a:gd name="connsiteY10" fmla="*/ 4934 h 10000"/>
                    <a:gd name="connsiteX11" fmla="*/ 937 w 10000"/>
                    <a:gd name="connsiteY11" fmla="*/ 1558 h 10000"/>
                    <a:gd name="connsiteX12" fmla="*/ 79 w 10000"/>
                    <a:gd name="connsiteY12" fmla="*/ 2338 h 10000"/>
                    <a:gd name="connsiteX13" fmla="*/ 0 w 10000"/>
                    <a:gd name="connsiteY13" fmla="*/ 1039 h 10000"/>
                    <a:gd name="connsiteX0" fmla="*/ 0 w 10000"/>
                    <a:gd name="connsiteY0" fmla="*/ 1039 h 10000"/>
                    <a:gd name="connsiteX1" fmla="*/ 0 w 10000"/>
                    <a:gd name="connsiteY1" fmla="*/ 1039 h 10000"/>
                    <a:gd name="connsiteX2" fmla="*/ 6929 w 10000"/>
                    <a:gd name="connsiteY2" fmla="*/ 1599 h 10000"/>
                    <a:gd name="connsiteX3" fmla="*/ 6953 w 10000"/>
                    <a:gd name="connsiteY3" fmla="*/ 0 h 10000"/>
                    <a:gd name="connsiteX4" fmla="*/ 9688 w 10000"/>
                    <a:gd name="connsiteY4" fmla="*/ 3635 h 10000"/>
                    <a:gd name="connsiteX5" fmla="*/ 9298 w 10000"/>
                    <a:gd name="connsiteY5" fmla="*/ 7403 h 10000"/>
                    <a:gd name="connsiteX6" fmla="*/ 10000 w 10000"/>
                    <a:gd name="connsiteY6" fmla="*/ 9091 h 10000"/>
                    <a:gd name="connsiteX7" fmla="*/ 7891 w 10000"/>
                    <a:gd name="connsiteY7" fmla="*/ 10000 h 10000"/>
                    <a:gd name="connsiteX8" fmla="*/ 6876 w 10000"/>
                    <a:gd name="connsiteY8" fmla="*/ 6623 h 10000"/>
                    <a:gd name="connsiteX9" fmla="*/ 6016 w 10000"/>
                    <a:gd name="connsiteY9" fmla="*/ 8053 h 10000"/>
                    <a:gd name="connsiteX10" fmla="*/ 2578 w 10000"/>
                    <a:gd name="connsiteY10" fmla="*/ 4934 h 10000"/>
                    <a:gd name="connsiteX11" fmla="*/ 937 w 10000"/>
                    <a:gd name="connsiteY11" fmla="*/ 1558 h 10000"/>
                    <a:gd name="connsiteX12" fmla="*/ 79 w 10000"/>
                    <a:gd name="connsiteY12" fmla="*/ 2338 h 10000"/>
                    <a:gd name="connsiteX13" fmla="*/ 0 w 10000"/>
                    <a:gd name="connsiteY13" fmla="*/ 1039 h 10000"/>
                    <a:gd name="connsiteX0" fmla="*/ 801 w 10801"/>
                    <a:gd name="connsiteY0" fmla="*/ 1039 h 10000"/>
                    <a:gd name="connsiteX1" fmla="*/ 801 w 10801"/>
                    <a:gd name="connsiteY1" fmla="*/ 1039 h 10000"/>
                    <a:gd name="connsiteX2" fmla="*/ 7730 w 10801"/>
                    <a:gd name="connsiteY2" fmla="*/ 1599 h 10000"/>
                    <a:gd name="connsiteX3" fmla="*/ 7754 w 10801"/>
                    <a:gd name="connsiteY3" fmla="*/ 0 h 10000"/>
                    <a:gd name="connsiteX4" fmla="*/ 10489 w 10801"/>
                    <a:gd name="connsiteY4" fmla="*/ 3635 h 10000"/>
                    <a:gd name="connsiteX5" fmla="*/ 10099 w 10801"/>
                    <a:gd name="connsiteY5" fmla="*/ 7403 h 10000"/>
                    <a:gd name="connsiteX6" fmla="*/ 10801 w 10801"/>
                    <a:gd name="connsiteY6" fmla="*/ 9091 h 10000"/>
                    <a:gd name="connsiteX7" fmla="*/ 8692 w 10801"/>
                    <a:gd name="connsiteY7" fmla="*/ 10000 h 10000"/>
                    <a:gd name="connsiteX8" fmla="*/ 7677 w 10801"/>
                    <a:gd name="connsiteY8" fmla="*/ 6623 h 10000"/>
                    <a:gd name="connsiteX9" fmla="*/ 6817 w 10801"/>
                    <a:gd name="connsiteY9" fmla="*/ 8053 h 10000"/>
                    <a:gd name="connsiteX10" fmla="*/ 3379 w 10801"/>
                    <a:gd name="connsiteY10" fmla="*/ 4934 h 10000"/>
                    <a:gd name="connsiteX11" fmla="*/ 1738 w 10801"/>
                    <a:gd name="connsiteY11" fmla="*/ 1558 h 10000"/>
                    <a:gd name="connsiteX12" fmla="*/ 880 w 10801"/>
                    <a:gd name="connsiteY12" fmla="*/ 2338 h 10000"/>
                    <a:gd name="connsiteX13" fmla="*/ 0 w 10801"/>
                    <a:gd name="connsiteY13" fmla="*/ 1787 h 10000"/>
                    <a:gd name="connsiteX0" fmla="*/ 801 w 10801"/>
                    <a:gd name="connsiteY0" fmla="*/ 1039 h 10000"/>
                    <a:gd name="connsiteX1" fmla="*/ 4789 w 10801"/>
                    <a:gd name="connsiteY1" fmla="*/ 1953 h 10000"/>
                    <a:gd name="connsiteX2" fmla="*/ 7730 w 10801"/>
                    <a:gd name="connsiteY2" fmla="*/ 1599 h 10000"/>
                    <a:gd name="connsiteX3" fmla="*/ 7754 w 10801"/>
                    <a:gd name="connsiteY3" fmla="*/ 0 h 10000"/>
                    <a:gd name="connsiteX4" fmla="*/ 10489 w 10801"/>
                    <a:gd name="connsiteY4" fmla="*/ 3635 h 10000"/>
                    <a:gd name="connsiteX5" fmla="*/ 10099 w 10801"/>
                    <a:gd name="connsiteY5" fmla="*/ 7403 h 10000"/>
                    <a:gd name="connsiteX6" fmla="*/ 10801 w 10801"/>
                    <a:gd name="connsiteY6" fmla="*/ 9091 h 10000"/>
                    <a:gd name="connsiteX7" fmla="*/ 8692 w 10801"/>
                    <a:gd name="connsiteY7" fmla="*/ 10000 h 10000"/>
                    <a:gd name="connsiteX8" fmla="*/ 7677 w 10801"/>
                    <a:gd name="connsiteY8" fmla="*/ 6623 h 10000"/>
                    <a:gd name="connsiteX9" fmla="*/ 6817 w 10801"/>
                    <a:gd name="connsiteY9" fmla="*/ 8053 h 10000"/>
                    <a:gd name="connsiteX10" fmla="*/ 3379 w 10801"/>
                    <a:gd name="connsiteY10" fmla="*/ 4934 h 10000"/>
                    <a:gd name="connsiteX11" fmla="*/ 1738 w 10801"/>
                    <a:gd name="connsiteY11" fmla="*/ 1558 h 10000"/>
                    <a:gd name="connsiteX12" fmla="*/ 880 w 10801"/>
                    <a:gd name="connsiteY12" fmla="*/ 2338 h 10000"/>
                    <a:gd name="connsiteX13" fmla="*/ 0 w 10801"/>
                    <a:gd name="connsiteY13" fmla="*/ 1787 h 10000"/>
                    <a:gd name="connsiteX0" fmla="*/ 801 w 10801"/>
                    <a:gd name="connsiteY0" fmla="*/ 1039 h 10000"/>
                    <a:gd name="connsiteX1" fmla="*/ 4789 w 10801"/>
                    <a:gd name="connsiteY1" fmla="*/ 1953 h 10000"/>
                    <a:gd name="connsiteX2" fmla="*/ 7730 w 10801"/>
                    <a:gd name="connsiteY2" fmla="*/ 1682 h 10000"/>
                    <a:gd name="connsiteX3" fmla="*/ 7754 w 10801"/>
                    <a:gd name="connsiteY3" fmla="*/ 0 h 10000"/>
                    <a:gd name="connsiteX4" fmla="*/ 10489 w 10801"/>
                    <a:gd name="connsiteY4" fmla="*/ 3635 h 10000"/>
                    <a:gd name="connsiteX5" fmla="*/ 10099 w 10801"/>
                    <a:gd name="connsiteY5" fmla="*/ 7403 h 10000"/>
                    <a:gd name="connsiteX6" fmla="*/ 10801 w 10801"/>
                    <a:gd name="connsiteY6" fmla="*/ 9091 h 10000"/>
                    <a:gd name="connsiteX7" fmla="*/ 8692 w 10801"/>
                    <a:gd name="connsiteY7" fmla="*/ 10000 h 10000"/>
                    <a:gd name="connsiteX8" fmla="*/ 7677 w 10801"/>
                    <a:gd name="connsiteY8" fmla="*/ 6623 h 10000"/>
                    <a:gd name="connsiteX9" fmla="*/ 6817 w 10801"/>
                    <a:gd name="connsiteY9" fmla="*/ 8053 h 10000"/>
                    <a:gd name="connsiteX10" fmla="*/ 3379 w 10801"/>
                    <a:gd name="connsiteY10" fmla="*/ 4934 h 10000"/>
                    <a:gd name="connsiteX11" fmla="*/ 1738 w 10801"/>
                    <a:gd name="connsiteY11" fmla="*/ 1558 h 10000"/>
                    <a:gd name="connsiteX12" fmla="*/ 880 w 10801"/>
                    <a:gd name="connsiteY12" fmla="*/ 2338 h 10000"/>
                    <a:gd name="connsiteX13" fmla="*/ 0 w 10801"/>
                    <a:gd name="connsiteY13" fmla="*/ 1787 h 10000"/>
                    <a:gd name="connsiteX0" fmla="*/ 801 w 10801"/>
                    <a:gd name="connsiteY0" fmla="*/ 1039 h 10000"/>
                    <a:gd name="connsiteX1" fmla="*/ 4266 w 10801"/>
                    <a:gd name="connsiteY1" fmla="*/ 2428 h 10000"/>
                    <a:gd name="connsiteX2" fmla="*/ 4789 w 10801"/>
                    <a:gd name="connsiteY2" fmla="*/ 1953 h 10000"/>
                    <a:gd name="connsiteX3" fmla="*/ 7730 w 10801"/>
                    <a:gd name="connsiteY3" fmla="*/ 1682 h 10000"/>
                    <a:gd name="connsiteX4" fmla="*/ 7754 w 10801"/>
                    <a:gd name="connsiteY4" fmla="*/ 0 h 10000"/>
                    <a:gd name="connsiteX5" fmla="*/ 10489 w 10801"/>
                    <a:gd name="connsiteY5" fmla="*/ 3635 h 10000"/>
                    <a:gd name="connsiteX6" fmla="*/ 10099 w 10801"/>
                    <a:gd name="connsiteY6" fmla="*/ 7403 h 10000"/>
                    <a:gd name="connsiteX7" fmla="*/ 10801 w 10801"/>
                    <a:gd name="connsiteY7" fmla="*/ 9091 h 10000"/>
                    <a:gd name="connsiteX8" fmla="*/ 8692 w 10801"/>
                    <a:gd name="connsiteY8" fmla="*/ 10000 h 10000"/>
                    <a:gd name="connsiteX9" fmla="*/ 7677 w 10801"/>
                    <a:gd name="connsiteY9" fmla="*/ 6623 h 10000"/>
                    <a:gd name="connsiteX10" fmla="*/ 6817 w 10801"/>
                    <a:gd name="connsiteY10" fmla="*/ 8053 h 10000"/>
                    <a:gd name="connsiteX11" fmla="*/ 3379 w 10801"/>
                    <a:gd name="connsiteY11" fmla="*/ 4934 h 10000"/>
                    <a:gd name="connsiteX12" fmla="*/ 1738 w 10801"/>
                    <a:gd name="connsiteY12" fmla="*/ 1558 h 10000"/>
                    <a:gd name="connsiteX13" fmla="*/ 880 w 10801"/>
                    <a:gd name="connsiteY13" fmla="*/ 2338 h 10000"/>
                    <a:gd name="connsiteX14" fmla="*/ 0 w 10801"/>
                    <a:gd name="connsiteY14" fmla="*/ 1787 h 10000"/>
                    <a:gd name="connsiteX0" fmla="*/ 801 w 10801"/>
                    <a:gd name="connsiteY0" fmla="*/ 1039 h 10000"/>
                    <a:gd name="connsiteX1" fmla="*/ 4249 w 10801"/>
                    <a:gd name="connsiteY1" fmla="*/ 2470 h 10000"/>
                    <a:gd name="connsiteX2" fmla="*/ 4789 w 10801"/>
                    <a:gd name="connsiteY2" fmla="*/ 1953 h 10000"/>
                    <a:gd name="connsiteX3" fmla="*/ 7730 w 10801"/>
                    <a:gd name="connsiteY3" fmla="*/ 1682 h 10000"/>
                    <a:gd name="connsiteX4" fmla="*/ 7754 w 10801"/>
                    <a:gd name="connsiteY4" fmla="*/ 0 h 10000"/>
                    <a:gd name="connsiteX5" fmla="*/ 10489 w 10801"/>
                    <a:gd name="connsiteY5" fmla="*/ 3635 h 10000"/>
                    <a:gd name="connsiteX6" fmla="*/ 10099 w 10801"/>
                    <a:gd name="connsiteY6" fmla="*/ 7403 h 10000"/>
                    <a:gd name="connsiteX7" fmla="*/ 10801 w 10801"/>
                    <a:gd name="connsiteY7" fmla="*/ 9091 h 10000"/>
                    <a:gd name="connsiteX8" fmla="*/ 8692 w 10801"/>
                    <a:gd name="connsiteY8" fmla="*/ 10000 h 10000"/>
                    <a:gd name="connsiteX9" fmla="*/ 7677 w 10801"/>
                    <a:gd name="connsiteY9" fmla="*/ 6623 h 10000"/>
                    <a:gd name="connsiteX10" fmla="*/ 6817 w 10801"/>
                    <a:gd name="connsiteY10" fmla="*/ 8053 h 10000"/>
                    <a:gd name="connsiteX11" fmla="*/ 3379 w 10801"/>
                    <a:gd name="connsiteY11" fmla="*/ 4934 h 10000"/>
                    <a:gd name="connsiteX12" fmla="*/ 1738 w 10801"/>
                    <a:gd name="connsiteY12" fmla="*/ 1558 h 10000"/>
                    <a:gd name="connsiteX13" fmla="*/ 880 w 10801"/>
                    <a:gd name="connsiteY13" fmla="*/ 2338 h 10000"/>
                    <a:gd name="connsiteX14" fmla="*/ 0 w 10801"/>
                    <a:gd name="connsiteY14" fmla="*/ 1787 h 10000"/>
                    <a:gd name="connsiteX0" fmla="*/ 3754 w 10801"/>
                    <a:gd name="connsiteY0" fmla="*/ 2265 h 10000"/>
                    <a:gd name="connsiteX1" fmla="*/ 4249 w 10801"/>
                    <a:gd name="connsiteY1" fmla="*/ 2470 h 10000"/>
                    <a:gd name="connsiteX2" fmla="*/ 4789 w 10801"/>
                    <a:gd name="connsiteY2" fmla="*/ 1953 h 10000"/>
                    <a:gd name="connsiteX3" fmla="*/ 7730 w 10801"/>
                    <a:gd name="connsiteY3" fmla="*/ 1682 h 10000"/>
                    <a:gd name="connsiteX4" fmla="*/ 7754 w 10801"/>
                    <a:gd name="connsiteY4" fmla="*/ 0 h 10000"/>
                    <a:gd name="connsiteX5" fmla="*/ 10489 w 10801"/>
                    <a:gd name="connsiteY5" fmla="*/ 3635 h 10000"/>
                    <a:gd name="connsiteX6" fmla="*/ 10099 w 10801"/>
                    <a:gd name="connsiteY6" fmla="*/ 7403 h 10000"/>
                    <a:gd name="connsiteX7" fmla="*/ 10801 w 10801"/>
                    <a:gd name="connsiteY7" fmla="*/ 9091 h 10000"/>
                    <a:gd name="connsiteX8" fmla="*/ 8692 w 10801"/>
                    <a:gd name="connsiteY8" fmla="*/ 10000 h 10000"/>
                    <a:gd name="connsiteX9" fmla="*/ 7677 w 10801"/>
                    <a:gd name="connsiteY9" fmla="*/ 6623 h 10000"/>
                    <a:gd name="connsiteX10" fmla="*/ 6817 w 10801"/>
                    <a:gd name="connsiteY10" fmla="*/ 8053 h 10000"/>
                    <a:gd name="connsiteX11" fmla="*/ 3379 w 10801"/>
                    <a:gd name="connsiteY11" fmla="*/ 4934 h 10000"/>
                    <a:gd name="connsiteX12" fmla="*/ 1738 w 10801"/>
                    <a:gd name="connsiteY12" fmla="*/ 1558 h 10000"/>
                    <a:gd name="connsiteX13" fmla="*/ 880 w 10801"/>
                    <a:gd name="connsiteY13" fmla="*/ 2338 h 10000"/>
                    <a:gd name="connsiteX14" fmla="*/ 0 w 10801"/>
                    <a:gd name="connsiteY14" fmla="*/ 1787 h 10000"/>
                    <a:gd name="connsiteX0" fmla="*/ 3754 w 10801"/>
                    <a:gd name="connsiteY0" fmla="*/ 2265 h 10000"/>
                    <a:gd name="connsiteX1" fmla="*/ 4249 w 10801"/>
                    <a:gd name="connsiteY1" fmla="*/ 2470 h 10000"/>
                    <a:gd name="connsiteX2" fmla="*/ 4789 w 10801"/>
                    <a:gd name="connsiteY2" fmla="*/ 1953 h 10000"/>
                    <a:gd name="connsiteX3" fmla="*/ 7730 w 10801"/>
                    <a:gd name="connsiteY3" fmla="*/ 1682 h 10000"/>
                    <a:gd name="connsiteX4" fmla="*/ 7754 w 10801"/>
                    <a:gd name="connsiteY4" fmla="*/ 0 h 10000"/>
                    <a:gd name="connsiteX5" fmla="*/ 10489 w 10801"/>
                    <a:gd name="connsiteY5" fmla="*/ 3635 h 10000"/>
                    <a:gd name="connsiteX6" fmla="*/ 10099 w 10801"/>
                    <a:gd name="connsiteY6" fmla="*/ 7403 h 10000"/>
                    <a:gd name="connsiteX7" fmla="*/ 10801 w 10801"/>
                    <a:gd name="connsiteY7" fmla="*/ 9091 h 10000"/>
                    <a:gd name="connsiteX8" fmla="*/ 8692 w 10801"/>
                    <a:gd name="connsiteY8" fmla="*/ 10000 h 10000"/>
                    <a:gd name="connsiteX9" fmla="*/ 7677 w 10801"/>
                    <a:gd name="connsiteY9" fmla="*/ 6623 h 10000"/>
                    <a:gd name="connsiteX10" fmla="*/ 6817 w 10801"/>
                    <a:gd name="connsiteY10" fmla="*/ 8053 h 10000"/>
                    <a:gd name="connsiteX11" fmla="*/ 3729 w 10801"/>
                    <a:gd name="connsiteY11" fmla="*/ 3127 h 10000"/>
                    <a:gd name="connsiteX12" fmla="*/ 1738 w 10801"/>
                    <a:gd name="connsiteY12" fmla="*/ 1558 h 10000"/>
                    <a:gd name="connsiteX13" fmla="*/ 880 w 10801"/>
                    <a:gd name="connsiteY13" fmla="*/ 2338 h 10000"/>
                    <a:gd name="connsiteX14" fmla="*/ 0 w 10801"/>
                    <a:gd name="connsiteY14" fmla="*/ 1787 h 10000"/>
                    <a:gd name="connsiteX0" fmla="*/ 2874 w 9921"/>
                    <a:gd name="connsiteY0" fmla="*/ 2265 h 10000"/>
                    <a:gd name="connsiteX1" fmla="*/ 3369 w 9921"/>
                    <a:gd name="connsiteY1" fmla="*/ 2470 h 10000"/>
                    <a:gd name="connsiteX2" fmla="*/ 3909 w 9921"/>
                    <a:gd name="connsiteY2" fmla="*/ 1953 h 10000"/>
                    <a:gd name="connsiteX3" fmla="*/ 6850 w 9921"/>
                    <a:gd name="connsiteY3" fmla="*/ 1682 h 10000"/>
                    <a:gd name="connsiteX4" fmla="*/ 6874 w 9921"/>
                    <a:gd name="connsiteY4" fmla="*/ 0 h 10000"/>
                    <a:gd name="connsiteX5" fmla="*/ 9609 w 9921"/>
                    <a:gd name="connsiteY5" fmla="*/ 3635 h 10000"/>
                    <a:gd name="connsiteX6" fmla="*/ 9219 w 9921"/>
                    <a:gd name="connsiteY6" fmla="*/ 7403 h 10000"/>
                    <a:gd name="connsiteX7" fmla="*/ 9921 w 9921"/>
                    <a:gd name="connsiteY7" fmla="*/ 9091 h 10000"/>
                    <a:gd name="connsiteX8" fmla="*/ 7812 w 9921"/>
                    <a:gd name="connsiteY8" fmla="*/ 10000 h 10000"/>
                    <a:gd name="connsiteX9" fmla="*/ 6797 w 9921"/>
                    <a:gd name="connsiteY9" fmla="*/ 6623 h 10000"/>
                    <a:gd name="connsiteX10" fmla="*/ 5937 w 9921"/>
                    <a:gd name="connsiteY10" fmla="*/ 8053 h 10000"/>
                    <a:gd name="connsiteX11" fmla="*/ 2849 w 9921"/>
                    <a:gd name="connsiteY11" fmla="*/ 3127 h 10000"/>
                    <a:gd name="connsiteX12" fmla="*/ 858 w 9921"/>
                    <a:gd name="connsiteY12" fmla="*/ 1558 h 10000"/>
                    <a:gd name="connsiteX13" fmla="*/ 0 w 9921"/>
                    <a:gd name="connsiteY13" fmla="*/ 2338 h 10000"/>
                    <a:gd name="connsiteX0" fmla="*/ 2032 w 9135"/>
                    <a:gd name="connsiteY0" fmla="*/ 2265 h 10000"/>
                    <a:gd name="connsiteX1" fmla="*/ 2531 w 9135"/>
                    <a:gd name="connsiteY1" fmla="*/ 2470 h 10000"/>
                    <a:gd name="connsiteX2" fmla="*/ 3075 w 9135"/>
                    <a:gd name="connsiteY2" fmla="*/ 1953 h 10000"/>
                    <a:gd name="connsiteX3" fmla="*/ 6040 w 9135"/>
                    <a:gd name="connsiteY3" fmla="*/ 1682 h 10000"/>
                    <a:gd name="connsiteX4" fmla="*/ 6064 w 9135"/>
                    <a:gd name="connsiteY4" fmla="*/ 0 h 10000"/>
                    <a:gd name="connsiteX5" fmla="*/ 8821 w 9135"/>
                    <a:gd name="connsiteY5" fmla="*/ 3635 h 10000"/>
                    <a:gd name="connsiteX6" fmla="*/ 8427 w 9135"/>
                    <a:gd name="connsiteY6" fmla="*/ 7403 h 10000"/>
                    <a:gd name="connsiteX7" fmla="*/ 9135 w 9135"/>
                    <a:gd name="connsiteY7" fmla="*/ 9091 h 10000"/>
                    <a:gd name="connsiteX8" fmla="*/ 7009 w 9135"/>
                    <a:gd name="connsiteY8" fmla="*/ 10000 h 10000"/>
                    <a:gd name="connsiteX9" fmla="*/ 5986 w 9135"/>
                    <a:gd name="connsiteY9" fmla="*/ 6623 h 10000"/>
                    <a:gd name="connsiteX10" fmla="*/ 5119 w 9135"/>
                    <a:gd name="connsiteY10" fmla="*/ 8053 h 10000"/>
                    <a:gd name="connsiteX11" fmla="*/ 2007 w 9135"/>
                    <a:gd name="connsiteY11" fmla="*/ 3127 h 10000"/>
                    <a:gd name="connsiteX12" fmla="*/ 0 w 9135"/>
                    <a:gd name="connsiteY12" fmla="*/ 1558 h 10000"/>
                    <a:gd name="connsiteX0" fmla="*/ 27 w 7803"/>
                    <a:gd name="connsiteY0" fmla="*/ 2265 h 10000"/>
                    <a:gd name="connsiteX1" fmla="*/ 574 w 7803"/>
                    <a:gd name="connsiteY1" fmla="*/ 2470 h 10000"/>
                    <a:gd name="connsiteX2" fmla="*/ 1169 w 7803"/>
                    <a:gd name="connsiteY2" fmla="*/ 1953 h 10000"/>
                    <a:gd name="connsiteX3" fmla="*/ 4415 w 7803"/>
                    <a:gd name="connsiteY3" fmla="*/ 1682 h 10000"/>
                    <a:gd name="connsiteX4" fmla="*/ 4441 w 7803"/>
                    <a:gd name="connsiteY4" fmla="*/ 0 h 10000"/>
                    <a:gd name="connsiteX5" fmla="*/ 7459 w 7803"/>
                    <a:gd name="connsiteY5" fmla="*/ 3635 h 10000"/>
                    <a:gd name="connsiteX6" fmla="*/ 7028 w 7803"/>
                    <a:gd name="connsiteY6" fmla="*/ 7403 h 10000"/>
                    <a:gd name="connsiteX7" fmla="*/ 7803 w 7803"/>
                    <a:gd name="connsiteY7" fmla="*/ 9091 h 10000"/>
                    <a:gd name="connsiteX8" fmla="*/ 5476 w 7803"/>
                    <a:gd name="connsiteY8" fmla="*/ 10000 h 10000"/>
                    <a:gd name="connsiteX9" fmla="*/ 4356 w 7803"/>
                    <a:gd name="connsiteY9" fmla="*/ 6623 h 10000"/>
                    <a:gd name="connsiteX10" fmla="*/ 3407 w 7803"/>
                    <a:gd name="connsiteY10" fmla="*/ 8053 h 10000"/>
                    <a:gd name="connsiteX11" fmla="*/ 0 w 7803"/>
                    <a:gd name="connsiteY11" fmla="*/ 3127 h 10000"/>
                    <a:gd name="connsiteX12" fmla="*/ 31 w 7803"/>
                    <a:gd name="connsiteY12" fmla="*/ 2264 h 10000"/>
                    <a:gd name="connsiteX0" fmla="*/ 35 w 10000"/>
                    <a:gd name="connsiteY0" fmla="*/ 2265 h 10000"/>
                    <a:gd name="connsiteX1" fmla="*/ 736 w 10000"/>
                    <a:gd name="connsiteY1" fmla="*/ 2470 h 10000"/>
                    <a:gd name="connsiteX2" fmla="*/ 1498 w 10000"/>
                    <a:gd name="connsiteY2" fmla="*/ 1953 h 10000"/>
                    <a:gd name="connsiteX3" fmla="*/ 5658 w 10000"/>
                    <a:gd name="connsiteY3" fmla="*/ 1682 h 10000"/>
                    <a:gd name="connsiteX4" fmla="*/ 5691 w 10000"/>
                    <a:gd name="connsiteY4" fmla="*/ 0 h 10000"/>
                    <a:gd name="connsiteX5" fmla="*/ 9559 w 10000"/>
                    <a:gd name="connsiteY5" fmla="*/ 3635 h 10000"/>
                    <a:gd name="connsiteX6" fmla="*/ 9007 w 10000"/>
                    <a:gd name="connsiteY6" fmla="*/ 7403 h 10000"/>
                    <a:gd name="connsiteX7" fmla="*/ 10000 w 10000"/>
                    <a:gd name="connsiteY7" fmla="*/ 9091 h 10000"/>
                    <a:gd name="connsiteX8" fmla="*/ 7018 w 10000"/>
                    <a:gd name="connsiteY8" fmla="*/ 10000 h 10000"/>
                    <a:gd name="connsiteX9" fmla="*/ 5582 w 10000"/>
                    <a:gd name="connsiteY9" fmla="*/ 6623 h 10000"/>
                    <a:gd name="connsiteX10" fmla="*/ 4366 w 10000"/>
                    <a:gd name="connsiteY10" fmla="*/ 8053 h 10000"/>
                    <a:gd name="connsiteX11" fmla="*/ 0 w 10000"/>
                    <a:gd name="connsiteY11" fmla="*/ 3127 h 10000"/>
                    <a:gd name="connsiteX12" fmla="*/ 40 w 10000"/>
                    <a:gd name="connsiteY12" fmla="*/ 2264 h 10000"/>
                    <a:gd name="connsiteX13" fmla="*/ 35 w 10000"/>
                    <a:gd name="connsiteY13" fmla="*/ 2265 h 10000"/>
                    <a:gd name="connsiteX0" fmla="*/ 40 w 10000"/>
                    <a:gd name="connsiteY0" fmla="*/ 2264 h 10000"/>
                    <a:gd name="connsiteX1" fmla="*/ 736 w 10000"/>
                    <a:gd name="connsiteY1" fmla="*/ 2470 h 10000"/>
                    <a:gd name="connsiteX2" fmla="*/ 1498 w 10000"/>
                    <a:gd name="connsiteY2" fmla="*/ 1953 h 10000"/>
                    <a:gd name="connsiteX3" fmla="*/ 5658 w 10000"/>
                    <a:gd name="connsiteY3" fmla="*/ 1682 h 10000"/>
                    <a:gd name="connsiteX4" fmla="*/ 5691 w 10000"/>
                    <a:gd name="connsiteY4" fmla="*/ 0 h 10000"/>
                    <a:gd name="connsiteX5" fmla="*/ 9559 w 10000"/>
                    <a:gd name="connsiteY5" fmla="*/ 3635 h 10000"/>
                    <a:gd name="connsiteX6" fmla="*/ 9007 w 10000"/>
                    <a:gd name="connsiteY6" fmla="*/ 7403 h 10000"/>
                    <a:gd name="connsiteX7" fmla="*/ 10000 w 10000"/>
                    <a:gd name="connsiteY7" fmla="*/ 9091 h 10000"/>
                    <a:gd name="connsiteX8" fmla="*/ 7018 w 10000"/>
                    <a:gd name="connsiteY8" fmla="*/ 10000 h 10000"/>
                    <a:gd name="connsiteX9" fmla="*/ 5582 w 10000"/>
                    <a:gd name="connsiteY9" fmla="*/ 6623 h 10000"/>
                    <a:gd name="connsiteX10" fmla="*/ 4366 w 10000"/>
                    <a:gd name="connsiteY10" fmla="*/ 8053 h 10000"/>
                    <a:gd name="connsiteX11" fmla="*/ 0 w 10000"/>
                    <a:gd name="connsiteY11" fmla="*/ 3127 h 10000"/>
                    <a:gd name="connsiteX12" fmla="*/ 40 w 10000"/>
                    <a:gd name="connsiteY12" fmla="*/ 2264 h 10000"/>
                    <a:gd name="connsiteX0" fmla="*/ 40 w 10000"/>
                    <a:gd name="connsiteY0" fmla="*/ 2264 h 10000"/>
                    <a:gd name="connsiteX1" fmla="*/ 736 w 10000"/>
                    <a:gd name="connsiteY1" fmla="*/ 2470 h 10000"/>
                    <a:gd name="connsiteX2" fmla="*/ 1498 w 10000"/>
                    <a:gd name="connsiteY2" fmla="*/ 1953 h 10000"/>
                    <a:gd name="connsiteX3" fmla="*/ 5658 w 10000"/>
                    <a:gd name="connsiteY3" fmla="*/ 1682 h 10000"/>
                    <a:gd name="connsiteX4" fmla="*/ 5691 w 10000"/>
                    <a:gd name="connsiteY4" fmla="*/ 0 h 10000"/>
                    <a:gd name="connsiteX5" fmla="*/ 9559 w 10000"/>
                    <a:gd name="connsiteY5" fmla="*/ 3635 h 10000"/>
                    <a:gd name="connsiteX6" fmla="*/ 9007 w 10000"/>
                    <a:gd name="connsiteY6" fmla="*/ 7403 h 10000"/>
                    <a:gd name="connsiteX7" fmla="*/ 10000 w 10000"/>
                    <a:gd name="connsiteY7" fmla="*/ 9091 h 10000"/>
                    <a:gd name="connsiteX8" fmla="*/ 7018 w 10000"/>
                    <a:gd name="connsiteY8" fmla="*/ 10000 h 10000"/>
                    <a:gd name="connsiteX9" fmla="*/ 5582 w 10000"/>
                    <a:gd name="connsiteY9" fmla="*/ 6623 h 10000"/>
                    <a:gd name="connsiteX10" fmla="*/ 4366 w 10000"/>
                    <a:gd name="connsiteY10" fmla="*/ 8053 h 10000"/>
                    <a:gd name="connsiteX11" fmla="*/ 0 w 10000"/>
                    <a:gd name="connsiteY11" fmla="*/ 3127 h 10000"/>
                    <a:gd name="connsiteX12" fmla="*/ 40 w 10000"/>
                    <a:gd name="connsiteY12" fmla="*/ 2264 h 10000"/>
                    <a:gd name="connsiteX0" fmla="*/ 40 w 10000"/>
                    <a:gd name="connsiteY0" fmla="*/ 2264 h 10000"/>
                    <a:gd name="connsiteX1" fmla="*/ 736 w 10000"/>
                    <a:gd name="connsiteY1" fmla="*/ 2470 h 10000"/>
                    <a:gd name="connsiteX2" fmla="*/ 1498 w 10000"/>
                    <a:gd name="connsiteY2" fmla="*/ 1953 h 10000"/>
                    <a:gd name="connsiteX3" fmla="*/ 5658 w 10000"/>
                    <a:gd name="connsiteY3" fmla="*/ 1682 h 10000"/>
                    <a:gd name="connsiteX4" fmla="*/ 5691 w 10000"/>
                    <a:gd name="connsiteY4" fmla="*/ 0 h 10000"/>
                    <a:gd name="connsiteX5" fmla="*/ 9559 w 10000"/>
                    <a:gd name="connsiteY5" fmla="*/ 3635 h 10000"/>
                    <a:gd name="connsiteX6" fmla="*/ 9007 w 10000"/>
                    <a:gd name="connsiteY6" fmla="*/ 7403 h 10000"/>
                    <a:gd name="connsiteX7" fmla="*/ 10000 w 10000"/>
                    <a:gd name="connsiteY7" fmla="*/ 9091 h 10000"/>
                    <a:gd name="connsiteX8" fmla="*/ 7018 w 10000"/>
                    <a:gd name="connsiteY8" fmla="*/ 10000 h 10000"/>
                    <a:gd name="connsiteX9" fmla="*/ 5582 w 10000"/>
                    <a:gd name="connsiteY9" fmla="*/ 6623 h 10000"/>
                    <a:gd name="connsiteX10" fmla="*/ 7835 w 10000"/>
                    <a:gd name="connsiteY10" fmla="*/ 6203 h 10000"/>
                    <a:gd name="connsiteX11" fmla="*/ 0 w 10000"/>
                    <a:gd name="connsiteY11" fmla="*/ 3127 h 10000"/>
                    <a:gd name="connsiteX12" fmla="*/ 40 w 10000"/>
                    <a:gd name="connsiteY12" fmla="*/ 2264 h 10000"/>
                    <a:gd name="connsiteX0" fmla="*/ 1 w 9961"/>
                    <a:gd name="connsiteY0" fmla="*/ 2264 h 10000"/>
                    <a:gd name="connsiteX1" fmla="*/ 697 w 9961"/>
                    <a:gd name="connsiteY1" fmla="*/ 2470 h 10000"/>
                    <a:gd name="connsiteX2" fmla="*/ 1459 w 9961"/>
                    <a:gd name="connsiteY2" fmla="*/ 1953 h 10000"/>
                    <a:gd name="connsiteX3" fmla="*/ 5619 w 9961"/>
                    <a:gd name="connsiteY3" fmla="*/ 1682 h 10000"/>
                    <a:gd name="connsiteX4" fmla="*/ 5652 w 9961"/>
                    <a:gd name="connsiteY4" fmla="*/ 0 h 10000"/>
                    <a:gd name="connsiteX5" fmla="*/ 9520 w 9961"/>
                    <a:gd name="connsiteY5" fmla="*/ 3635 h 10000"/>
                    <a:gd name="connsiteX6" fmla="*/ 8968 w 9961"/>
                    <a:gd name="connsiteY6" fmla="*/ 7403 h 10000"/>
                    <a:gd name="connsiteX7" fmla="*/ 9961 w 9961"/>
                    <a:gd name="connsiteY7" fmla="*/ 9091 h 10000"/>
                    <a:gd name="connsiteX8" fmla="*/ 6979 w 9961"/>
                    <a:gd name="connsiteY8" fmla="*/ 10000 h 10000"/>
                    <a:gd name="connsiteX9" fmla="*/ 5543 w 9961"/>
                    <a:gd name="connsiteY9" fmla="*/ 6623 h 10000"/>
                    <a:gd name="connsiteX10" fmla="*/ 7796 w 9961"/>
                    <a:gd name="connsiteY10" fmla="*/ 6203 h 10000"/>
                    <a:gd name="connsiteX11" fmla="*/ 8072 w 9961"/>
                    <a:gd name="connsiteY11" fmla="*/ 4934 h 10000"/>
                    <a:gd name="connsiteX12" fmla="*/ 1 w 9961"/>
                    <a:gd name="connsiteY12" fmla="*/ 2264 h 10000"/>
                    <a:gd name="connsiteX0" fmla="*/ 370 w 10369"/>
                    <a:gd name="connsiteY0" fmla="*/ 2264 h 10000"/>
                    <a:gd name="connsiteX1" fmla="*/ 1834 w 10369"/>
                    <a:gd name="connsiteY1" fmla="*/ 1953 h 10000"/>
                    <a:gd name="connsiteX2" fmla="*/ 6010 w 10369"/>
                    <a:gd name="connsiteY2" fmla="*/ 1682 h 10000"/>
                    <a:gd name="connsiteX3" fmla="*/ 6043 w 10369"/>
                    <a:gd name="connsiteY3" fmla="*/ 0 h 10000"/>
                    <a:gd name="connsiteX4" fmla="*/ 9926 w 10369"/>
                    <a:gd name="connsiteY4" fmla="*/ 3635 h 10000"/>
                    <a:gd name="connsiteX5" fmla="*/ 9372 w 10369"/>
                    <a:gd name="connsiteY5" fmla="*/ 7403 h 10000"/>
                    <a:gd name="connsiteX6" fmla="*/ 10369 w 10369"/>
                    <a:gd name="connsiteY6" fmla="*/ 9091 h 10000"/>
                    <a:gd name="connsiteX7" fmla="*/ 7375 w 10369"/>
                    <a:gd name="connsiteY7" fmla="*/ 10000 h 10000"/>
                    <a:gd name="connsiteX8" fmla="*/ 5934 w 10369"/>
                    <a:gd name="connsiteY8" fmla="*/ 6623 h 10000"/>
                    <a:gd name="connsiteX9" fmla="*/ 8196 w 10369"/>
                    <a:gd name="connsiteY9" fmla="*/ 6203 h 10000"/>
                    <a:gd name="connsiteX10" fmla="*/ 8473 w 10369"/>
                    <a:gd name="connsiteY10" fmla="*/ 4934 h 10000"/>
                    <a:gd name="connsiteX11" fmla="*/ 370 w 10369"/>
                    <a:gd name="connsiteY11" fmla="*/ 2264 h 10000"/>
                    <a:gd name="connsiteX0" fmla="*/ 6639 w 8535"/>
                    <a:gd name="connsiteY0" fmla="*/ 4934 h 10000"/>
                    <a:gd name="connsiteX1" fmla="*/ 0 w 8535"/>
                    <a:gd name="connsiteY1" fmla="*/ 1953 h 10000"/>
                    <a:gd name="connsiteX2" fmla="*/ 4176 w 8535"/>
                    <a:gd name="connsiteY2" fmla="*/ 1682 h 10000"/>
                    <a:gd name="connsiteX3" fmla="*/ 4209 w 8535"/>
                    <a:gd name="connsiteY3" fmla="*/ 0 h 10000"/>
                    <a:gd name="connsiteX4" fmla="*/ 8092 w 8535"/>
                    <a:gd name="connsiteY4" fmla="*/ 3635 h 10000"/>
                    <a:gd name="connsiteX5" fmla="*/ 7538 w 8535"/>
                    <a:gd name="connsiteY5" fmla="*/ 7403 h 10000"/>
                    <a:gd name="connsiteX6" fmla="*/ 8535 w 8535"/>
                    <a:gd name="connsiteY6" fmla="*/ 9091 h 10000"/>
                    <a:gd name="connsiteX7" fmla="*/ 5541 w 8535"/>
                    <a:gd name="connsiteY7" fmla="*/ 10000 h 10000"/>
                    <a:gd name="connsiteX8" fmla="*/ 4100 w 8535"/>
                    <a:gd name="connsiteY8" fmla="*/ 6623 h 10000"/>
                    <a:gd name="connsiteX9" fmla="*/ 6362 w 8535"/>
                    <a:gd name="connsiteY9" fmla="*/ 6203 h 10000"/>
                    <a:gd name="connsiteX10" fmla="*/ 6639 w 8535"/>
                    <a:gd name="connsiteY10" fmla="*/ 4934 h 10000"/>
                    <a:gd name="connsiteX0" fmla="*/ 2975 w 5196"/>
                    <a:gd name="connsiteY0" fmla="*/ 4934 h 10000"/>
                    <a:gd name="connsiteX1" fmla="*/ 89 w 5196"/>
                    <a:gd name="connsiteY1" fmla="*/ 1682 h 10000"/>
                    <a:gd name="connsiteX2" fmla="*/ 127 w 5196"/>
                    <a:gd name="connsiteY2" fmla="*/ 0 h 10000"/>
                    <a:gd name="connsiteX3" fmla="*/ 4677 w 5196"/>
                    <a:gd name="connsiteY3" fmla="*/ 3635 h 10000"/>
                    <a:gd name="connsiteX4" fmla="*/ 4028 w 5196"/>
                    <a:gd name="connsiteY4" fmla="*/ 7403 h 10000"/>
                    <a:gd name="connsiteX5" fmla="*/ 5196 w 5196"/>
                    <a:gd name="connsiteY5" fmla="*/ 9091 h 10000"/>
                    <a:gd name="connsiteX6" fmla="*/ 1688 w 5196"/>
                    <a:gd name="connsiteY6" fmla="*/ 10000 h 10000"/>
                    <a:gd name="connsiteX7" fmla="*/ 0 w 5196"/>
                    <a:gd name="connsiteY7" fmla="*/ 6623 h 10000"/>
                    <a:gd name="connsiteX8" fmla="*/ 2650 w 5196"/>
                    <a:gd name="connsiteY8" fmla="*/ 6203 h 10000"/>
                    <a:gd name="connsiteX9" fmla="*/ 2975 w 5196"/>
                    <a:gd name="connsiteY9" fmla="*/ 4934 h 10000"/>
                    <a:gd name="connsiteX0" fmla="*/ 5726 w 10000"/>
                    <a:gd name="connsiteY0" fmla="*/ 4934 h 10000"/>
                    <a:gd name="connsiteX1" fmla="*/ 244 w 10000"/>
                    <a:gd name="connsiteY1" fmla="*/ 0 h 10000"/>
                    <a:gd name="connsiteX2" fmla="*/ 9001 w 10000"/>
                    <a:gd name="connsiteY2" fmla="*/ 3635 h 10000"/>
                    <a:gd name="connsiteX3" fmla="*/ 7752 w 10000"/>
                    <a:gd name="connsiteY3" fmla="*/ 7403 h 10000"/>
                    <a:gd name="connsiteX4" fmla="*/ 10000 w 10000"/>
                    <a:gd name="connsiteY4" fmla="*/ 9091 h 10000"/>
                    <a:gd name="connsiteX5" fmla="*/ 3249 w 10000"/>
                    <a:gd name="connsiteY5" fmla="*/ 10000 h 10000"/>
                    <a:gd name="connsiteX6" fmla="*/ 0 w 10000"/>
                    <a:gd name="connsiteY6" fmla="*/ 6623 h 10000"/>
                    <a:gd name="connsiteX7" fmla="*/ 5100 w 10000"/>
                    <a:gd name="connsiteY7" fmla="*/ 6203 h 10000"/>
                    <a:gd name="connsiteX8" fmla="*/ 5726 w 10000"/>
                    <a:gd name="connsiteY8" fmla="*/ 4934 h 10000"/>
                    <a:gd name="connsiteX0" fmla="*/ 5726 w 10000"/>
                    <a:gd name="connsiteY0" fmla="*/ 1380 h 6446"/>
                    <a:gd name="connsiteX1" fmla="*/ 9001 w 10000"/>
                    <a:gd name="connsiteY1" fmla="*/ 81 h 6446"/>
                    <a:gd name="connsiteX2" fmla="*/ 7752 w 10000"/>
                    <a:gd name="connsiteY2" fmla="*/ 3849 h 6446"/>
                    <a:gd name="connsiteX3" fmla="*/ 10000 w 10000"/>
                    <a:gd name="connsiteY3" fmla="*/ 5537 h 6446"/>
                    <a:gd name="connsiteX4" fmla="*/ 3249 w 10000"/>
                    <a:gd name="connsiteY4" fmla="*/ 6446 h 6446"/>
                    <a:gd name="connsiteX5" fmla="*/ 0 w 10000"/>
                    <a:gd name="connsiteY5" fmla="*/ 3069 h 6446"/>
                    <a:gd name="connsiteX6" fmla="*/ 5100 w 10000"/>
                    <a:gd name="connsiteY6" fmla="*/ 2649 h 6446"/>
                    <a:gd name="connsiteX7" fmla="*/ 5726 w 10000"/>
                    <a:gd name="connsiteY7" fmla="*/ 1380 h 6446"/>
                    <a:gd name="connsiteX0" fmla="*/ 5726 w 10000"/>
                    <a:gd name="connsiteY0" fmla="*/ 115 h 7974"/>
                    <a:gd name="connsiteX1" fmla="*/ 6236 w 10000"/>
                    <a:gd name="connsiteY1" fmla="*/ 2504 h 7974"/>
                    <a:gd name="connsiteX2" fmla="*/ 7752 w 10000"/>
                    <a:gd name="connsiteY2" fmla="*/ 3945 h 7974"/>
                    <a:gd name="connsiteX3" fmla="*/ 10000 w 10000"/>
                    <a:gd name="connsiteY3" fmla="*/ 6564 h 7974"/>
                    <a:gd name="connsiteX4" fmla="*/ 3249 w 10000"/>
                    <a:gd name="connsiteY4" fmla="*/ 7974 h 7974"/>
                    <a:gd name="connsiteX5" fmla="*/ 0 w 10000"/>
                    <a:gd name="connsiteY5" fmla="*/ 2735 h 7974"/>
                    <a:gd name="connsiteX6" fmla="*/ 5100 w 10000"/>
                    <a:gd name="connsiteY6" fmla="*/ 2084 h 7974"/>
                    <a:gd name="connsiteX7" fmla="*/ 5726 w 10000"/>
                    <a:gd name="connsiteY7" fmla="*/ 115 h 7974"/>
                    <a:gd name="connsiteX0" fmla="*/ 5726 w 10000"/>
                    <a:gd name="connsiteY0" fmla="*/ 144 h 10000"/>
                    <a:gd name="connsiteX1" fmla="*/ 6236 w 10000"/>
                    <a:gd name="connsiteY1" fmla="*/ 3140 h 10000"/>
                    <a:gd name="connsiteX2" fmla="*/ 7752 w 10000"/>
                    <a:gd name="connsiteY2" fmla="*/ 4947 h 10000"/>
                    <a:gd name="connsiteX3" fmla="*/ 10000 w 10000"/>
                    <a:gd name="connsiteY3" fmla="*/ 8232 h 10000"/>
                    <a:gd name="connsiteX4" fmla="*/ 3249 w 10000"/>
                    <a:gd name="connsiteY4" fmla="*/ 10000 h 10000"/>
                    <a:gd name="connsiteX5" fmla="*/ 0 w 10000"/>
                    <a:gd name="connsiteY5" fmla="*/ 3430 h 10000"/>
                    <a:gd name="connsiteX6" fmla="*/ 5100 w 10000"/>
                    <a:gd name="connsiteY6" fmla="*/ 2613 h 10000"/>
                    <a:gd name="connsiteX7" fmla="*/ 5726 w 10000"/>
                    <a:gd name="connsiteY7" fmla="*/ 144 h 10000"/>
                    <a:gd name="connsiteX0" fmla="*/ 5394 w 10000"/>
                    <a:gd name="connsiteY0" fmla="*/ 251 h 8517"/>
                    <a:gd name="connsiteX1" fmla="*/ 6236 w 10000"/>
                    <a:gd name="connsiteY1" fmla="*/ 1657 h 8517"/>
                    <a:gd name="connsiteX2" fmla="*/ 7752 w 10000"/>
                    <a:gd name="connsiteY2" fmla="*/ 3464 h 8517"/>
                    <a:gd name="connsiteX3" fmla="*/ 10000 w 10000"/>
                    <a:gd name="connsiteY3" fmla="*/ 6749 h 8517"/>
                    <a:gd name="connsiteX4" fmla="*/ 3249 w 10000"/>
                    <a:gd name="connsiteY4" fmla="*/ 8517 h 8517"/>
                    <a:gd name="connsiteX5" fmla="*/ 0 w 10000"/>
                    <a:gd name="connsiteY5" fmla="*/ 1947 h 8517"/>
                    <a:gd name="connsiteX6" fmla="*/ 5100 w 10000"/>
                    <a:gd name="connsiteY6" fmla="*/ 1130 h 8517"/>
                    <a:gd name="connsiteX7" fmla="*/ 5394 w 10000"/>
                    <a:gd name="connsiteY7" fmla="*/ 251 h 8517"/>
                    <a:gd name="connsiteX0" fmla="*/ 5394 w 10000"/>
                    <a:gd name="connsiteY0" fmla="*/ 295 h 10000"/>
                    <a:gd name="connsiteX1" fmla="*/ 6236 w 10000"/>
                    <a:gd name="connsiteY1" fmla="*/ 1946 h 10000"/>
                    <a:gd name="connsiteX2" fmla="*/ 7752 w 10000"/>
                    <a:gd name="connsiteY2" fmla="*/ 4067 h 10000"/>
                    <a:gd name="connsiteX3" fmla="*/ 10000 w 10000"/>
                    <a:gd name="connsiteY3" fmla="*/ 7924 h 10000"/>
                    <a:gd name="connsiteX4" fmla="*/ 3249 w 10000"/>
                    <a:gd name="connsiteY4" fmla="*/ 10000 h 10000"/>
                    <a:gd name="connsiteX5" fmla="*/ 0 w 10000"/>
                    <a:gd name="connsiteY5" fmla="*/ 2286 h 10000"/>
                    <a:gd name="connsiteX6" fmla="*/ 3662 w 10000"/>
                    <a:gd name="connsiteY6" fmla="*/ 2113 h 10000"/>
                    <a:gd name="connsiteX7" fmla="*/ 5394 w 10000"/>
                    <a:gd name="connsiteY7" fmla="*/ 295 h 10000"/>
                    <a:gd name="connsiteX0" fmla="*/ 4841 w 10000"/>
                    <a:gd name="connsiteY0" fmla="*/ 1883 h 8345"/>
                    <a:gd name="connsiteX1" fmla="*/ 6236 w 10000"/>
                    <a:gd name="connsiteY1" fmla="*/ 291 h 8345"/>
                    <a:gd name="connsiteX2" fmla="*/ 7752 w 10000"/>
                    <a:gd name="connsiteY2" fmla="*/ 2412 h 8345"/>
                    <a:gd name="connsiteX3" fmla="*/ 10000 w 10000"/>
                    <a:gd name="connsiteY3" fmla="*/ 6269 h 8345"/>
                    <a:gd name="connsiteX4" fmla="*/ 3249 w 10000"/>
                    <a:gd name="connsiteY4" fmla="*/ 8345 h 8345"/>
                    <a:gd name="connsiteX5" fmla="*/ 0 w 10000"/>
                    <a:gd name="connsiteY5" fmla="*/ 631 h 8345"/>
                    <a:gd name="connsiteX6" fmla="*/ 3662 w 10000"/>
                    <a:gd name="connsiteY6" fmla="*/ 458 h 8345"/>
                    <a:gd name="connsiteX7" fmla="*/ 4841 w 10000"/>
                    <a:gd name="connsiteY7" fmla="*/ 1883 h 8345"/>
                    <a:gd name="connsiteX0" fmla="*/ 4841 w 10000"/>
                    <a:gd name="connsiteY0" fmla="*/ 2256 h 10000"/>
                    <a:gd name="connsiteX1" fmla="*/ 6236 w 10000"/>
                    <a:gd name="connsiteY1" fmla="*/ 349 h 10000"/>
                    <a:gd name="connsiteX2" fmla="*/ 7752 w 10000"/>
                    <a:gd name="connsiteY2" fmla="*/ 2890 h 10000"/>
                    <a:gd name="connsiteX3" fmla="*/ 10000 w 10000"/>
                    <a:gd name="connsiteY3" fmla="*/ 7512 h 10000"/>
                    <a:gd name="connsiteX4" fmla="*/ 3249 w 10000"/>
                    <a:gd name="connsiteY4" fmla="*/ 10000 h 10000"/>
                    <a:gd name="connsiteX5" fmla="*/ 0 w 10000"/>
                    <a:gd name="connsiteY5" fmla="*/ 756 h 10000"/>
                    <a:gd name="connsiteX6" fmla="*/ 4879 w 10000"/>
                    <a:gd name="connsiteY6" fmla="*/ 549 h 10000"/>
                    <a:gd name="connsiteX7" fmla="*/ 4841 w 10000"/>
                    <a:gd name="connsiteY7" fmla="*/ 2256 h 10000"/>
                    <a:gd name="connsiteX0" fmla="*/ 5283 w 10000"/>
                    <a:gd name="connsiteY0" fmla="*/ 1852 h 10067"/>
                    <a:gd name="connsiteX1" fmla="*/ 6236 w 10000"/>
                    <a:gd name="connsiteY1" fmla="*/ 416 h 10067"/>
                    <a:gd name="connsiteX2" fmla="*/ 7752 w 10000"/>
                    <a:gd name="connsiteY2" fmla="*/ 2957 h 10067"/>
                    <a:gd name="connsiteX3" fmla="*/ 10000 w 10000"/>
                    <a:gd name="connsiteY3" fmla="*/ 7579 h 10067"/>
                    <a:gd name="connsiteX4" fmla="*/ 3249 w 10000"/>
                    <a:gd name="connsiteY4" fmla="*/ 10067 h 10067"/>
                    <a:gd name="connsiteX5" fmla="*/ 0 w 10000"/>
                    <a:gd name="connsiteY5" fmla="*/ 823 h 10067"/>
                    <a:gd name="connsiteX6" fmla="*/ 4879 w 10000"/>
                    <a:gd name="connsiteY6" fmla="*/ 616 h 10067"/>
                    <a:gd name="connsiteX7" fmla="*/ 5283 w 10000"/>
                    <a:gd name="connsiteY7" fmla="*/ 1852 h 10067"/>
                    <a:gd name="connsiteX0" fmla="*/ 5283 w 10000"/>
                    <a:gd name="connsiteY0" fmla="*/ 1852 h 10067"/>
                    <a:gd name="connsiteX1" fmla="*/ 6236 w 10000"/>
                    <a:gd name="connsiteY1" fmla="*/ 416 h 10067"/>
                    <a:gd name="connsiteX2" fmla="*/ 7752 w 10000"/>
                    <a:gd name="connsiteY2" fmla="*/ 2957 h 10067"/>
                    <a:gd name="connsiteX3" fmla="*/ 10000 w 10000"/>
                    <a:gd name="connsiteY3" fmla="*/ 7579 h 10067"/>
                    <a:gd name="connsiteX4" fmla="*/ 3249 w 10000"/>
                    <a:gd name="connsiteY4" fmla="*/ 10067 h 10067"/>
                    <a:gd name="connsiteX5" fmla="*/ 0 w 10000"/>
                    <a:gd name="connsiteY5" fmla="*/ 823 h 10067"/>
                    <a:gd name="connsiteX6" fmla="*/ 4879 w 10000"/>
                    <a:gd name="connsiteY6" fmla="*/ 616 h 10067"/>
                    <a:gd name="connsiteX7" fmla="*/ 5283 w 10000"/>
                    <a:gd name="connsiteY7" fmla="*/ 1852 h 10067"/>
                    <a:gd name="connsiteX0" fmla="*/ 5283 w 10000"/>
                    <a:gd name="connsiteY0" fmla="*/ 1852 h 10067"/>
                    <a:gd name="connsiteX1" fmla="*/ 6236 w 10000"/>
                    <a:gd name="connsiteY1" fmla="*/ 416 h 10067"/>
                    <a:gd name="connsiteX2" fmla="*/ 7752 w 10000"/>
                    <a:gd name="connsiteY2" fmla="*/ 2957 h 10067"/>
                    <a:gd name="connsiteX3" fmla="*/ 10000 w 10000"/>
                    <a:gd name="connsiteY3" fmla="*/ 7579 h 10067"/>
                    <a:gd name="connsiteX4" fmla="*/ 3249 w 10000"/>
                    <a:gd name="connsiteY4" fmla="*/ 10067 h 10067"/>
                    <a:gd name="connsiteX5" fmla="*/ 0 w 10000"/>
                    <a:gd name="connsiteY5" fmla="*/ 823 h 10067"/>
                    <a:gd name="connsiteX6" fmla="*/ 4879 w 10000"/>
                    <a:gd name="connsiteY6" fmla="*/ 616 h 10067"/>
                    <a:gd name="connsiteX7" fmla="*/ 5283 w 10000"/>
                    <a:gd name="connsiteY7" fmla="*/ 1852 h 10067"/>
                    <a:gd name="connsiteX0" fmla="*/ 5283 w 10000"/>
                    <a:gd name="connsiteY0" fmla="*/ 1852 h 10067"/>
                    <a:gd name="connsiteX1" fmla="*/ 6236 w 10000"/>
                    <a:gd name="connsiteY1" fmla="*/ 416 h 10067"/>
                    <a:gd name="connsiteX2" fmla="*/ 6901 w 10000"/>
                    <a:gd name="connsiteY2" fmla="*/ 1145 h 10067"/>
                    <a:gd name="connsiteX3" fmla="*/ 7752 w 10000"/>
                    <a:gd name="connsiteY3" fmla="*/ 2957 h 10067"/>
                    <a:gd name="connsiteX4" fmla="*/ 10000 w 10000"/>
                    <a:gd name="connsiteY4" fmla="*/ 7579 h 10067"/>
                    <a:gd name="connsiteX5" fmla="*/ 3249 w 10000"/>
                    <a:gd name="connsiteY5" fmla="*/ 10067 h 10067"/>
                    <a:gd name="connsiteX6" fmla="*/ 0 w 10000"/>
                    <a:gd name="connsiteY6" fmla="*/ 823 h 10067"/>
                    <a:gd name="connsiteX7" fmla="*/ 4879 w 10000"/>
                    <a:gd name="connsiteY7" fmla="*/ 616 h 10067"/>
                    <a:gd name="connsiteX8" fmla="*/ 5283 w 10000"/>
                    <a:gd name="connsiteY8" fmla="*/ 1852 h 10067"/>
                    <a:gd name="connsiteX0" fmla="*/ 5283 w 10000"/>
                    <a:gd name="connsiteY0" fmla="*/ 1852 h 10067"/>
                    <a:gd name="connsiteX1" fmla="*/ 6236 w 10000"/>
                    <a:gd name="connsiteY1" fmla="*/ 416 h 10067"/>
                    <a:gd name="connsiteX2" fmla="*/ 8118 w 10000"/>
                    <a:gd name="connsiteY2" fmla="*/ 674 h 10067"/>
                    <a:gd name="connsiteX3" fmla="*/ 7752 w 10000"/>
                    <a:gd name="connsiteY3" fmla="*/ 2957 h 10067"/>
                    <a:gd name="connsiteX4" fmla="*/ 10000 w 10000"/>
                    <a:gd name="connsiteY4" fmla="*/ 7579 h 10067"/>
                    <a:gd name="connsiteX5" fmla="*/ 3249 w 10000"/>
                    <a:gd name="connsiteY5" fmla="*/ 10067 h 10067"/>
                    <a:gd name="connsiteX6" fmla="*/ 0 w 10000"/>
                    <a:gd name="connsiteY6" fmla="*/ 823 h 10067"/>
                    <a:gd name="connsiteX7" fmla="*/ 4879 w 10000"/>
                    <a:gd name="connsiteY7" fmla="*/ 616 h 10067"/>
                    <a:gd name="connsiteX8" fmla="*/ 5283 w 10000"/>
                    <a:gd name="connsiteY8" fmla="*/ 1852 h 10067"/>
                    <a:gd name="connsiteX0" fmla="*/ 5283 w 10000"/>
                    <a:gd name="connsiteY0" fmla="*/ 1852 h 10067"/>
                    <a:gd name="connsiteX1" fmla="*/ 6236 w 10000"/>
                    <a:gd name="connsiteY1" fmla="*/ 416 h 10067"/>
                    <a:gd name="connsiteX2" fmla="*/ 8118 w 10000"/>
                    <a:gd name="connsiteY2" fmla="*/ 674 h 10067"/>
                    <a:gd name="connsiteX3" fmla="*/ 7752 w 10000"/>
                    <a:gd name="connsiteY3" fmla="*/ 2957 h 10067"/>
                    <a:gd name="connsiteX4" fmla="*/ 10000 w 10000"/>
                    <a:gd name="connsiteY4" fmla="*/ 7579 h 10067"/>
                    <a:gd name="connsiteX5" fmla="*/ 3249 w 10000"/>
                    <a:gd name="connsiteY5" fmla="*/ 10067 h 10067"/>
                    <a:gd name="connsiteX6" fmla="*/ 0 w 10000"/>
                    <a:gd name="connsiteY6" fmla="*/ 823 h 10067"/>
                    <a:gd name="connsiteX7" fmla="*/ 4879 w 10000"/>
                    <a:gd name="connsiteY7" fmla="*/ 616 h 10067"/>
                    <a:gd name="connsiteX8" fmla="*/ 5283 w 10000"/>
                    <a:gd name="connsiteY8" fmla="*/ 1852 h 10067"/>
                    <a:gd name="connsiteX0" fmla="*/ 5283 w 10000"/>
                    <a:gd name="connsiteY0" fmla="*/ 1755 h 9970"/>
                    <a:gd name="connsiteX1" fmla="*/ 7010 w 10000"/>
                    <a:gd name="connsiteY1" fmla="*/ 437 h 9970"/>
                    <a:gd name="connsiteX2" fmla="*/ 8118 w 10000"/>
                    <a:gd name="connsiteY2" fmla="*/ 577 h 9970"/>
                    <a:gd name="connsiteX3" fmla="*/ 7752 w 10000"/>
                    <a:gd name="connsiteY3" fmla="*/ 2860 h 9970"/>
                    <a:gd name="connsiteX4" fmla="*/ 10000 w 10000"/>
                    <a:gd name="connsiteY4" fmla="*/ 7482 h 9970"/>
                    <a:gd name="connsiteX5" fmla="*/ 3249 w 10000"/>
                    <a:gd name="connsiteY5" fmla="*/ 9970 h 9970"/>
                    <a:gd name="connsiteX6" fmla="*/ 0 w 10000"/>
                    <a:gd name="connsiteY6" fmla="*/ 726 h 9970"/>
                    <a:gd name="connsiteX7" fmla="*/ 4879 w 10000"/>
                    <a:gd name="connsiteY7" fmla="*/ 519 h 9970"/>
                    <a:gd name="connsiteX8" fmla="*/ 5283 w 10000"/>
                    <a:gd name="connsiteY8" fmla="*/ 1755 h 9970"/>
                    <a:gd name="connsiteX0" fmla="*/ 6278 w 10000"/>
                    <a:gd name="connsiteY0" fmla="*/ 1664 h 10022"/>
                    <a:gd name="connsiteX1" fmla="*/ 7010 w 10000"/>
                    <a:gd name="connsiteY1" fmla="*/ 460 h 10022"/>
                    <a:gd name="connsiteX2" fmla="*/ 8118 w 10000"/>
                    <a:gd name="connsiteY2" fmla="*/ 601 h 10022"/>
                    <a:gd name="connsiteX3" fmla="*/ 7752 w 10000"/>
                    <a:gd name="connsiteY3" fmla="*/ 2891 h 10022"/>
                    <a:gd name="connsiteX4" fmla="*/ 10000 w 10000"/>
                    <a:gd name="connsiteY4" fmla="*/ 7527 h 10022"/>
                    <a:gd name="connsiteX5" fmla="*/ 3249 w 10000"/>
                    <a:gd name="connsiteY5" fmla="*/ 10022 h 10022"/>
                    <a:gd name="connsiteX6" fmla="*/ 0 w 10000"/>
                    <a:gd name="connsiteY6" fmla="*/ 750 h 10022"/>
                    <a:gd name="connsiteX7" fmla="*/ 4879 w 10000"/>
                    <a:gd name="connsiteY7" fmla="*/ 543 h 10022"/>
                    <a:gd name="connsiteX8" fmla="*/ 6278 w 10000"/>
                    <a:gd name="connsiteY8" fmla="*/ 1664 h 10022"/>
                    <a:gd name="connsiteX0" fmla="*/ 6278 w 10000"/>
                    <a:gd name="connsiteY0" fmla="*/ 1338 h 9696"/>
                    <a:gd name="connsiteX1" fmla="*/ 7010 w 10000"/>
                    <a:gd name="connsiteY1" fmla="*/ 134 h 9696"/>
                    <a:gd name="connsiteX2" fmla="*/ 8118 w 10000"/>
                    <a:gd name="connsiteY2" fmla="*/ 275 h 9696"/>
                    <a:gd name="connsiteX3" fmla="*/ 7752 w 10000"/>
                    <a:gd name="connsiteY3" fmla="*/ 2565 h 9696"/>
                    <a:gd name="connsiteX4" fmla="*/ 10000 w 10000"/>
                    <a:gd name="connsiteY4" fmla="*/ 7201 h 9696"/>
                    <a:gd name="connsiteX5" fmla="*/ 3249 w 10000"/>
                    <a:gd name="connsiteY5" fmla="*/ 9696 h 9696"/>
                    <a:gd name="connsiteX6" fmla="*/ 0 w 10000"/>
                    <a:gd name="connsiteY6" fmla="*/ 424 h 9696"/>
                    <a:gd name="connsiteX7" fmla="*/ 4879 w 10000"/>
                    <a:gd name="connsiteY7" fmla="*/ 217 h 9696"/>
                    <a:gd name="connsiteX8" fmla="*/ 6278 w 10000"/>
                    <a:gd name="connsiteY8" fmla="*/ 1338 h 9696"/>
                    <a:gd name="connsiteX0" fmla="*/ 5725 w 9447"/>
                    <a:gd name="connsiteY0" fmla="*/ 1380 h 10000"/>
                    <a:gd name="connsiteX1" fmla="*/ 6457 w 9447"/>
                    <a:gd name="connsiteY1" fmla="*/ 138 h 10000"/>
                    <a:gd name="connsiteX2" fmla="*/ 7565 w 9447"/>
                    <a:gd name="connsiteY2" fmla="*/ 284 h 10000"/>
                    <a:gd name="connsiteX3" fmla="*/ 7199 w 9447"/>
                    <a:gd name="connsiteY3" fmla="*/ 2645 h 10000"/>
                    <a:gd name="connsiteX4" fmla="*/ 9447 w 9447"/>
                    <a:gd name="connsiteY4" fmla="*/ 7427 h 10000"/>
                    <a:gd name="connsiteX5" fmla="*/ 2696 w 9447"/>
                    <a:gd name="connsiteY5" fmla="*/ 10000 h 10000"/>
                    <a:gd name="connsiteX6" fmla="*/ 0 w 9447"/>
                    <a:gd name="connsiteY6" fmla="*/ 2264 h 10000"/>
                    <a:gd name="connsiteX7" fmla="*/ 4326 w 9447"/>
                    <a:gd name="connsiteY7" fmla="*/ 224 h 10000"/>
                    <a:gd name="connsiteX8" fmla="*/ 5725 w 9447"/>
                    <a:gd name="connsiteY8" fmla="*/ 1380 h 10000"/>
                    <a:gd name="connsiteX0" fmla="*/ 6060 w 10000"/>
                    <a:gd name="connsiteY0" fmla="*/ 1380 h 10000"/>
                    <a:gd name="connsiteX1" fmla="*/ 6835 w 10000"/>
                    <a:gd name="connsiteY1" fmla="*/ 138 h 10000"/>
                    <a:gd name="connsiteX2" fmla="*/ 8008 w 10000"/>
                    <a:gd name="connsiteY2" fmla="*/ 284 h 10000"/>
                    <a:gd name="connsiteX3" fmla="*/ 7620 w 10000"/>
                    <a:gd name="connsiteY3" fmla="*/ 2645 h 10000"/>
                    <a:gd name="connsiteX4" fmla="*/ 10000 w 10000"/>
                    <a:gd name="connsiteY4" fmla="*/ 7427 h 10000"/>
                    <a:gd name="connsiteX5" fmla="*/ 2854 w 10000"/>
                    <a:gd name="connsiteY5" fmla="*/ 10000 h 10000"/>
                    <a:gd name="connsiteX6" fmla="*/ 0 w 10000"/>
                    <a:gd name="connsiteY6" fmla="*/ 2264 h 10000"/>
                    <a:gd name="connsiteX7" fmla="*/ 4579 w 10000"/>
                    <a:gd name="connsiteY7" fmla="*/ 224 h 10000"/>
                    <a:gd name="connsiteX8" fmla="*/ 6060 w 10000"/>
                    <a:gd name="connsiteY8" fmla="*/ 1380 h 10000"/>
                    <a:gd name="connsiteX0" fmla="*/ 6072 w 10012"/>
                    <a:gd name="connsiteY0" fmla="*/ 1380 h 10000"/>
                    <a:gd name="connsiteX1" fmla="*/ 6847 w 10012"/>
                    <a:gd name="connsiteY1" fmla="*/ 138 h 10000"/>
                    <a:gd name="connsiteX2" fmla="*/ 8020 w 10012"/>
                    <a:gd name="connsiteY2" fmla="*/ 284 h 10000"/>
                    <a:gd name="connsiteX3" fmla="*/ 7632 w 10012"/>
                    <a:gd name="connsiteY3" fmla="*/ 2645 h 10000"/>
                    <a:gd name="connsiteX4" fmla="*/ 10012 w 10012"/>
                    <a:gd name="connsiteY4" fmla="*/ 7427 h 10000"/>
                    <a:gd name="connsiteX5" fmla="*/ 2866 w 10012"/>
                    <a:gd name="connsiteY5" fmla="*/ 10000 h 10000"/>
                    <a:gd name="connsiteX6" fmla="*/ 12 w 10012"/>
                    <a:gd name="connsiteY6" fmla="*/ 2264 h 10000"/>
                    <a:gd name="connsiteX7" fmla="*/ 1931 w 10012"/>
                    <a:gd name="connsiteY7" fmla="*/ 1502 h 10000"/>
                    <a:gd name="connsiteX8" fmla="*/ 4591 w 10012"/>
                    <a:gd name="connsiteY8" fmla="*/ 224 h 10000"/>
                    <a:gd name="connsiteX9" fmla="*/ 6072 w 10012"/>
                    <a:gd name="connsiteY9" fmla="*/ 1380 h 10000"/>
                    <a:gd name="connsiteX0" fmla="*/ 6087 w 10027"/>
                    <a:gd name="connsiteY0" fmla="*/ 1380 h 10000"/>
                    <a:gd name="connsiteX1" fmla="*/ 6862 w 10027"/>
                    <a:gd name="connsiteY1" fmla="*/ 138 h 10000"/>
                    <a:gd name="connsiteX2" fmla="*/ 8035 w 10027"/>
                    <a:gd name="connsiteY2" fmla="*/ 284 h 10000"/>
                    <a:gd name="connsiteX3" fmla="*/ 7647 w 10027"/>
                    <a:gd name="connsiteY3" fmla="*/ 2645 h 10000"/>
                    <a:gd name="connsiteX4" fmla="*/ 10027 w 10027"/>
                    <a:gd name="connsiteY4" fmla="*/ 7427 h 10000"/>
                    <a:gd name="connsiteX5" fmla="*/ 2881 w 10027"/>
                    <a:gd name="connsiteY5" fmla="*/ 10000 h 10000"/>
                    <a:gd name="connsiteX6" fmla="*/ 27 w 10027"/>
                    <a:gd name="connsiteY6" fmla="*/ 2264 h 10000"/>
                    <a:gd name="connsiteX7" fmla="*/ 1946 w 10027"/>
                    <a:gd name="connsiteY7" fmla="*/ 1502 h 10000"/>
                    <a:gd name="connsiteX8" fmla="*/ 4606 w 10027"/>
                    <a:gd name="connsiteY8" fmla="*/ 224 h 10000"/>
                    <a:gd name="connsiteX9" fmla="*/ 6087 w 10027"/>
                    <a:gd name="connsiteY9" fmla="*/ 1380 h 10000"/>
                    <a:gd name="connsiteX0" fmla="*/ 6108 w 10048"/>
                    <a:gd name="connsiteY0" fmla="*/ 1380 h 10000"/>
                    <a:gd name="connsiteX1" fmla="*/ 6883 w 10048"/>
                    <a:gd name="connsiteY1" fmla="*/ 138 h 10000"/>
                    <a:gd name="connsiteX2" fmla="*/ 8056 w 10048"/>
                    <a:gd name="connsiteY2" fmla="*/ 284 h 10000"/>
                    <a:gd name="connsiteX3" fmla="*/ 7668 w 10048"/>
                    <a:gd name="connsiteY3" fmla="*/ 2645 h 10000"/>
                    <a:gd name="connsiteX4" fmla="*/ 10048 w 10048"/>
                    <a:gd name="connsiteY4" fmla="*/ 7427 h 10000"/>
                    <a:gd name="connsiteX5" fmla="*/ 2902 w 10048"/>
                    <a:gd name="connsiteY5" fmla="*/ 10000 h 10000"/>
                    <a:gd name="connsiteX6" fmla="*/ 48 w 10048"/>
                    <a:gd name="connsiteY6" fmla="*/ 2264 h 10000"/>
                    <a:gd name="connsiteX7" fmla="*/ 1616 w 10048"/>
                    <a:gd name="connsiteY7" fmla="*/ 2476 h 10000"/>
                    <a:gd name="connsiteX8" fmla="*/ 4627 w 10048"/>
                    <a:gd name="connsiteY8" fmla="*/ 224 h 10000"/>
                    <a:gd name="connsiteX9" fmla="*/ 6108 w 10048"/>
                    <a:gd name="connsiteY9" fmla="*/ 1380 h 10000"/>
                    <a:gd name="connsiteX0" fmla="*/ 6108 w 10048"/>
                    <a:gd name="connsiteY0" fmla="*/ 1380 h 10000"/>
                    <a:gd name="connsiteX1" fmla="*/ 6883 w 10048"/>
                    <a:gd name="connsiteY1" fmla="*/ 138 h 10000"/>
                    <a:gd name="connsiteX2" fmla="*/ 8056 w 10048"/>
                    <a:gd name="connsiteY2" fmla="*/ 284 h 10000"/>
                    <a:gd name="connsiteX3" fmla="*/ 7668 w 10048"/>
                    <a:gd name="connsiteY3" fmla="*/ 2645 h 10000"/>
                    <a:gd name="connsiteX4" fmla="*/ 10048 w 10048"/>
                    <a:gd name="connsiteY4" fmla="*/ 7427 h 10000"/>
                    <a:gd name="connsiteX5" fmla="*/ 2902 w 10048"/>
                    <a:gd name="connsiteY5" fmla="*/ 10000 h 10000"/>
                    <a:gd name="connsiteX6" fmla="*/ 48 w 10048"/>
                    <a:gd name="connsiteY6" fmla="*/ 2264 h 10000"/>
                    <a:gd name="connsiteX7" fmla="*/ 1616 w 10048"/>
                    <a:gd name="connsiteY7" fmla="*/ 2476 h 10000"/>
                    <a:gd name="connsiteX8" fmla="*/ 4627 w 10048"/>
                    <a:gd name="connsiteY8" fmla="*/ 224 h 10000"/>
                    <a:gd name="connsiteX9" fmla="*/ 6108 w 10048"/>
                    <a:gd name="connsiteY9" fmla="*/ 1380 h 10000"/>
                    <a:gd name="connsiteX0" fmla="*/ 6108 w 10048"/>
                    <a:gd name="connsiteY0" fmla="*/ 1380 h 10000"/>
                    <a:gd name="connsiteX1" fmla="*/ 6883 w 10048"/>
                    <a:gd name="connsiteY1" fmla="*/ 138 h 10000"/>
                    <a:gd name="connsiteX2" fmla="*/ 8056 w 10048"/>
                    <a:gd name="connsiteY2" fmla="*/ 284 h 10000"/>
                    <a:gd name="connsiteX3" fmla="*/ 7668 w 10048"/>
                    <a:gd name="connsiteY3" fmla="*/ 2645 h 10000"/>
                    <a:gd name="connsiteX4" fmla="*/ 10048 w 10048"/>
                    <a:gd name="connsiteY4" fmla="*/ 7427 h 10000"/>
                    <a:gd name="connsiteX5" fmla="*/ 2902 w 10048"/>
                    <a:gd name="connsiteY5" fmla="*/ 10000 h 10000"/>
                    <a:gd name="connsiteX6" fmla="*/ 48 w 10048"/>
                    <a:gd name="connsiteY6" fmla="*/ 2264 h 10000"/>
                    <a:gd name="connsiteX7" fmla="*/ 1616 w 10048"/>
                    <a:gd name="connsiteY7" fmla="*/ 2476 h 10000"/>
                    <a:gd name="connsiteX8" fmla="*/ 4627 w 10048"/>
                    <a:gd name="connsiteY8" fmla="*/ 224 h 10000"/>
                    <a:gd name="connsiteX9" fmla="*/ 6108 w 10048"/>
                    <a:gd name="connsiteY9" fmla="*/ 1380 h 10000"/>
                    <a:gd name="connsiteX0" fmla="*/ 5907 w 9847"/>
                    <a:gd name="connsiteY0" fmla="*/ 1380 h 10000"/>
                    <a:gd name="connsiteX1" fmla="*/ 6682 w 9847"/>
                    <a:gd name="connsiteY1" fmla="*/ 138 h 10000"/>
                    <a:gd name="connsiteX2" fmla="*/ 7855 w 9847"/>
                    <a:gd name="connsiteY2" fmla="*/ 284 h 10000"/>
                    <a:gd name="connsiteX3" fmla="*/ 7467 w 9847"/>
                    <a:gd name="connsiteY3" fmla="*/ 2645 h 10000"/>
                    <a:gd name="connsiteX4" fmla="*/ 9847 w 9847"/>
                    <a:gd name="connsiteY4" fmla="*/ 7427 h 10000"/>
                    <a:gd name="connsiteX5" fmla="*/ 2701 w 9847"/>
                    <a:gd name="connsiteY5" fmla="*/ 10000 h 10000"/>
                    <a:gd name="connsiteX6" fmla="*/ 81 w 9847"/>
                    <a:gd name="connsiteY6" fmla="*/ 1899 h 10000"/>
                    <a:gd name="connsiteX7" fmla="*/ 1415 w 9847"/>
                    <a:gd name="connsiteY7" fmla="*/ 2476 h 10000"/>
                    <a:gd name="connsiteX8" fmla="*/ 4426 w 9847"/>
                    <a:gd name="connsiteY8" fmla="*/ 224 h 10000"/>
                    <a:gd name="connsiteX9" fmla="*/ 5907 w 9847"/>
                    <a:gd name="connsiteY9" fmla="*/ 1380 h 10000"/>
                    <a:gd name="connsiteX0" fmla="*/ 5917 w 9918"/>
                    <a:gd name="connsiteY0" fmla="*/ 1380 h 10000"/>
                    <a:gd name="connsiteX1" fmla="*/ 6704 w 9918"/>
                    <a:gd name="connsiteY1" fmla="*/ 138 h 10000"/>
                    <a:gd name="connsiteX2" fmla="*/ 7895 w 9918"/>
                    <a:gd name="connsiteY2" fmla="*/ 284 h 10000"/>
                    <a:gd name="connsiteX3" fmla="*/ 7501 w 9918"/>
                    <a:gd name="connsiteY3" fmla="*/ 2645 h 10000"/>
                    <a:gd name="connsiteX4" fmla="*/ 9918 w 9918"/>
                    <a:gd name="connsiteY4" fmla="*/ 7427 h 10000"/>
                    <a:gd name="connsiteX5" fmla="*/ 2661 w 9918"/>
                    <a:gd name="connsiteY5" fmla="*/ 10000 h 10000"/>
                    <a:gd name="connsiteX6" fmla="*/ 0 w 9918"/>
                    <a:gd name="connsiteY6" fmla="*/ 1899 h 10000"/>
                    <a:gd name="connsiteX7" fmla="*/ 1355 w 9918"/>
                    <a:gd name="connsiteY7" fmla="*/ 2476 h 10000"/>
                    <a:gd name="connsiteX8" fmla="*/ 4413 w 9918"/>
                    <a:gd name="connsiteY8" fmla="*/ 224 h 10000"/>
                    <a:gd name="connsiteX9" fmla="*/ 5917 w 9918"/>
                    <a:gd name="connsiteY9" fmla="*/ 1380 h 10000"/>
                    <a:gd name="connsiteX0" fmla="*/ 6326 w 10360"/>
                    <a:gd name="connsiteY0" fmla="*/ 1380 h 10000"/>
                    <a:gd name="connsiteX1" fmla="*/ 7119 w 10360"/>
                    <a:gd name="connsiteY1" fmla="*/ 138 h 10000"/>
                    <a:gd name="connsiteX2" fmla="*/ 8320 w 10360"/>
                    <a:gd name="connsiteY2" fmla="*/ 284 h 10000"/>
                    <a:gd name="connsiteX3" fmla="*/ 7923 w 10360"/>
                    <a:gd name="connsiteY3" fmla="*/ 2645 h 10000"/>
                    <a:gd name="connsiteX4" fmla="*/ 10360 w 10360"/>
                    <a:gd name="connsiteY4" fmla="*/ 7427 h 10000"/>
                    <a:gd name="connsiteX5" fmla="*/ 3043 w 10360"/>
                    <a:gd name="connsiteY5" fmla="*/ 10000 h 10000"/>
                    <a:gd name="connsiteX6" fmla="*/ 0 w 10360"/>
                    <a:gd name="connsiteY6" fmla="*/ 1899 h 10000"/>
                    <a:gd name="connsiteX7" fmla="*/ 1726 w 10360"/>
                    <a:gd name="connsiteY7" fmla="*/ 2476 h 10000"/>
                    <a:gd name="connsiteX8" fmla="*/ 4809 w 10360"/>
                    <a:gd name="connsiteY8" fmla="*/ 224 h 10000"/>
                    <a:gd name="connsiteX9" fmla="*/ 6326 w 10360"/>
                    <a:gd name="connsiteY9" fmla="*/ 1380 h 10000"/>
                    <a:gd name="connsiteX0" fmla="*/ 5966 w 10000"/>
                    <a:gd name="connsiteY0" fmla="*/ 1380 h 10000"/>
                    <a:gd name="connsiteX1" fmla="*/ 6759 w 10000"/>
                    <a:gd name="connsiteY1" fmla="*/ 138 h 10000"/>
                    <a:gd name="connsiteX2" fmla="*/ 7960 w 10000"/>
                    <a:gd name="connsiteY2" fmla="*/ 284 h 10000"/>
                    <a:gd name="connsiteX3" fmla="*/ 7563 w 10000"/>
                    <a:gd name="connsiteY3" fmla="*/ 2645 h 10000"/>
                    <a:gd name="connsiteX4" fmla="*/ 10000 w 10000"/>
                    <a:gd name="connsiteY4" fmla="*/ 7427 h 10000"/>
                    <a:gd name="connsiteX5" fmla="*/ 2683 w 10000"/>
                    <a:gd name="connsiteY5" fmla="*/ 10000 h 10000"/>
                    <a:gd name="connsiteX6" fmla="*/ 0 w 10000"/>
                    <a:gd name="connsiteY6" fmla="*/ 2508 h 10000"/>
                    <a:gd name="connsiteX7" fmla="*/ 1366 w 10000"/>
                    <a:gd name="connsiteY7" fmla="*/ 2476 h 10000"/>
                    <a:gd name="connsiteX8" fmla="*/ 4449 w 10000"/>
                    <a:gd name="connsiteY8" fmla="*/ 224 h 10000"/>
                    <a:gd name="connsiteX9" fmla="*/ 5966 w 10000"/>
                    <a:gd name="connsiteY9" fmla="*/ 1380 h 10000"/>
                    <a:gd name="connsiteX0" fmla="*/ 5966 w 10000"/>
                    <a:gd name="connsiteY0" fmla="*/ 1380 h 10000"/>
                    <a:gd name="connsiteX1" fmla="*/ 6759 w 10000"/>
                    <a:gd name="connsiteY1" fmla="*/ 138 h 10000"/>
                    <a:gd name="connsiteX2" fmla="*/ 7960 w 10000"/>
                    <a:gd name="connsiteY2" fmla="*/ 284 h 10000"/>
                    <a:gd name="connsiteX3" fmla="*/ 7563 w 10000"/>
                    <a:gd name="connsiteY3" fmla="*/ 2645 h 10000"/>
                    <a:gd name="connsiteX4" fmla="*/ 10000 w 10000"/>
                    <a:gd name="connsiteY4" fmla="*/ 7427 h 10000"/>
                    <a:gd name="connsiteX5" fmla="*/ 2683 w 10000"/>
                    <a:gd name="connsiteY5" fmla="*/ 10000 h 10000"/>
                    <a:gd name="connsiteX6" fmla="*/ 0 w 10000"/>
                    <a:gd name="connsiteY6" fmla="*/ 2508 h 10000"/>
                    <a:gd name="connsiteX7" fmla="*/ 1366 w 10000"/>
                    <a:gd name="connsiteY7" fmla="*/ 2476 h 10000"/>
                    <a:gd name="connsiteX8" fmla="*/ 4449 w 10000"/>
                    <a:gd name="connsiteY8" fmla="*/ 224 h 10000"/>
                    <a:gd name="connsiteX9" fmla="*/ 5966 w 10000"/>
                    <a:gd name="connsiteY9" fmla="*/ 1380 h 10000"/>
                    <a:gd name="connsiteX0" fmla="*/ 5846 w 9880"/>
                    <a:gd name="connsiteY0" fmla="*/ 1380 h 10000"/>
                    <a:gd name="connsiteX1" fmla="*/ 6639 w 9880"/>
                    <a:gd name="connsiteY1" fmla="*/ 138 h 10000"/>
                    <a:gd name="connsiteX2" fmla="*/ 7840 w 9880"/>
                    <a:gd name="connsiteY2" fmla="*/ 284 h 10000"/>
                    <a:gd name="connsiteX3" fmla="*/ 7443 w 9880"/>
                    <a:gd name="connsiteY3" fmla="*/ 2645 h 10000"/>
                    <a:gd name="connsiteX4" fmla="*/ 9880 w 9880"/>
                    <a:gd name="connsiteY4" fmla="*/ 7427 h 10000"/>
                    <a:gd name="connsiteX5" fmla="*/ 2563 w 9880"/>
                    <a:gd name="connsiteY5" fmla="*/ 10000 h 10000"/>
                    <a:gd name="connsiteX6" fmla="*/ 0 w 9880"/>
                    <a:gd name="connsiteY6" fmla="*/ 2995 h 10000"/>
                    <a:gd name="connsiteX7" fmla="*/ 1246 w 9880"/>
                    <a:gd name="connsiteY7" fmla="*/ 2476 h 10000"/>
                    <a:gd name="connsiteX8" fmla="*/ 4329 w 9880"/>
                    <a:gd name="connsiteY8" fmla="*/ 224 h 10000"/>
                    <a:gd name="connsiteX9" fmla="*/ 5846 w 9880"/>
                    <a:gd name="connsiteY9" fmla="*/ 1380 h 10000"/>
                    <a:gd name="connsiteX0" fmla="*/ 5917 w 10000"/>
                    <a:gd name="connsiteY0" fmla="*/ 1380 h 10000"/>
                    <a:gd name="connsiteX1" fmla="*/ 6720 w 10000"/>
                    <a:gd name="connsiteY1" fmla="*/ 138 h 10000"/>
                    <a:gd name="connsiteX2" fmla="*/ 7935 w 10000"/>
                    <a:gd name="connsiteY2" fmla="*/ 284 h 10000"/>
                    <a:gd name="connsiteX3" fmla="*/ 7533 w 10000"/>
                    <a:gd name="connsiteY3" fmla="*/ 2645 h 10000"/>
                    <a:gd name="connsiteX4" fmla="*/ 10000 w 10000"/>
                    <a:gd name="connsiteY4" fmla="*/ 7427 h 10000"/>
                    <a:gd name="connsiteX5" fmla="*/ 2594 w 10000"/>
                    <a:gd name="connsiteY5" fmla="*/ 10000 h 10000"/>
                    <a:gd name="connsiteX6" fmla="*/ 0 w 10000"/>
                    <a:gd name="connsiteY6" fmla="*/ 2995 h 10000"/>
                    <a:gd name="connsiteX7" fmla="*/ 1261 w 10000"/>
                    <a:gd name="connsiteY7" fmla="*/ 2476 h 10000"/>
                    <a:gd name="connsiteX8" fmla="*/ 4382 w 10000"/>
                    <a:gd name="connsiteY8" fmla="*/ 224 h 10000"/>
                    <a:gd name="connsiteX9" fmla="*/ 5917 w 10000"/>
                    <a:gd name="connsiteY9" fmla="*/ 1380 h 10000"/>
                    <a:gd name="connsiteX0" fmla="*/ 5917 w 10000"/>
                    <a:gd name="connsiteY0" fmla="*/ 1380 h 10000"/>
                    <a:gd name="connsiteX1" fmla="*/ 6720 w 10000"/>
                    <a:gd name="connsiteY1" fmla="*/ 138 h 10000"/>
                    <a:gd name="connsiteX2" fmla="*/ 7935 w 10000"/>
                    <a:gd name="connsiteY2" fmla="*/ 284 h 10000"/>
                    <a:gd name="connsiteX3" fmla="*/ 7533 w 10000"/>
                    <a:gd name="connsiteY3" fmla="*/ 2645 h 10000"/>
                    <a:gd name="connsiteX4" fmla="*/ 10000 w 10000"/>
                    <a:gd name="connsiteY4" fmla="*/ 7427 h 10000"/>
                    <a:gd name="connsiteX5" fmla="*/ 2594 w 10000"/>
                    <a:gd name="connsiteY5" fmla="*/ 10000 h 10000"/>
                    <a:gd name="connsiteX6" fmla="*/ 0 w 10000"/>
                    <a:gd name="connsiteY6" fmla="*/ 2995 h 10000"/>
                    <a:gd name="connsiteX7" fmla="*/ 1261 w 10000"/>
                    <a:gd name="connsiteY7" fmla="*/ 2476 h 10000"/>
                    <a:gd name="connsiteX8" fmla="*/ 4018 w 10000"/>
                    <a:gd name="connsiteY8" fmla="*/ 711 h 10000"/>
                    <a:gd name="connsiteX9" fmla="*/ 5917 w 10000"/>
                    <a:gd name="connsiteY9" fmla="*/ 1380 h 10000"/>
                    <a:gd name="connsiteX0" fmla="*/ 5917 w 10000"/>
                    <a:gd name="connsiteY0" fmla="*/ 1380 h 10000"/>
                    <a:gd name="connsiteX1" fmla="*/ 6720 w 10000"/>
                    <a:gd name="connsiteY1" fmla="*/ 138 h 10000"/>
                    <a:gd name="connsiteX2" fmla="*/ 7935 w 10000"/>
                    <a:gd name="connsiteY2" fmla="*/ 284 h 10000"/>
                    <a:gd name="connsiteX3" fmla="*/ 7533 w 10000"/>
                    <a:gd name="connsiteY3" fmla="*/ 2645 h 10000"/>
                    <a:gd name="connsiteX4" fmla="*/ 10000 w 10000"/>
                    <a:gd name="connsiteY4" fmla="*/ 7427 h 10000"/>
                    <a:gd name="connsiteX5" fmla="*/ 2594 w 10000"/>
                    <a:gd name="connsiteY5" fmla="*/ 10000 h 10000"/>
                    <a:gd name="connsiteX6" fmla="*/ 0 w 10000"/>
                    <a:gd name="connsiteY6" fmla="*/ 2995 h 10000"/>
                    <a:gd name="connsiteX7" fmla="*/ 1261 w 10000"/>
                    <a:gd name="connsiteY7" fmla="*/ 2476 h 10000"/>
                    <a:gd name="connsiteX8" fmla="*/ 4018 w 10000"/>
                    <a:gd name="connsiteY8" fmla="*/ 711 h 10000"/>
                    <a:gd name="connsiteX9" fmla="*/ 5917 w 10000"/>
                    <a:gd name="connsiteY9" fmla="*/ 1380 h 10000"/>
                    <a:gd name="connsiteX0" fmla="*/ 5917 w 10000"/>
                    <a:gd name="connsiteY0" fmla="*/ 1380 h 10000"/>
                    <a:gd name="connsiteX1" fmla="*/ 6720 w 10000"/>
                    <a:gd name="connsiteY1" fmla="*/ 138 h 10000"/>
                    <a:gd name="connsiteX2" fmla="*/ 7935 w 10000"/>
                    <a:gd name="connsiteY2" fmla="*/ 284 h 10000"/>
                    <a:gd name="connsiteX3" fmla="*/ 7533 w 10000"/>
                    <a:gd name="connsiteY3" fmla="*/ 2645 h 10000"/>
                    <a:gd name="connsiteX4" fmla="*/ 10000 w 10000"/>
                    <a:gd name="connsiteY4" fmla="*/ 7427 h 10000"/>
                    <a:gd name="connsiteX5" fmla="*/ 2594 w 10000"/>
                    <a:gd name="connsiteY5" fmla="*/ 10000 h 10000"/>
                    <a:gd name="connsiteX6" fmla="*/ 0 w 10000"/>
                    <a:gd name="connsiteY6" fmla="*/ 2995 h 10000"/>
                    <a:gd name="connsiteX7" fmla="*/ 1261 w 10000"/>
                    <a:gd name="connsiteY7" fmla="*/ 2476 h 10000"/>
                    <a:gd name="connsiteX8" fmla="*/ 4018 w 10000"/>
                    <a:gd name="connsiteY8" fmla="*/ 711 h 10000"/>
                    <a:gd name="connsiteX9" fmla="*/ 5917 w 10000"/>
                    <a:gd name="connsiteY9" fmla="*/ 1380 h 10000"/>
                    <a:gd name="connsiteX0" fmla="*/ 5917 w 10000"/>
                    <a:gd name="connsiteY0" fmla="*/ 1380 h 10000"/>
                    <a:gd name="connsiteX1" fmla="*/ 6720 w 10000"/>
                    <a:gd name="connsiteY1" fmla="*/ 138 h 10000"/>
                    <a:gd name="connsiteX2" fmla="*/ 7935 w 10000"/>
                    <a:gd name="connsiteY2" fmla="*/ 284 h 10000"/>
                    <a:gd name="connsiteX3" fmla="*/ 7533 w 10000"/>
                    <a:gd name="connsiteY3" fmla="*/ 2645 h 10000"/>
                    <a:gd name="connsiteX4" fmla="*/ 10000 w 10000"/>
                    <a:gd name="connsiteY4" fmla="*/ 7427 h 10000"/>
                    <a:gd name="connsiteX5" fmla="*/ 2594 w 10000"/>
                    <a:gd name="connsiteY5" fmla="*/ 10000 h 10000"/>
                    <a:gd name="connsiteX6" fmla="*/ 0 w 10000"/>
                    <a:gd name="connsiteY6" fmla="*/ 2995 h 10000"/>
                    <a:gd name="connsiteX7" fmla="*/ 1261 w 10000"/>
                    <a:gd name="connsiteY7" fmla="*/ 2476 h 10000"/>
                    <a:gd name="connsiteX8" fmla="*/ 4018 w 10000"/>
                    <a:gd name="connsiteY8" fmla="*/ 711 h 10000"/>
                    <a:gd name="connsiteX9" fmla="*/ 5917 w 10000"/>
                    <a:gd name="connsiteY9" fmla="*/ 1380 h 10000"/>
                    <a:gd name="connsiteX0" fmla="*/ 5917 w 10000"/>
                    <a:gd name="connsiteY0" fmla="*/ 1380 h 10000"/>
                    <a:gd name="connsiteX1" fmla="*/ 6720 w 10000"/>
                    <a:gd name="connsiteY1" fmla="*/ 138 h 10000"/>
                    <a:gd name="connsiteX2" fmla="*/ 7935 w 10000"/>
                    <a:gd name="connsiteY2" fmla="*/ 284 h 10000"/>
                    <a:gd name="connsiteX3" fmla="*/ 7533 w 10000"/>
                    <a:gd name="connsiteY3" fmla="*/ 2645 h 10000"/>
                    <a:gd name="connsiteX4" fmla="*/ 10000 w 10000"/>
                    <a:gd name="connsiteY4" fmla="*/ 7427 h 10000"/>
                    <a:gd name="connsiteX5" fmla="*/ 2594 w 10000"/>
                    <a:gd name="connsiteY5" fmla="*/ 10000 h 10000"/>
                    <a:gd name="connsiteX6" fmla="*/ 0 w 10000"/>
                    <a:gd name="connsiteY6" fmla="*/ 2995 h 10000"/>
                    <a:gd name="connsiteX7" fmla="*/ 1261 w 10000"/>
                    <a:gd name="connsiteY7" fmla="*/ 2476 h 10000"/>
                    <a:gd name="connsiteX8" fmla="*/ 4018 w 10000"/>
                    <a:gd name="connsiteY8" fmla="*/ 711 h 10000"/>
                    <a:gd name="connsiteX9" fmla="*/ 5917 w 10000"/>
                    <a:gd name="connsiteY9" fmla="*/ 1380 h 10000"/>
                    <a:gd name="connsiteX0" fmla="*/ 5917 w 10000"/>
                    <a:gd name="connsiteY0" fmla="*/ 1380 h 10000"/>
                    <a:gd name="connsiteX1" fmla="*/ 6720 w 10000"/>
                    <a:gd name="connsiteY1" fmla="*/ 138 h 10000"/>
                    <a:gd name="connsiteX2" fmla="*/ 7935 w 10000"/>
                    <a:gd name="connsiteY2" fmla="*/ 284 h 10000"/>
                    <a:gd name="connsiteX3" fmla="*/ 7533 w 10000"/>
                    <a:gd name="connsiteY3" fmla="*/ 2645 h 10000"/>
                    <a:gd name="connsiteX4" fmla="*/ 10000 w 10000"/>
                    <a:gd name="connsiteY4" fmla="*/ 7427 h 10000"/>
                    <a:gd name="connsiteX5" fmla="*/ 2594 w 10000"/>
                    <a:gd name="connsiteY5" fmla="*/ 10000 h 10000"/>
                    <a:gd name="connsiteX6" fmla="*/ 0 w 10000"/>
                    <a:gd name="connsiteY6" fmla="*/ 2995 h 10000"/>
                    <a:gd name="connsiteX7" fmla="*/ 1261 w 10000"/>
                    <a:gd name="connsiteY7" fmla="*/ 2476 h 10000"/>
                    <a:gd name="connsiteX8" fmla="*/ 4018 w 10000"/>
                    <a:gd name="connsiteY8" fmla="*/ 711 h 10000"/>
                    <a:gd name="connsiteX9" fmla="*/ 5917 w 10000"/>
                    <a:gd name="connsiteY9" fmla="*/ 1380 h 10000"/>
                    <a:gd name="connsiteX0" fmla="*/ 5432 w 9515"/>
                    <a:gd name="connsiteY0" fmla="*/ 1380 h 10000"/>
                    <a:gd name="connsiteX1" fmla="*/ 6235 w 9515"/>
                    <a:gd name="connsiteY1" fmla="*/ 138 h 10000"/>
                    <a:gd name="connsiteX2" fmla="*/ 7450 w 9515"/>
                    <a:gd name="connsiteY2" fmla="*/ 284 h 10000"/>
                    <a:gd name="connsiteX3" fmla="*/ 7048 w 9515"/>
                    <a:gd name="connsiteY3" fmla="*/ 2645 h 10000"/>
                    <a:gd name="connsiteX4" fmla="*/ 9515 w 9515"/>
                    <a:gd name="connsiteY4" fmla="*/ 7427 h 10000"/>
                    <a:gd name="connsiteX5" fmla="*/ 2109 w 9515"/>
                    <a:gd name="connsiteY5" fmla="*/ 10000 h 10000"/>
                    <a:gd name="connsiteX6" fmla="*/ 0 w 9515"/>
                    <a:gd name="connsiteY6" fmla="*/ 4822 h 10000"/>
                    <a:gd name="connsiteX7" fmla="*/ 776 w 9515"/>
                    <a:gd name="connsiteY7" fmla="*/ 2476 h 10000"/>
                    <a:gd name="connsiteX8" fmla="*/ 3533 w 9515"/>
                    <a:gd name="connsiteY8" fmla="*/ 711 h 10000"/>
                    <a:gd name="connsiteX9" fmla="*/ 5432 w 9515"/>
                    <a:gd name="connsiteY9" fmla="*/ 1380 h 10000"/>
                    <a:gd name="connsiteX0" fmla="*/ 5709 w 10000"/>
                    <a:gd name="connsiteY0" fmla="*/ 1380 h 10000"/>
                    <a:gd name="connsiteX1" fmla="*/ 6553 w 10000"/>
                    <a:gd name="connsiteY1" fmla="*/ 138 h 10000"/>
                    <a:gd name="connsiteX2" fmla="*/ 7830 w 10000"/>
                    <a:gd name="connsiteY2" fmla="*/ 284 h 10000"/>
                    <a:gd name="connsiteX3" fmla="*/ 7407 w 10000"/>
                    <a:gd name="connsiteY3" fmla="*/ 2645 h 10000"/>
                    <a:gd name="connsiteX4" fmla="*/ 10000 w 10000"/>
                    <a:gd name="connsiteY4" fmla="*/ 7427 h 10000"/>
                    <a:gd name="connsiteX5" fmla="*/ 2217 w 10000"/>
                    <a:gd name="connsiteY5" fmla="*/ 10000 h 10000"/>
                    <a:gd name="connsiteX6" fmla="*/ 0 w 10000"/>
                    <a:gd name="connsiteY6" fmla="*/ 4822 h 10000"/>
                    <a:gd name="connsiteX7" fmla="*/ 816 w 10000"/>
                    <a:gd name="connsiteY7" fmla="*/ 2476 h 10000"/>
                    <a:gd name="connsiteX8" fmla="*/ 3713 w 10000"/>
                    <a:gd name="connsiteY8" fmla="*/ 711 h 10000"/>
                    <a:gd name="connsiteX9" fmla="*/ 5709 w 10000"/>
                    <a:gd name="connsiteY9" fmla="*/ 1380 h 10000"/>
                    <a:gd name="connsiteX0" fmla="*/ 6219 w 10510"/>
                    <a:gd name="connsiteY0" fmla="*/ 1380 h 10000"/>
                    <a:gd name="connsiteX1" fmla="*/ 7063 w 10510"/>
                    <a:gd name="connsiteY1" fmla="*/ 138 h 10000"/>
                    <a:gd name="connsiteX2" fmla="*/ 8340 w 10510"/>
                    <a:gd name="connsiteY2" fmla="*/ 284 h 10000"/>
                    <a:gd name="connsiteX3" fmla="*/ 7917 w 10510"/>
                    <a:gd name="connsiteY3" fmla="*/ 2645 h 10000"/>
                    <a:gd name="connsiteX4" fmla="*/ 10510 w 10510"/>
                    <a:gd name="connsiteY4" fmla="*/ 7427 h 10000"/>
                    <a:gd name="connsiteX5" fmla="*/ 2727 w 10510"/>
                    <a:gd name="connsiteY5" fmla="*/ 10000 h 10000"/>
                    <a:gd name="connsiteX6" fmla="*/ 0 w 10510"/>
                    <a:gd name="connsiteY6" fmla="*/ 3482 h 10000"/>
                    <a:gd name="connsiteX7" fmla="*/ 1326 w 10510"/>
                    <a:gd name="connsiteY7" fmla="*/ 2476 h 10000"/>
                    <a:gd name="connsiteX8" fmla="*/ 4223 w 10510"/>
                    <a:gd name="connsiteY8" fmla="*/ 711 h 10000"/>
                    <a:gd name="connsiteX9" fmla="*/ 6219 w 10510"/>
                    <a:gd name="connsiteY9" fmla="*/ 1380 h 10000"/>
                    <a:gd name="connsiteX0" fmla="*/ 6219 w 10510"/>
                    <a:gd name="connsiteY0" fmla="*/ 1380 h 10000"/>
                    <a:gd name="connsiteX1" fmla="*/ 7063 w 10510"/>
                    <a:gd name="connsiteY1" fmla="*/ 138 h 10000"/>
                    <a:gd name="connsiteX2" fmla="*/ 8340 w 10510"/>
                    <a:gd name="connsiteY2" fmla="*/ 284 h 10000"/>
                    <a:gd name="connsiteX3" fmla="*/ 7917 w 10510"/>
                    <a:gd name="connsiteY3" fmla="*/ 2645 h 10000"/>
                    <a:gd name="connsiteX4" fmla="*/ 10510 w 10510"/>
                    <a:gd name="connsiteY4" fmla="*/ 7427 h 10000"/>
                    <a:gd name="connsiteX5" fmla="*/ 2727 w 10510"/>
                    <a:gd name="connsiteY5" fmla="*/ 10000 h 10000"/>
                    <a:gd name="connsiteX6" fmla="*/ 0 w 10510"/>
                    <a:gd name="connsiteY6" fmla="*/ 3482 h 10000"/>
                    <a:gd name="connsiteX7" fmla="*/ 1326 w 10510"/>
                    <a:gd name="connsiteY7" fmla="*/ 2476 h 10000"/>
                    <a:gd name="connsiteX8" fmla="*/ 4223 w 10510"/>
                    <a:gd name="connsiteY8" fmla="*/ 711 h 10000"/>
                    <a:gd name="connsiteX9" fmla="*/ 6219 w 10510"/>
                    <a:gd name="connsiteY9" fmla="*/ 1380 h 10000"/>
                    <a:gd name="connsiteX0" fmla="*/ 6219 w 10510"/>
                    <a:gd name="connsiteY0" fmla="*/ 1380 h 10000"/>
                    <a:gd name="connsiteX1" fmla="*/ 7063 w 10510"/>
                    <a:gd name="connsiteY1" fmla="*/ 138 h 10000"/>
                    <a:gd name="connsiteX2" fmla="*/ 8340 w 10510"/>
                    <a:gd name="connsiteY2" fmla="*/ 284 h 10000"/>
                    <a:gd name="connsiteX3" fmla="*/ 7917 w 10510"/>
                    <a:gd name="connsiteY3" fmla="*/ 2645 h 10000"/>
                    <a:gd name="connsiteX4" fmla="*/ 10510 w 10510"/>
                    <a:gd name="connsiteY4" fmla="*/ 7427 h 10000"/>
                    <a:gd name="connsiteX5" fmla="*/ 2727 w 10510"/>
                    <a:gd name="connsiteY5" fmla="*/ 10000 h 10000"/>
                    <a:gd name="connsiteX6" fmla="*/ 0 w 10510"/>
                    <a:gd name="connsiteY6" fmla="*/ 3482 h 10000"/>
                    <a:gd name="connsiteX7" fmla="*/ 1453 w 10510"/>
                    <a:gd name="connsiteY7" fmla="*/ 3450 h 10000"/>
                    <a:gd name="connsiteX8" fmla="*/ 4223 w 10510"/>
                    <a:gd name="connsiteY8" fmla="*/ 711 h 10000"/>
                    <a:gd name="connsiteX9" fmla="*/ 6219 w 10510"/>
                    <a:gd name="connsiteY9" fmla="*/ 1380 h 10000"/>
                    <a:gd name="connsiteX0" fmla="*/ 6219 w 10510"/>
                    <a:gd name="connsiteY0" fmla="*/ 1380 h 10000"/>
                    <a:gd name="connsiteX1" fmla="*/ 7063 w 10510"/>
                    <a:gd name="connsiteY1" fmla="*/ 138 h 10000"/>
                    <a:gd name="connsiteX2" fmla="*/ 8340 w 10510"/>
                    <a:gd name="connsiteY2" fmla="*/ 284 h 10000"/>
                    <a:gd name="connsiteX3" fmla="*/ 7917 w 10510"/>
                    <a:gd name="connsiteY3" fmla="*/ 2645 h 10000"/>
                    <a:gd name="connsiteX4" fmla="*/ 10510 w 10510"/>
                    <a:gd name="connsiteY4" fmla="*/ 7427 h 10000"/>
                    <a:gd name="connsiteX5" fmla="*/ 2727 w 10510"/>
                    <a:gd name="connsiteY5" fmla="*/ 10000 h 10000"/>
                    <a:gd name="connsiteX6" fmla="*/ 0 w 10510"/>
                    <a:gd name="connsiteY6" fmla="*/ 3482 h 10000"/>
                    <a:gd name="connsiteX7" fmla="*/ 1453 w 10510"/>
                    <a:gd name="connsiteY7" fmla="*/ 3450 h 10000"/>
                    <a:gd name="connsiteX8" fmla="*/ 4223 w 10510"/>
                    <a:gd name="connsiteY8" fmla="*/ 711 h 10000"/>
                    <a:gd name="connsiteX9" fmla="*/ 6219 w 10510"/>
                    <a:gd name="connsiteY9" fmla="*/ 1380 h 10000"/>
                    <a:gd name="connsiteX0" fmla="*/ 6219 w 10510"/>
                    <a:gd name="connsiteY0" fmla="*/ 1380 h 10000"/>
                    <a:gd name="connsiteX1" fmla="*/ 7063 w 10510"/>
                    <a:gd name="connsiteY1" fmla="*/ 138 h 10000"/>
                    <a:gd name="connsiteX2" fmla="*/ 8340 w 10510"/>
                    <a:gd name="connsiteY2" fmla="*/ 284 h 10000"/>
                    <a:gd name="connsiteX3" fmla="*/ 7917 w 10510"/>
                    <a:gd name="connsiteY3" fmla="*/ 2645 h 10000"/>
                    <a:gd name="connsiteX4" fmla="*/ 10510 w 10510"/>
                    <a:gd name="connsiteY4" fmla="*/ 7427 h 10000"/>
                    <a:gd name="connsiteX5" fmla="*/ 2727 w 10510"/>
                    <a:gd name="connsiteY5" fmla="*/ 10000 h 10000"/>
                    <a:gd name="connsiteX6" fmla="*/ 0 w 10510"/>
                    <a:gd name="connsiteY6" fmla="*/ 3482 h 10000"/>
                    <a:gd name="connsiteX7" fmla="*/ 1453 w 10510"/>
                    <a:gd name="connsiteY7" fmla="*/ 3450 h 10000"/>
                    <a:gd name="connsiteX8" fmla="*/ 4223 w 10510"/>
                    <a:gd name="connsiteY8" fmla="*/ 711 h 10000"/>
                    <a:gd name="connsiteX9" fmla="*/ 6219 w 10510"/>
                    <a:gd name="connsiteY9" fmla="*/ 1380 h 10000"/>
                    <a:gd name="connsiteX0" fmla="*/ 6219 w 10510"/>
                    <a:gd name="connsiteY0" fmla="*/ 1380 h 10000"/>
                    <a:gd name="connsiteX1" fmla="*/ 7063 w 10510"/>
                    <a:gd name="connsiteY1" fmla="*/ 138 h 10000"/>
                    <a:gd name="connsiteX2" fmla="*/ 8340 w 10510"/>
                    <a:gd name="connsiteY2" fmla="*/ 284 h 10000"/>
                    <a:gd name="connsiteX3" fmla="*/ 7917 w 10510"/>
                    <a:gd name="connsiteY3" fmla="*/ 2645 h 10000"/>
                    <a:gd name="connsiteX4" fmla="*/ 10510 w 10510"/>
                    <a:gd name="connsiteY4" fmla="*/ 7427 h 10000"/>
                    <a:gd name="connsiteX5" fmla="*/ 2727 w 10510"/>
                    <a:gd name="connsiteY5" fmla="*/ 10000 h 10000"/>
                    <a:gd name="connsiteX6" fmla="*/ 0 w 10510"/>
                    <a:gd name="connsiteY6" fmla="*/ 3482 h 10000"/>
                    <a:gd name="connsiteX7" fmla="*/ 1581 w 10510"/>
                    <a:gd name="connsiteY7" fmla="*/ 3450 h 10000"/>
                    <a:gd name="connsiteX8" fmla="*/ 4223 w 10510"/>
                    <a:gd name="connsiteY8" fmla="*/ 711 h 10000"/>
                    <a:gd name="connsiteX9" fmla="*/ 6219 w 10510"/>
                    <a:gd name="connsiteY9" fmla="*/ 1380 h 10000"/>
                    <a:gd name="connsiteX0" fmla="*/ 6219 w 10510"/>
                    <a:gd name="connsiteY0" fmla="*/ 1380 h 10000"/>
                    <a:gd name="connsiteX1" fmla="*/ 7063 w 10510"/>
                    <a:gd name="connsiteY1" fmla="*/ 138 h 10000"/>
                    <a:gd name="connsiteX2" fmla="*/ 8340 w 10510"/>
                    <a:gd name="connsiteY2" fmla="*/ 284 h 10000"/>
                    <a:gd name="connsiteX3" fmla="*/ 7917 w 10510"/>
                    <a:gd name="connsiteY3" fmla="*/ 2645 h 10000"/>
                    <a:gd name="connsiteX4" fmla="*/ 10510 w 10510"/>
                    <a:gd name="connsiteY4" fmla="*/ 7427 h 10000"/>
                    <a:gd name="connsiteX5" fmla="*/ 2727 w 10510"/>
                    <a:gd name="connsiteY5" fmla="*/ 10000 h 10000"/>
                    <a:gd name="connsiteX6" fmla="*/ 0 w 10510"/>
                    <a:gd name="connsiteY6" fmla="*/ 3482 h 10000"/>
                    <a:gd name="connsiteX7" fmla="*/ 1581 w 10510"/>
                    <a:gd name="connsiteY7" fmla="*/ 3450 h 10000"/>
                    <a:gd name="connsiteX8" fmla="*/ 4223 w 10510"/>
                    <a:gd name="connsiteY8" fmla="*/ 711 h 10000"/>
                    <a:gd name="connsiteX9" fmla="*/ 6219 w 10510"/>
                    <a:gd name="connsiteY9" fmla="*/ 1380 h 10000"/>
                    <a:gd name="connsiteX0" fmla="*/ 6219 w 10510"/>
                    <a:gd name="connsiteY0" fmla="*/ 1380 h 10000"/>
                    <a:gd name="connsiteX1" fmla="*/ 7063 w 10510"/>
                    <a:gd name="connsiteY1" fmla="*/ 138 h 10000"/>
                    <a:gd name="connsiteX2" fmla="*/ 8340 w 10510"/>
                    <a:gd name="connsiteY2" fmla="*/ 284 h 10000"/>
                    <a:gd name="connsiteX3" fmla="*/ 7917 w 10510"/>
                    <a:gd name="connsiteY3" fmla="*/ 2645 h 10000"/>
                    <a:gd name="connsiteX4" fmla="*/ 10510 w 10510"/>
                    <a:gd name="connsiteY4" fmla="*/ 7427 h 10000"/>
                    <a:gd name="connsiteX5" fmla="*/ 2727 w 10510"/>
                    <a:gd name="connsiteY5" fmla="*/ 10000 h 10000"/>
                    <a:gd name="connsiteX6" fmla="*/ 0 w 10510"/>
                    <a:gd name="connsiteY6" fmla="*/ 3482 h 10000"/>
                    <a:gd name="connsiteX7" fmla="*/ 1581 w 10510"/>
                    <a:gd name="connsiteY7" fmla="*/ 3450 h 10000"/>
                    <a:gd name="connsiteX8" fmla="*/ 4095 w 10510"/>
                    <a:gd name="connsiteY8" fmla="*/ 467 h 10000"/>
                    <a:gd name="connsiteX9" fmla="*/ 6219 w 10510"/>
                    <a:gd name="connsiteY9" fmla="*/ 1380 h 10000"/>
                    <a:gd name="connsiteX0" fmla="*/ 6219 w 10510"/>
                    <a:gd name="connsiteY0" fmla="*/ 1380 h 10000"/>
                    <a:gd name="connsiteX1" fmla="*/ 7063 w 10510"/>
                    <a:gd name="connsiteY1" fmla="*/ 138 h 10000"/>
                    <a:gd name="connsiteX2" fmla="*/ 8340 w 10510"/>
                    <a:gd name="connsiteY2" fmla="*/ 284 h 10000"/>
                    <a:gd name="connsiteX3" fmla="*/ 7917 w 10510"/>
                    <a:gd name="connsiteY3" fmla="*/ 2645 h 10000"/>
                    <a:gd name="connsiteX4" fmla="*/ 10510 w 10510"/>
                    <a:gd name="connsiteY4" fmla="*/ 7427 h 10000"/>
                    <a:gd name="connsiteX5" fmla="*/ 2727 w 10510"/>
                    <a:gd name="connsiteY5" fmla="*/ 10000 h 10000"/>
                    <a:gd name="connsiteX6" fmla="*/ 0 w 10510"/>
                    <a:gd name="connsiteY6" fmla="*/ 3482 h 10000"/>
                    <a:gd name="connsiteX7" fmla="*/ 1581 w 10510"/>
                    <a:gd name="connsiteY7" fmla="*/ 3450 h 10000"/>
                    <a:gd name="connsiteX8" fmla="*/ 4095 w 10510"/>
                    <a:gd name="connsiteY8" fmla="*/ 467 h 10000"/>
                    <a:gd name="connsiteX9" fmla="*/ 6219 w 10510"/>
                    <a:gd name="connsiteY9" fmla="*/ 1380 h 10000"/>
                    <a:gd name="connsiteX0" fmla="*/ 6219 w 10510"/>
                    <a:gd name="connsiteY0" fmla="*/ 1380 h 10000"/>
                    <a:gd name="connsiteX1" fmla="*/ 7063 w 10510"/>
                    <a:gd name="connsiteY1" fmla="*/ 138 h 10000"/>
                    <a:gd name="connsiteX2" fmla="*/ 8340 w 10510"/>
                    <a:gd name="connsiteY2" fmla="*/ 284 h 10000"/>
                    <a:gd name="connsiteX3" fmla="*/ 7917 w 10510"/>
                    <a:gd name="connsiteY3" fmla="*/ 2645 h 10000"/>
                    <a:gd name="connsiteX4" fmla="*/ 10510 w 10510"/>
                    <a:gd name="connsiteY4" fmla="*/ 7427 h 10000"/>
                    <a:gd name="connsiteX5" fmla="*/ 2727 w 10510"/>
                    <a:gd name="connsiteY5" fmla="*/ 10000 h 10000"/>
                    <a:gd name="connsiteX6" fmla="*/ 0 w 10510"/>
                    <a:gd name="connsiteY6" fmla="*/ 3482 h 10000"/>
                    <a:gd name="connsiteX7" fmla="*/ 1581 w 10510"/>
                    <a:gd name="connsiteY7" fmla="*/ 3450 h 10000"/>
                    <a:gd name="connsiteX8" fmla="*/ 4095 w 10510"/>
                    <a:gd name="connsiteY8" fmla="*/ 467 h 10000"/>
                    <a:gd name="connsiteX9" fmla="*/ 6219 w 10510"/>
                    <a:gd name="connsiteY9" fmla="*/ 1380 h 10000"/>
                    <a:gd name="connsiteX0" fmla="*/ 6219 w 10510"/>
                    <a:gd name="connsiteY0" fmla="*/ 1380 h 10000"/>
                    <a:gd name="connsiteX1" fmla="*/ 7063 w 10510"/>
                    <a:gd name="connsiteY1" fmla="*/ 138 h 10000"/>
                    <a:gd name="connsiteX2" fmla="*/ 8340 w 10510"/>
                    <a:gd name="connsiteY2" fmla="*/ 284 h 10000"/>
                    <a:gd name="connsiteX3" fmla="*/ 7917 w 10510"/>
                    <a:gd name="connsiteY3" fmla="*/ 2645 h 10000"/>
                    <a:gd name="connsiteX4" fmla="*/ 10510 w 10510"/>
                    <a:gd name="connsiteY4" fmla="*/ 7427 h 10000"/>
                    <a:gd name="connsiteX5" fmla="*/ 2727 w 10510"/>
                    <a:gd name="connsiteY5" fmla="*/ 10000 h 10000"/>
                    <a:gd name="connsiteX6" fmla="*/ 0 w 10510"/>
                    <a:gd name="connsiteY6" fmla="*/ 3482 h 10000"/>
                    <a:gd name="connsiteX7" fmla="*/ 1198 w 10510"/>
                    <a:gd name="connsiteY7" fmla="*/ 3572 h 10000"/>
                    <a:gd name="connsiteX8" fmla="*/ 4095 w 10510"/>
                    <a:gd name="connsiteY8" fmla="*/ 467 h 10000"/>
                    <a:gd name="connsiteX9" fmla="*/ 6219 w 10510"/>
                    <a:gd name="connsiteY9" fmla="*/ 1380 h 10000"/>
                    <a:gd name="connsiteX0" fmla="*/ 6219 w 10510"/>
                    <a:gd name="connsiteY0" fmla="*/ 1380 h 10000"/>
                    <a:gd name="connsiteX1" fmla="*/ 7063 w 10510"/>
                    <a:gd name="connsiteY1" fmla="*/ 138 h 10000"/>
                    <a:gd name="connsiteX2" fmla="*/ 8340 w 10510"/>
                    <a:gd name="connsiteY2" fmla="*/ 284 h 10000"/>
                    <a:gd name="connsiteX3" fmla="*/ 7917 w 10510"/>
                    <a:gd name="connsiteY3" fmla="*/ 2645 h 10000"/>
                    <a:gd name="connsiteX4" fmla="*/ 10510 w 10510"/>
                    <a:gd name="connsiteY4" fmla="*/ 7427 h 10000"/>
                    <a:gd name="connsiteX5" fmla="*/ 2727 w 10510"/>
                    <a:gd name="connsiteY5" fmla="*/ 10000 h 10000"/>
                    <a:gd name="connsiteX6" fmla="*/ 0 w 10510"/>
                    <a:gd name="connsiteY6" fmla="*/ 3482 h 10000"/>
                    <a:gd name="connsiteX7" fmla="*/ 1198 w 10510"/>
                    <a:gd name="connsiteY7" fmla="*/ 3572 h 10000"/>
                    <a:gd name="connsiteX8" fmla="*/ 4095 w 10510"/>
                    <a:gd name="connsiteY8" fmla="*/ 467 h 10000"/>
                    <a:gd name="connsiteX9" fmla="*/ 6219 w 10510"/>
                    <a:gd name="connsiteY9" fmla="*/ 1380 h 10000"/>
                    <a:gd name="connsiteX0" fmla="*/ 6219 w 10510"/>
                    <a:gd name="connsiteY0" fmla="*/ 1380 h 10000"/>
                    <a:gd name="connsiteX1" fmla="*/ 7063 w 10510"/>
                    <a:gd name="connsiteY1" fmla="*/ 138 h 10000"/>
                    <a:gd name="connsiteX2" fmla="*/ 8340 w 10510"/>
                    <a:gd name="connsiteY2" fmla="*/ 284 h 10000"/>
                    <a:gd name="connsiteX3" fmla="*/ 7917 w 10510"/>
                    <a:gd name="connsiteY3" fmla="*/ 2645 h 10000"/>
                    <a:gd name="connsiteX4" fmla="*/ 10510 w 10510"/>
                    <a:gd name="connsiteY4" fmla="*/ 7427 h 10000"/>
                    <a:gd name="connsiteX5" fmla="*/ 2727 w 10510"/>
                    <a:gd name="connsiteY5" fmla="*/ 10000 h 10000"/>
                    <a:gd name="connsiteX6" fmla="*/ 0 w 10510"/>
                    <a:gd name="connsiteY6" fmla="*/ 3482 h 10000"/>
                    <a:gd name="connsiteX7" fmla="*/ 1198 w 10510"/>
                    <a:gd name="connsiteY7" fmla="*/ 3572 h 10000"/>
                    <a:gd name="connsiteX8" fmla="*/ 4095 w 10510"/>
                    <a:gd name="connsiteY8" fmla="*/ 467 h 10000"/>
                    <a:gd name="connsiteX9" fmla="*/ 6219 w 10510"/>
                    <a:gd name="connsiteY9" fmla="*/ 138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10" h="10000">
                      <a:moveTo>
                        <a:pt x="6219" y="1380"/>
                      </a:moveTo>
                      <a:cubicBezTo>
                        <a:pt x="6968" y="170"/>
                        <a:pt x="6927" y="191"/>
                        <a:pt x="7063" y="138"/>
                      </a:cubicBezTo>
                      <a:cubicBezTo>
                        <a:pt x="7374" y="17"/>
                        <a:pt x="8049" y="-155"/>
                        <a:pt x="8340" y="284"/>
                      </a:cubicBezTo>
                      <a:cubicBezTo>
                        <a:pt x="8633" y="722"/>
                        <a:pt x="8086" y="319"/>
                        <a:pt x="7917" y="2645"/>
                      </a:cubicBezTo>
                      <a:lnTo>
                        <a:pt x="10510" y="7427"/>
                      </a:lnTo>
                      <a:lnTo>
                        <a:pt x="2727" y="10000"/>
                      </a:lnTo>
                      <a:lnTo>
                        <a:pt x="0" y="3482"/>
                      </a:lnTo>
                      <a:cubicBezTo>
                        <a:pt x="1360" y="3771"/>
                        <a:pt x="111" y="3546"/>
                        <a:pt x="1198" y="3572"/>
                      </a:cubicBezTo>
                      <a:cubicBezTo>
                        <a:pt x="4198" y="430"/>
                        <a:pt x="1559" y="3166"/>
                        <a:pt x="4095" y="467"/>
                      </a:cubicBezTo>
                      <a:cubicBezTo>
                        <a:pt x="5992" y="933"/>
                        <a:pt x="6234" y="792"/>
                        <a:pt x="6219" y="1380"/>
                      </a:cubicBezTo>
                      <a:close/>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8" name="Moldova">
                  <a:extLst>
                    <a:ext uri="{FF2B5EF4-FFF2-40B4-BE49-F238E27FC236}">
                      <a16:creationId xmlns:a16="http://schemas.microsoft.com/office/drawing/2014/main" id="{57C3402B-1BD2-9C05-B6F8-37BAE0BC3DEC}"/>
                    </a:ext>
                  </a:extLst>
                </p:cNvPr>
                <p:cNvSpPr>
                  <a:spLocks noGrp="1" noRot="1" noMove="1" noResize="1" noEditPoints="1" noAdjustHandles="1" noChangeArrowheads="1" noChangeShapeType="1"/>
                </p:cNvSpPr>
                <p:nvPr/>
              </p:nvSpPr>
              <p:spPr bwMode="gray">
                <a:xfrm>
                  <a:off x="5692940" y="3804408"/>
                  <a:ext cx="162990" cy="208476"/>
                </a:xfrm>
                <a:custGeom>
                  <a:avLst/>
                  <a:gdLst/>
                  <a:ahLst/>
                  <a:cxnLst>
                    <a:cxn ang="0">
                      <a:pos x="10" y="12"/>
                    </a:cxn>
                    <a:cxn ang="0">
                      <a:pos x="16" y="19"/>
                    </a:cxn>
                    <a:cxn ang="0">
                      <a:pos x="19" y="23"/>
                    </a:cxn>
                    <a:cxn ang="0">
                      <a:pos x="22" y="45"/>
                    </a:cxn>
                    <a:cxn ang="0">
                      <a:pos x="26" y="45"/>
                    </a:cxn>
                    <a:cxn ang="0">
                      <a:pos x="30" y="35"/>
                    </a:cxn>
                    <a:cxn ang="0">
                      <a:pos x="31" y="29"/>
                    </a:cxn>
                    <a:cxn ang="0">
                      <a:pos x="42" y="26"/>
                    </a:cxn>
                    <a:cxn ang="0">
                      <a:pos x="45" y="20"/>
                    </a:cxn>
                    <a:cxn ang="0">
                      <a:pos x="40" y="19"/>
                    </a:cxn>
                    <a:cxn ang="0">
                      <a:pos x="33" y="8"/>
                    </a:cxn>
                    <a:cxn ang="0">
                      <a:pos x="24" y="1"/>
                    </a:cxn>
                    <a:cxn ang="0">
                      <a:pos x="11" y="0"/>
                    </a:cxn>
                    <a:cxn ang="0">
                      <a:pos x="0" y="1"/>
                    </a:cxn>
                    <a:cxn ang="0">
                      <a:pos x="10" y="12"/>
                    </a:cxn>
                    <a:cxn ang="0">
                      <a:pos x="10" y="12"/>
                    </a:cxn>
                  </a:cxnLst>
                  <a:rect l="0" t="0" r="r" b="b"/>
                  <a:pathLst>
                    <a:path w="46" h="46">
                      <a:moveTo>
                        <a:pt x="10" y="12"/>
                      </a:moveTo>
                      <a:lnTo>
                        <a:pt x="16" y="19"/>
                      </a:lnTo>
                      <a:lnTo>
                        <a:pt x="19" y="23"/>
                      </a:lnTo>
                      <a:lnTo>
                        <a:pt x="22" y="45"/>
                      </a:lnTo>
                      <a:lnTo>
                        <a:pt x="26" y="45"/>
                      </a:lnTo>
                      <a:lnTo>
                        <a:pt x="30" y="35"/>
                      </a:lnTo>
                      <a:lnTo>
                        <a:pt x="31" y="29"/>
                      </a:lnTo>
                      <a:lnTo>
                        <a:pt x="42" y="26"/>
                      </a:lnTo>
                      <a:lnTo>
                        <a:pt x="45" y="20"/>
                      </a:lnTo>
                      <a:lnTo>
                        <a:pt x="40" y="19"/>
                      </a:lnTo>
                      <a:lnTo>
                        <a:pt x="33" y="8"/>
                      </a:lnTo>
                      <a:lnTo>
                        <a:pt x="24" y="1"/>
                      </a:lnTo>
                      <a:lnTo>
                        <a:pt x="11" y="0"/>
                      </a:lnTo>
                      <a:lnTo>
                        <a:pt x="0" y="1"/>
                      </a:lnTo>
                      <a:lnTo>
                        <a:pt x="10" y="12"/>
                      </a:lnTo>
                      <a:lnTo>
                        <a:pt x="10" y="12"/>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9" name="Macedonia">
                  <a:extLst>
                    <a:ext uri="{FF2B5EF4-FFF2-40B4-BE49-F238E27FC236}">
                      <a16:creationId xmlns:a16="http://schemas.microsoft.com/office/drawing/2014/main" id="{4077F191-8610-C304-A723-4A6FC2A5C7BB}"/>
                    </a:ext>
                  </a:extLst>
                </p:cNvPr>
                <p:cNvSpPr>
                  <a:spLocks noGrp="1" noRot="1" noMove="1" noResize="1" noEditPoints="1" noAdjustHandles="1" noChangeArrowheads="1" noChangeShapeType="1"/>
                </p:cNvSpPr>
                <p:nvPr/>
              </p:nvSpPr>
              <p:spPr bwMode="gray">
                <a:xfrm>
                  <a:off x="5324063" y="4199176"/>
                  <a:ext cx="94365" cy="195166"/>
                </a:xfrm>
                <a:custGeom>
                  <a:avLst/>
                  <a:gdLst/>
                  <a:ahLst/>
                  <a:cxnLst>
                    <a:cxn ang="0">
                      <a:pos x="0" y="33"/>
                    </a:cxn>
                    <a:cxn ang="0">
                      <a:pos x="0" y="33"/>
                    </a:cxn>
                    <a:cxn ang="0">
                      <a:pos x="1" y="11"/>
                    </a:cxn>
                    <a:cxn ang="0">
                      <a:pos x="12" y="0"/>
                    </a:cxn>
                    <a:cxn ang="0">
                      <a:pos x="25" y="26"/>
                    </a:cxn>
                    <a:cxn ang="0">
                      <a:pos x="13" y="43"/>
                    </a:cxn>
                    <a:cxn ang="0">
                      <a:pos x="0" y="33"/>
                    </a:cxn>
                    <a:cxn ang="0">
                      <a:pos x="0" y="33"/>
                    </a:cxn>
                  </a:cxnLst>
                  <a:rect l="0" t="0" r="r" b="b"/>
                  <a:pathLst>
                    <a:path w="26" h="44">
                      <a:moveTo>
                        <a:pt x="0" y="33"/>
                      </a:moveTo>
                      <a:lnTo>
                        <a:pt x="0" y="33"/>
                      </a:lnTo>
                      <a:lnTo>
                        <a:pt x="1" y="11"/>
                      </a:lnTo>
                      <a:lnTo>
                        <a:pt x="12" y="0"/>
                      </a:lnTo>
                      <a:lnTo>
                        <a:pt x="25" y="26"/>
                      </a:lnTo>
                      <a:lnTo>
                        <a:pt x="13" y="43"/>
                      </a:lnTo>
                      <a:lnTo>
                        <a:pt x="0" y="33"/>
                      </a:lnTo>
                      <a:lnTo>
                        <a:pt x="0" y="33"/>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0" name="Luxembourg">
                  <a:extLst>
                    <a:ext uri="{FF2B5EF4-FFF2-40B4-BE49-F238E27FC236}">
                      <a16:creationId xmlns:a16="http://schemas.microsoft.com/office/drawing/2014/main" id="{5AD05D7B-1512-21E0-C171-671E2A0C03E5}"/>
                    </a:ext>
                  </a:extLst>
                </p:cNvPr>
                <p:cNvSpPr>
                  <a:spLocks noGrp="1" noRot="1" noMove="1" noResize="1" noEditPoints="1" noAdjustHandles="1" noChangeArrowheads="1" noChangeShapeType="1"/>
                </p:cNvSpPr>
                <p:nvPr/>
              </p:nvSpPr>
              <p:spPr bwMode="gray">
                <a:xfrm>
                  <a:off x="4654938" y="3684644"/>
                  <a:ext cx="30025" cy="44356"/>
                </a:xfrm>
                <a:custGeom>
                  <a:avLst/>
                  <a:gdLst/>
                  <a:ahLst/>
                  <a:cxnLst>
                    <a:cxn ang="0">
                      <a:pos x="0" y="8"/>
                    </a:cxn>
                    <a:cxn ang="0">
                      <a:pos x="0" y="8"/>
                    </a:cxn>
                    <a:cxn ang="0">
                      <a:pos x="5" y="0"/>
                    </a:cxn>
                    <a:cxn ang="0">
                      <a:pos x="7" y="9"/>
                    </a:cxn>
                    <a:cxn ang="0">
                      <a:pos x="0" y="8"/>
                    </a:cxn>
                    <a:cxn ang="0">
                      <a:pos x="0" y="8"/>
                    </a:cxn>
                  </a:cxnLst>
                  <a:rect l="0" t="0" r="r" b="b"/>
                  <a:pathLst>
                    <a:path w="8" h="10">
                      <a:moveTo>
                        <a:pt x="0" y="8"/>
                      </a:moveTo>
                      <a:lnTo>
                        <a:pt x="0" y="8"/>
                      </a:lnTo>
                      <a:lnTo>
                        <a:pt x="5" y="0"/>
                      </a:lnTo>
                      <a:lnTo>
                        <a:pt x="7" y="9"/>
                      </a:lnTo>
                      <a:lnTo>
                        <a:pt x="0" y="8"/>
                      </a:lnTo>
                      <a:lnTo>
                        <a:pt x="0" y="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1" name="Lithuania">
                  <a:extLst>
                    <a:ext uri="{FF2B5EF4-FFF2-40B4-BE49-F238E27FC236}">
                      <a16:creationId xmlns:a16="http://schemas.microsoft.com/office/drawing/2014/main" id="{67BA7ED5-A3C0-3986-075D-DBCB2B4BB04E}"/>
                    </a:ext>
                  </a:extLst>
                </p:cNvPr>
                <p:cNvSpPr>
                  <a:spLocks noGrp="1" noRot="1" noMove="1" noResize="1" noEditPoints="1" noAdjustHandles="1" noChangeArrowheads="1" noChangeShapeType="1"/>
                </p:cNvSpPr>
                <p:nvPr/>
              </p:nvSpPr>
              <p:spPr bwMode="gray">
                <a:xfrm>
                  <a:off x="5398294" y="3212273"/>
                  <a:ext cx="309869" cy="205174"/>
                </a:xfrm>
                <a:custGeom>
                  <a:avLst/>
                  <a:gdLst>
                    <a:gd name="connsiteX0" fmla="*/ 304800 w 312250"/>
                    <a:gd name="connsiteY0" fmla="*/ 73819 h 205141"/>
                    <a:gd name="connsiteX1" fmla="*/ 304800 w 312250"/>
                    <a:gd name="connsiteY1" fmla="*/ 73819 h 205141"/>
                    <a:gd name="connsiteX2" fmla="*/ 230981 w 312250"/>
                    <a:gd name="connsiteY2" fmla="*/ 35719 h 205141"/>
                    <a:gd name="connsiteX3" fmla="*/ 223837 w 312250"/>
                    <a:gd name="connsiteY3" fmla="*/ 30957 h 205141"/>
                    <a:gd name="connsiteX4" fmla="*/ 207168 w 312250"/>
                    <a:gd name="connsiteY4" fmla="*/ 23813 h 205141"/>
                    <a:gd name="connsiteX5" fmla="*/ 200025 w 312250"/>
                    <a:gd name="connsiteY5" fmla="*/ 19050 h 205141"/>
                    <a:gd name="connsiteX6" fmla="*/ 185737 w 312250"/>
                    <a:gd name="connsiteY6" fmla="*/ 4763 h 205141"/>
                    <a:gd name="connsiteX7" fmla="*/ 171450 w 312250"/>
                    <a:gd name="connsiteY7" fmla="*/ 0 h 205141"/>
                    <a:gd name="connsiteX8" fmla="*/ 159543 w 312250"/>
                    <a:gd name="connsiteY8" fmla="*/ 9525 h 205141"/>
                    <a:gd name="connsiteX9" fmla="*/ 150018 w 312250"/>
                    <a:gd name="connsiteY9" fmla="*/ 14288 h 205141"/>
                    <a:gd name="connsiteX10" fmla="*/ 133350 w 312250"/>
                    <a:gd name="connsiteY10" fmla="*/ 11907 h 205141"/>
                    <a:gd name="connsiteX11" fmla="*/ 123825 w 312250"/>
                    <a:gd name="connsiteY11" fmla="*/ 7144 h 205141"/>
                    <a:gd name="connsiteX12" fmla="*/ 111918 w 312250"/>
                    <a:gd name="connsiteY12" fmla="*/ 4763 h 205141"/>
                    <a:gd name="connsiteX13" fmla="*/ 104775 w 312250"/>
                    <a:gd name="connsiteY13" fmla="*/ 2382 h 205141"/>
                    <a:gd name="connsiteX14" fmla="*/ 45243 w 312250"/>
                    <a:gd name="connsiteY14" fmla="*/ 0 h 205141"/>
                    <a:gd name="connsiteX15" fmla="*/ 14287 w 312250"/>
                    <a:gd name="connsiteY15" fmla="*/ 7144 h 205141"/>
                    <a:gd name="connsiteX16" fmla="*/ 4762 w 312250"/>
                    <a:gd name="connsiteY16" fmla="*/ 21432 h 205141"/>
                    <a:gd name="connsiteX17" fmla="*/ 0 w 312250"/>
                    <a:gd name="connsiteY17" fmla="*/ 28575 h 205141"/>
                    <a:gd name="connsiteX18" fmla="*/ 2381 w 312250"/>
                    <a:gd name="connsiteY18" fmla="*/ 54769 h 205141"/>
                    <a:gd name="connsiteX19" fmla="*/ 7143 w 312250"/>
                    <a:gd name="connsiteY19" fmla="*/ 61913 h 205141"/>
                    <a:gd name="connsiteX20" fmla="*/ 16668 w 312250"/>
                    <a:gd name="connsiteY20" fmla="*/ 76200 h 205141"/>
                    <a:gd name="connsiteX21" fmla="*/ 21431 w 312250"/>
                    <a:gd name="connsiteY21" fmla="*/ 90488 h 205141"/>
                    <a:gd name="connsiteX22" fmla="*/ 23812 w 312250"/>
                    <a:gd name="connsiteY22" fmla="*/ 97632 h 205141"/>
                    <a:gd name="connsiteX23" fmla="*/ 54768 w 312250"/>
                    <a:gd name="connsiteY23" fmla="*/ 104775 h 205141"/>
                    <a:gd name="connsiteX24" fmla="*/ 61912 w 312250"/>
                    <a:gd name="connsiteY24" fmla="*/ 107157 h 205141"/>
                    <a:gd name="connsiteX25" fmla="*/ 73818 w 312250"/>
                    <a:gd name="connsiteY25" fmla="*/ 109538 h 205141"/>
                    <a:gd name="connsiteX26" fmla="*/ 78581 w 312250"/>
                    <a:gd name="connsiteY26" fmla="*/ 116682 h 205141"/>
                    <a:gd name="connsiteX27" fmla="*/ 80962 w 312250"/>
                    <a:gd name="connsiteY27" fmla="*/ 123825 h 205141"/>
                    <a:gd name="connsiteX28" fmla="*/ 92868 w 312250"/>
                    <a:gd name="connsiteY28" fmla="*/ 161925 h 205141"/>
                    <a:gd name="connsiteX29" fmla="*/ 109537 w 312250"/>
                    <a:gd name="connsiteY29" fmla="*/ 166688 h 205141"/>
                    <a:gd name="connsiteX30" fmla="*/ 123825 w 312250"/>
                    <a:gd name="connsiteY30" fmla="*/ 171450 h 205141"/>
                    <a:gd name="connsiteX31" fmla="*/ 135731 w 312250"/>
                    <a:gd name="connsiteY31" fmla="*/ 188119 h 205141"/>
                    <a:gd name="connsiteX32" fmla="*/ 140493 w 312250"/>
                    <a:gd name="connsiteY32" fmla="*/ 195263 h 205141"/>
                    <a:gd name="connsiteX33" fmla="*/ 150018 w 312250"/>
                    <a:gd name="connsiteY33" fmla="*/ 197644 h 205141"/>
                    <a:gd name="connsiteX34" fmla="*/ 154781 w 312250"/>
                    <a:gd name="connsiteY34" fmla="*/ 204788 h 205141"/>
                    <a:gd name="connsiteX35" fmla="*/ 164306 w 312250"/>
                    <a:gd name="connsiteY35" fmla="*/ 202407 h 205141"/>
                    <a:gd name="connsiteX36" fmla="*/ 166687 w 312250"/>
                    <a:gd name="connsiteY36" fmla="*/ 195263 h 205141"/>
                    <a:gd name="connsiteX37" fmla="*/ 169068 w 312250"/>
                    <a:gd name="connsiteY37" fmla="*/ 180975 h 205141"/>
                    <a:gd name="connsiteX38" fmla="*/ 171450 w 312250"/>
                    <a:gd name="connsiteY38" fmla="*/ 173832 h 205141"/>
                    <a:gd name="connsiteX39" fmla="*/ 180975 w 312250"/>
                    <a:gd name="connsiteY39" fmla="*/ 159544 h 205141"/>
                    <a:gd name="connsiteX40" fmla="*/ 185737 w 312250"/>
                    <a:gd name="connsiteY40" fmla="*/ 152400 h 205141"/>
                    <a:gd name="connsiteX41" fmla="*/ 190500 w 312250"/>
                    <a:gd name="connsiteY41" fmla="*/ 138113 h 205141"/>
                    <a:gd name="connsiteX42" fmla="*/ 192881 w 312250"/>
                    <a:gd name="connsiteY42" fmla="*/ 130969 h 205141"/>
                    <a:gd name="connsiteX43" fmla="*/ 195262 w 312250"/>
                    <a:gd name="connsiteY43" fmla="*/ 104775 h 205141"/>
                    <a:gd name="connsiteX44" fmla="*/ 200025 w 312250"/>
                    <a:gd name="connsiteY44" fmla="*/ 97632 h 205141"/>
                    <a:gd name="connsiteX45" fmla="*/ 214312 w 312250"/>
                    <a:gd name="connsiteY45" fmla="*/ 88107 h 205141"/>
                    <a:gd name="connsiteX46" fmla="*/ 221456 w 312250"/>
                    <a:gd name="connsiteY46" fmla="*/ 83344 h 205141"/>
                    <a:gd name="connsiteX47" fmla="*/ 242887 w 312250"/>
                    <a:gd name="connsiteY47" fmla="*/ 71438 h 205141"/>
                    <a:gd name="connsiteX48" fmla="*/ 250031 w 312250"/>
                    <a:gd name="connsiteY48" fmla="*/ 69057 h 205141"/>
                    <a:gd name="connsiteX49" fmla="*/ 257175 w 312250"/>
                    <a:gd name="connsiteY49" fmla="*/ 64294 h 205141"/>
                    <a:gd name="connsiteX50" fmla="*/ 300037 w 312250"/>
                    <a:gd name="connsiteY50" fmla="*/ 69057 h 205141"/>
                    <a:gd name="connsiteX51" fmla="*/ 304800 w 312250"/>
                    <a:gd name="connsiteY51" fmla="*/ 73819 h 205141"/>
                    <a:gd name="connsiteX0" fmla="*/ 304800 w 312250"/>
                    <a:gd name="connsiteY0" fmla="*/ 73819 h 205141"/>
                    <a:gd name="connsiteX1" fmla="*/ 304800 w 312250"/>
                    <a:gd name="connsiteY1" fmla="*/ 73819 h 205141"/>
                    <a:gd name="connsiteX2" fmla="*/ 230981 w 312250"/>
                    <a:gd name="connsiteY2" fmla="*/ 35719 h 205141"/>
                    <a:gd name="connsiteX3" fmla="*/ 223837 w 312250"/>
                    <a:gd name="connsiteY3" fmla="*/ 30957 h 205141"/>
                    <a:gd name="connsiteX4" fmla="*/ 207168 w 312250"/>
                    <a:gd name="connsiteY4" fmla="*/ 23813 h 205141"/>
                    <a:gd name="connsiteX5" fmla="*/ 185737 w 312250"/>
                    <a:gd name="connsiteY5" fmla="*/ 4763 h 205141"/>
                    <a:gd name="connsiteX6" fmla="*/ 171450 w 312250"/>
                    <a:gd name="connsiteY6" fmla="*/ 0 h 205141"/>
                    <a:gd name="connsiteX7" fmla="*/ 159543 w 312250"/>
                    <a:gd name="connsiteY7" fmla="*/ 9525 h 205141"/>
                    <a:gd name="connsiteX8" fmla="*/ 150018 w 312250"/>
                    <a:gd name="connsiteY8" fmla="*/ 14288 h 205141"/>
                    <a:gd name="connsiteX9" fmla="*/ 133350 w 312250"/>
                    <a:gd name="connsiteY9" fmla="*/ 11907 h 205141"/>
                    <a:gd name="connsiteX10" fmla="*/ 123825 w 312250"/>
                    <a:gd name="connsiteY10" fmla="*/ 7144 h 205141"/>
                    <a:gd name="connsiteX11" fmla="*/ 111918 w 312250"/>
                    <a:gd name="connsiteY11" fmla="*/ 4763 h 205141"/>
                    <a:gd name="connsiteX12" fmla="*/ 104775 w 312250"/>
                    <a:gd name="connsiteY12" fmla="*/ 2382 h 205141"/>
                    <a:gd name="connsiteX13" fmla="*/ 45243 w 312250"/>
                    <a:gd name="connsiteY13" fmla="*/ 0 h 205141"/>
                    <a:gd name="connsiteX14" fmla="*/ 14287 w 312250"/>
                    <a:gd name="connsiteY14" fmla="*/ 7144 h 205141"/>
                    <a:gd name="connsiteX15" fmla="*/ 4762 w 312250"/>
                    <a:gd name="connsiteY15" fmla="*/ 21432 h 205141"/>
                    <a:gd name="connsiteX16" fmla="*/ 0 w 312250"/>
                    <a:gd name="connsiteY16" fmla="*/ 28575 h 205141"/>
                    <a:gd name="connsiteX17" fmla="*/ 2381 w 312250"/>
                    <a:gd name="connsiteY17" fmla="*/ 54769 h 205141"/>
                    <a:gd name="connsiteX18" fmla="*/ 7143 w 312250"/>
                    <a:gd name="connsiteY18" fmla="*/ 61913 h 205141"/>
                    <a:gd name="connsiteX19" fmla="*/ 16668 w 312250"/>
                    <a:gd name="connsiteY19" fmla="*/ 76200 h 205141"/>
                    <a:gd name="connsiteX20" fmla="*/ 21431 w 312250"/>
                    <a:gd name="connsiteY20" fmla="*/ 90488 h 205141"/>
                    <a:gd name="connsiteX21" fmla="*/ 23812 w 312250"/>
                    <a:gd name="connsiteY21" fmla="*/ 97632 h 205141"/>
                    <a:gd name="connsiteX22" fmla="*/ 54768 w 312250"/>
                    <a:gd name="connsiteY22" fmla="*/ 104775 h 205141"/>
                    <a:gd name="connsiteX23" fmla="*/ 61912 w 312250"/>
                    <a:gd name="connsiteY23" fmla="*/ 107157 h 205141"/>
                    <a:gd name="connsiteX24" fmla="*/ 73818 w 312250"/>
                    <a:gd name="connsiteY24" fmla="*/ 109538 h 205141"/>
                    <a:gd name="connsiteX25" fmla="*/ 78581 w 312250"/>
                    <a:gd name="connsiteY25" fmla="*/ 116682 h 205141"/>
                    <a:gd name="connsiteX26" fmla="*/ 80962 w 312250"/>
                    <a:gd name="connsiteY26" fmla="*/ 123825 h 205141"/>
                    <a:gd name="connsiteX27" fmla="*/ 92868 w 312250"/>
                    <a:gd name="connsiteY27" fmla="*/ 161925 h 205141"/>
                    <a:gd name="connsiteX28" fmla="*/ 109537 w 312250"/>
                    <a:gd name="connsiteY28" fmla="*/ 166688 h 205141"/>
                    <a:gd name="connsiteX29" fmla="*/ 123825 w 312250"/>
                    <a:gd name="connsiteY29" fmla="*/ 171450 h 205141"/>
                    <a:gd name="connsiteX30" fmla="*/ 135731 w 312250"/>
                    <a:gd name="connsiteY30" fmla="*/ 188119 h 205141"/>
                    <a:gd name="connsiteX31" fmla="*/ 140493 w 312250"/>
                    <a:gd name="connsiteY31" fmla="*/ 195263 h 205141"/>
                    <a:gd name="connsiteX32" fmla="*/ 150018 w 312250"/>
                    <a:gd name="connsiteY32" fmla="*/ 197644 h 205141"/>
                    <a:gd name="connsiteX33" fmla="*/ 154781 w 312250"/>
                    <a:gd name="connsiteY33" fmla="*/ 204788 h 205141"/>
                    <a:gd name="connsiteX34" fmla="*/ 164306 w 312250"/>
                    <a:gd name="connsiteY34" fmla="*/ 202407 h 205141"/>
                    <a:gd name="connsiteX35" fmla="*/ 166687 w 312250"/>
                    <a:gd name="connsiteY35" fmla="*/ 195263 h 205141"/>
                    <a:gd name="connsiteX36" fmla="*/ 169068 w 312250"/>
                    <a:gd name="connsiteY36" fmla="*/ 180975 h 205141"/>
                    <a:gd name="connsiteX37" fmla="*/ 171450 w 312250"/>
                    <a:gd name="connsiteY37" fmla="*/ 173832 h 205141"/>
                    <a:gd name="connsiteX38" fmla="*/ 180975 w 312250"/>
                    <a:gd name="connsiteY38" fmla="*/ 159544 h 205141"/>
                    <a:gd name="connsiteX39" fmla="*/ 185737 w 312250"/>
                    <a:gd name="connsiteY39" fmla="*/ 152400 h 205141"/>
                    <a:gd name="connsiteX40" fmla="*/ 190500 w 312250"/>
                    <a:gd name="connsiteY40" fmla="*/ 138113 h 205141"/>
                    <a:gd name="connsiteX41" fmla="*/ 192881 w 312250"/>
                    <a:gd name="connsiteY41" fmla="*/ 130969 h 205141"/>
                    <a:gd name="connsiteX42" fmla="*/ 195262 w 312250"/>
                    <a:gd name="connsiteY42" fmla="*/ 104775 h 205141"/>
                    <a:gd name="connsiteX43" fmla="*/ 200025 w 312250"/>
                    <a:gd name="connsiteY43" fmla="*/ 97632 h 205141"/>
                    <a:gd name="connsiteX44" fmla="*/ 214312 w 312250"/>
                    <a:gd name="connsiteY44" fmla="*/ 88107 h 205141"/>
                    <a:gd name="connsiteX45" fmla="*/ 221456 w 312250"/>
                    <a:gd name="connsiteY45" fmla="*/ 83344 h 205141"/>
                    <a:gd name="connsiteX46" fmla="*/ 242887 w 312250"/>
                    <a:gd name="connsiteY46" fmla="*/ 71438 h 205141"/>
                    <a:gd name="connsiteX47" fmla="*/ 250031 w 312250"/>
                    <a:gd name="connsiteY47" fmla="*/ 69057 h 205141"/>
                    <a:gd name="connsiteX48" fmla="*/ 257175 w 312250"/>
                    <a:gd name="connsiteY48" fmla="*/ 64294 h 205141"/>
                    <a:gd name="connsiteX49" fmla="*/ 300037 w 312250"/>
                    <a:gd name="connsiteY49" fmla="*/ 69057 h 205141"/>
                    <a:gd name="connsiteX50" fmla="*/ 304800 w 312250"/>
                    <a:gd name="connsiteY50" fmla="*/ 73819 h 205141"/>
                    <a:gd name="connsiteX0" fmla="*/ 304800 w 312250"/>
                    <a:gd name="connsiteY0" fmla="*/ 73819 h 205141"/>
                    <a:gd name="connsiteX1" fmla="*/ 304800 w 312250"/>
                    <a:gd name="connsiteY1" fmla="*/ 73819 h 205141"/>
                    <a:gd name="connsiteX2" fmla="*/ 230981 w 312250"/>
                    <a:gd name="connsiteY2" fmla="*/ 35719 h 205141"/>
                    <a:gd name="connsiteX3" fmla="*/ 207168 w 312250"/>
                    <a:gd name="connsiteY3" fmla="*/ 23813 h 205141"/>
                    <a:gd name="connsiteX4" fmla="*/ 185737 w 312250"/>
                    <a:gd name="connsiteY4" fmla="*/ 4763 h 205141"/>
                    <a:gd name="connsiteX5" fmla="*/ 171450 w 312250"/>
                    <a:gd name="connsiteY5" fmla="*/ 0 h 205141"/>
                    <a:gd name="connsiteX6" fmla="*/ 159543 w 312250"/>
                    <a:gd name="connsiteY6" fmla="*/ 9525 h 205141"/>
                    <a:gd name="connsiteX7" fmla="*/ 150018 w 312250"/>
                    <a:gd name="connsiteY7" fmla="*/ 14288 h 205141"/>
                    <a:gd name="connsiteX8" fmla="*/ 133350 w 312250"/>
                    <a:gd name="connsiteY8" fmla="*/ 11907 h 205141"/>
                    <a:gd name="connsiteX9" fmla="*/ 123825 w 312250"/>
                    <a:gd name="connsiteY9" fmla="*/ 7144 h 205141"/>
                    <a:gd name="connsiteX10" fmla="*/ 111918 w 312250"/>
                    <a:gd name="connsiteY10" fmla="*/ 4763 h 205141"/>
                    <a:gd name="connsiteX11" fmla="*/ 104775 w 312250"/>
                    <a:gd name="connsiteY11" fmla="*/ 2382 h 205141"/>
                    <a:gd name="connsiteX12" fmla="*/ 45243 w 312250"/>
                    <a:gd name="connsiteY12" fmla="*/ 0 h 205141"/>
                    <a:gd name="connsiteX13" fmla="*/ 14287 w 312250"/>
                    <a:gd name="connsiteY13" fmla="*/ 7144 h 205141"/>
                    <a:gd name="connsiteX14" fmla="*/ 4762 w 312250"/>
                    <a:gd name="connsiteY14" fmla="*/ 21432 h 205141"/>
                    <a:gd name="connsiteX15" fmla="*/ 0 w 312250"/>
                    <a:gd name="connsiteY15" fmla="*/ 28575 h 205141"/>
                    <a:gd name="connsiteX16" fmla="*/ 2381 w 312250"/>
                    <a:gd name="connsiteY16" fmla="*/ 54769 h 205141"/>
                    <a:gd name="connsiteX17" fmla="*/ 7143 w 312250"/>
                    <a:gd name="connsiteY17" fmla="*/ 61913 h 205141"/>
                    <a:gd name="connsiteX18" fmla="*/ 16668 w 312250"/>
                    <a:gd name="connsiteY18" fmla="*/ 76200 h 205141"/>
                    <a:gd name="connsiteX19" fmla="*/ 21431 w 312250"/>
                    <a:gd name="connsiteY19" fmla="*/ 90488 h 205141"/>
                    <a:gd name="connsiteX20" fmla="*/ 23812 w 312250"/>
                    <a:gd name="connsiteY20" fmla="*/ 97632 h 205141"/>
                    <a:gd name="connsiteX21" fmla="*/ 54768 w 312250"/>
                    <a:gd name="connsiteY21" fmla="*/ 104775 h 205141"/>
                    <a:gd name="connsiteX22" fmla="*/ 61912 w 312250"/>
                    <a:gd name="connsiteY22" fmla="*/ 107157 h 205141"/>
                    <a:gd name="connsiteX23" fmla="*/ 73818 w 312250"/>
                    <a:gd name="connsiteY23" fmla="*/ 109538 h 205141"/>
                    <a:gd name="connsiteX24" fmla="*/ 78581 w 312250"/>
                    <a:gd name="connsiteY24" fmla="*/ 116682 h 205141"/>
                    <a:gd name="connsiteX25" fmla="*/ 80962 w 312250"/>
                    <a:gd name="connsiteY25" fmla="*/ 123825 h 205141"/>
                    <a:gd name="connsiteX26" fmla="*/ 92868 w 312250"/>
                    <a:gd name="connsiteY26" fmla="*/ 161925 h 205141"/>
                    <a:gd name="connsiteX27" fmla="*/ 109537 w 312250"/>
                    <a:gd name="connsiteY27" fmla="*/ 166688 h 205141"/>
                    <a:gd name="connsiteX28" fmla="*/ 123825 w 312250"/>
                    <a:gd name="connsiteY28" fmla="*/ 171450 h 205141"/>
                    <a:gd name="connsiteX29" fmla="*/ 135731 w 312250"/>
                    <a:gd name="connsiteY29" fmla="*/ 188119 h 205141"/>
                    <a:gd name="connsiteX30" fmla="*/ 140493 w 312250"/>
                    <a:gd name="connsiteY30" fmla="*/ 195263 h 205141"/>
                    <a:gd name="connsiteX31" fmla="*/ 150018 w 312250"/>
                    <a:gd name="connsiteY31" fmla="*/ 197644 h 205141"/>
                    <a:gd name="connsiteX32" fmla="*/ 154781 w 312250"/>
                    <a:gd name="connsiteY32" fmla="*/ 204788 h 205141"/>
                    <a:gd name="connsiteX33" fmla="*/ 164306 w 312250"/>
                    <a:gd name="connsiteY33" fmla="*/ 202407 h 205141"/>
                    <a:gd name="connsiteX34" fmla="*/ 166687 w 312250"/>
                    <a:gd name="connsiteY34" fmla="*/ 195263 h 205141"/>
                    <a:gd name="connsiteX35" fmla="*/ 169068 w 312250"/>
                    <a:gd name="connsiteY35" fmla="*/ 180975 h 205141"/>
                    <a:gd name="connsiteX36" fmla="*/ 171450 w 312250"/>
                    <a:gd name="connsiteY36" fmla="*/ 173832 h 205141"/>
                    <a:gd name="connsiteX37" fmla="*/ 180975 w 312250"/>
                    <a:gd name="connsiteY37" fmla="*/ 159544 h 205141"/>
                    <a:gd name="connsiteX38" fmla="*/ 185737 w 312250"/>
                    <a:gd name="connsiteY38" fmla="*/ 152400 h 205141"/>
                    <a:gd name="connsiteX39" fmla="*/ 190500 w 312250"/>
                    <a:gd name="connsiteY39" fmla="*/ 138113 h 205141"/>
                    <a:gd name="connsiteX40" fmla="*/ 192881 w 312250"/>
                    <a:gd name="connsiteY40" fmla="*/ 130969 h 205141"/>
                    <a:gd name="connsiteX41" fmla="*/ 195262 w 312250"/>
                    <a:gd name="connsiteY41" fmla="*/ 104775 h 205141"/>
                    <a:gd name="connsiteX42" fmla="*/ 200025 w 312250"/>
                    <a:gd name="connsiteY42" fmla="*/ 97632 h 205141"/>
                    <a:gd name="connsiteX43" fmla="*/ 214312 w 312250"/>
                    <a:gd name="connsiteY43" fmla="*/ 88107 h 205141"/>
                    <a:gd name="connsiteX44" fmla="*/ 221456 w 312250"/>
                    <a:gd name="connsiteY44" fmla="*/ 83344 h 205141"/>
                    <a:gd name="connsiteX45" fmla="*/ 242887 w 312250"/>
                    <a:gd name="connsiteY45" fmla="*/ 71438 h 205141"/>
                    <a:gd name="connsiteX46" fmla="*/ 250031 w 312250"/>
                    <a:gd name="connsiteY46" fmla="*/ 69057 h 205141"/>
                    <a:gd name="connsiteX47" fmla="*/ 257175 w 312250"/>
                    <a:gd name="connsiteY47" fmla="*/ 64294 h 205141"/>
                    <a:gd name="connsiteX48" fmla="*/ 300037 w 312250"/>
                    <a:gd name="connsiteY48" fmla="*/ 69057 h 205141"/>
                    <a:gd name="connsiteX49" fmla="*/ 304800 w 312250"/>
                    <a:gd name="connsiteY49" fmla="*/ 73819 h 205141"/>
                    <a:gd name="connsiteX0" fmla="*/ 304800 w 312250"/>
                    <a:gd name="connsiteY0" fmla="*/ 73819 h 205141"/>
                    <a:gd name="connsiteX1" fmla="*/ 304800 w 312250"/>
                    <a:gd name="connsiteY1" fmla="*/ 73819 h 205141"/>
                    <a:gd name="connsiteX2" fmla="*/ 230981 w 312250"/>
                    <a:gd name="connsiteY2" fmla="*/ 35719 h 205141"/>
                    <a:gd name="connsiteX3" fmla="*/ 207168 w 312250"/>
                    <a:gd name="connsiteY3" fmla="*/ 23813 h 205141"/>
                    <a:gd name="connsiteX4" fmla="*/ 185737 w 312250"/>
                    <a:gd name="connsiteY4" fmla="*/ 4763 h 205141"/>
                    <a:gd name="connsiteX5" fmla="*/ 159543 w 312250"/>
                    <a:gd name="connsiteY5" fmla="*/ 9525 h 205141"/>
                    <a:gd name="connsiteX6" fmla="*/ 150018 w 312250"/>
                    <a:gd name="connsiteY6" fmla="*/ 14288 h 205141"/>
                    <a:gd name="connsiteX7" fmla="*/ 133350 w 312250"/>
                    <a:gd name="connsiteY7" fmla="*/ 11907 h 205141"/>
                    <a:gd name="connsiteX8" fmla="*/ 123825 w 312250"/>
                    <a:gd name="connsiteY8" fmla="*/ 7144 h 205141"/>
                    <a:gd name="connsiteX9" fmla="*/ 111918 w 312250"/>
                    <a:gd name="connsiteY9" fmla="*/ 4763 h 205141"/>
                    <a:gd name="connsiteX10" fmla="*/ 104775 w 312250"/>
                    <a:gd name="connsiteY10" fmla="*/ 2382 h 205141"/>
                    <a:gd name="connsiteX11" fmla="*/ 45243 w 312250"/>
                    <a:gd name="connsiteY11" fmla="*/ 0 h 205141"/>
                    <a:gd name="connsiteX12" fmla="*/ 14287 w 312250"/>
                    <a:gd name="connsiteY12" fmla="*/ 7144 h 205141"/>
                    <a:gd name="connsiteX13" fmla="*/ 4762 w 312250"/>
                    <a:gd name="connsiteY13" fmla="*/ 21432 h 205141"/>
                    <a:gd name="connsiteX14" fmla="*/ 0 w 312250"/>
                    <a:gd name="connsiteY14" fmla="*/ 28575 h 205141"/>
                    <a:gd name="connsiteX15" fmla="*/ 2381 w 312250"/>
                    <a:gd name="connsiteY15" fmla="*/ 54769 h 205141"/>
                    <a:gd name="connsiteX16" fmla="*/ 7143 w 312250"/>
                    <a:gd name="connsiteY16" fmla="*/ 61913 h 205141"/>
                    <a:gd name="connsiteX17" fmla="*/ 16668 w 312250"/>
                    <a:gd name="connsiteY17" fmla="*/ 76200 h 205141"/>
                    <a:gd name="connsiteX18" fmla="*/ 21431 w 312250"/>
                    <a:gd name="connsiteY18" fmla="*/ 90488 h 205141"/>
                    <a:gd name="connsiteX19" fmla="*/ 23812 w 312250"/>
                    <a:gd name="connsiteY19" fmla="*/ 97632 h 205141"/>
                    <a:gd name="connsiteX20" fmla="*/ 54768 w 312250"/>
                    <a:gd name="connsiteY20" fmla="*/ 104775 h 205141"/>
                    <a:gd name="connsiteX21" fmla="*/ 61912 w 312250"/>
                    <a:gd name="connsiteY21" fmla="*/ 107157 h 205141"/>
                    <a:gd name="connsiteX22" fmla="*/ 73818 w 312250"/>
                    <a:gd name="connsiteY22" fmla="*/ 109538 h 205141"/>
                    <a:gd name="connsiteX23" fmla="*/ 78581 w 312250"/>
                    <a:gd name="connsiteY23" fmla="*/ 116682 h 205141"/>
                    <a:gd name="connsiteX24" fmla="*/ 80962 w 312250"/>
                    <a:gd name="connsiteY24" fmla="*/ 123825 h 205141"/>
                    <a:gd name="connsiteX25" fmla="*/ 92868 w 312250"/>
                    <a:gd name="connsiteY25" fmla="*/ 161925 h 205141"/>
                    <a:gd name="connsiteX26" fmla="*/ 109537 w 312250"/>
                    <a:gd name="connsiteY26" fmla="*/ 166688 h 205141"/>
                    <a:gd name="connsiteX27" fmla="*/ 123825 w 312250"/>
                    <a:gd name="connsiteY27" fmla="*/ 171450 h 205141"/>
                    <a:gd name="connsiteX28" fmla="*/ 135731 w 312250"/>
                    <a:gd name="connsiteY28" fmla="*/ 188119 h 205141"/>
                    <a:gd name="connsiteX29" fmla="*/ 140493 w 312250"/>
                    <a:gd name="connsiteY29" fmla="*/ 195263 h 205141"/>
                    <a:gd name="connsiteX30" fmla="*/ 150018 w 312250"/>
                    <a:gd name="connsiteY30" fmla="*/ 197644 h 205141"/>
                    <a:gd name="connsiteX31" fmla="*/ 154781 w 312250"/>
                    <a:gd name="connsiteY31" fmla="*/ 204788 h 205141"/>
                    <a:gd name="connsiteX32" fmla="*/ 164306 w 312250"/>
                    <a:gd name="connsiteY32" fmla="*/ 202407 h 205141"/>
                    <a:gd name="connsiteX33" fmla="*/ 166687 w 312250"/>
                    <a:gd name="connsiteY33" fmla="*/ 195263 h 205141"/>
                    <a:gd name="connsiteX34" fmla="*/ 169068 w 312250"/>
                    <a:gd name="connsiteY34" fmla="*/ 180975 h 205141"/>
                    <a:gd name="connsiteX35" fmla="*/ 171450 w 312250"/>
                    <a:gd name="connsiteY35" fmla="*/ 173832 h 205141"/>
                    <a:gd name="connsiteX36" fmla="*/ 180975 w 312250"/>
                    <a:gd name="connsiteY36" fmla="*/ 159544 h 205141"/>
                    <a:gd name="connsiteX37" fmla="*/ 185737 w 312250"/>
                    <a:gd name="connsiteY37" fmla="*/ 152400 h 205141"/>
                    <a:gd name="connsiteX38" fmla="*/ 190500 w 312250"/>
                    <a:gd name="connsiteY38" fmla="*/ 138113 h 205141"/>
                    <a:gd name="connsiteX39" fmla="*/ 192881 w 312250"/>
                    <a:gd name="connsiteY39" fmla="*/ 130969 h 205141"/>
                    <a:gd name="connsiteX40" fmla="*/ 195262 w 312250"/>
                    <a:gd name="connsiteY40" fmla="*/ 104775 h 205141"/>
                    <a:gd name="connsiteX41" fmla="*/ 200025 w 312250"/>
                    <a:gd name="connsiteY41" fmla="*/ 97632 h 205141"/>
                    <a:gd name="connsiteX42" fmla="*/ 214312 w 312250"/>
                    <a:gd name="connsiteY42" fmla="*/ 88107 h 205141"/>
                    <a:gd name="connsiteX43" fmla="*/ 221456 w 312250"/>
                    <a:gd name="connsiteY43" fmla="*/ 83344 h 205141"/>
                    <a:gd name="connsiteX44" fmla="*/ 242887 w 312250"/>
                    <a:gd name="connsiteY44" fmla="*/ 71438 h 205141"/>
                    <a:gd name="connsiteX45" fmla="*/ 250031 w 312250"/>
                    <a:gd name="connsiteY45" fmla="*/ 69057 h 205141"/>
                    <a:gd name="connsiteX46" fmla="*/ 257175 w 312250"/>
                    <a:gd name="connsiteY46" fmla="*/ 64294 h 205141"/>
                    <a:gd name="connsiteX47" fmla="*/ 300037 w 312250"/>
                    <a:gd name="connsiteY47" fmla="*/ 69057 h 205141"/>
                    <a:gd name="connsiteX48" fmla="*/ 304800 w 312250"/>
                    <a:gd name="connsiteY48" fmla="*/ 73819 h 205141"/>
                    <a:gd name="connsiteX0" fmla="*/ 304800 w 312250"/>
                    <a:gd name="connsiteY0" fmla="*/ 73819 h 205141"/>
                    <a:gd name="connsiteX1" fmla="*/ 304800 w 312250"/>
                    <a:gd name="connsiteY1" fmla="*/ 73819 h 205141"/>
                    <a:gd name="connsiteX2" fmla="*/ 230981 w 312250"/>
                    <a:gd name="connsiteY2" fmla="*/ 35719 h 205141"/>
                    <a:gd name="connsiteX3" fmla="*/ 207168 w 312250"/>
                    <a:gd name="connsiteY3" fmla="*/ 23813 h 205141"/>
                    <a:gd name="connsiteX4" fmla="*/ 185737 w 312250"/>
                    <a:gd name="connsiteY4" fmla="*/ 4763 h 205141"/>
                    <a:gd name="connsiteX5" fmla="*/ 159543 w 312250"/>
                    <a:gd name="connsiteY5" fmla="*/ 9525 h 205141"/>
                    <a:gd name="connsiteX6" fmla="*/ 133350 w 312250"/>
                    <a:gd name="connsiteY6" fmla="*/ 11907 h 205141"/>
                    <a:gd name="connsiteX7" fmla="*/ 123825 w 312250"/>
                    <a:gd name="connsiteY7" fmla="*/ 7144 h 205141"/>
                    <a:gd name="connsiteX8" fmla="*/ 111918 w 312250"/>
                    <a:gd name="connsiteY8" fmla="*/ 4763 h 205141"/>
                    <a:gd name="connsiteX9" fmla="*/ 104775 w 312250"/>
                    <a:gd name="connsiteY9" fmla="*/ 2382 h 205141"/>
                    <a:gd name="connsiteX10" fmla="*/ 45243 w 312250"/>
                    <a:gd name="connsiteY10" fmla="*/ 0 h 205141"/>
                    <a:gd name="connsiteX11" fmla="*/ 14287 w 312250"/>
                    <a:gd name="connsiteY11" fmla="*/ 7144 h 205141"/>
                    <a:gd name="connsiteX12" fmla="*/ 4762 w 312250"/>
                    <a:gd name="connsiteY12" fmla="*/ 21432 h 205141"/>
                    <a:gd name="connsiteX13" fmla="*/ 0 w 312250"/>
                    <a:gd name="connsiteY13" fmla="*/ 28575 h 205141"/>
                    <a:gd name="connsiteX14" fmla="*/ 2381 w 312250"/>
                    <a:gd name="connsiteY14" fmla="*/ 54769 h 205141"/>
                    <a:gd name="connsiteX15" fmla="*/ 7143 w 312250"/>
                    <a:gd name="connsiteY15" fmla="*/ 61913 h 205141"/>
                    <a:gd name="connsiteX16" fmla="*/ 16668 w 312250"/>
                    <a:gd name="connsiteY16" fmla="*/ 76200 h 205141"/>
                    <a:gd name="connsiteX17" fmla="*/ 21431 w 312250"/>
                    <a:gd name="connsiteY17" fmla="*/ 90488 h 205141"/>
                    <a:gd name="connsiteX18" fmla="*/ 23812 w 312250"/>
                    <a:gd name="connsiteY18" fmla="*/ 97632 h 205141"/>
                    <a:gd name="connsiteX19" fmla="*/ 54768 w 312250"/>
                    <a:gd name="connsiteY19" fmla="*/ 104775 h 205141"/>
                    <a:gd name="connsiteX20" fmla="*/ 61912 w 312250"/>
                    <a:gd name="connsiteY20" fmla="*/ 107157 h 205141"/>
                    <a:gd name="connsiteX21" fmla="*/ 73818 w 312250"/>
                    <a:gd name="connsiteY21" fmla="*/ 109538 h 205141"/>
                    <a:gd name="connsiteX22" fmla="*/ 78581 w 312250"/>
                    <a:gd name="connsiteY22" fmla="*/ 116682 h 205141"/>
                    <a:gd name="connsiteX23" fmla="*/ 80962 w 312250"/>
                    <a:gd name="connsiteY23" fmla="*/ 123825 h 205141"/>
                    <a:gd name="connsiteX24" fmla="*/ 92868 w 312250"/>
                    <a:gd name="connsiteY24" fmla="*/ 161925 h 205141"/>
                    <a:gd name="connsiteX25" fmla="*/ 109537 w 312250"/>
                    <a:gd name="connsiteY25" fmla="*/ 166688 h 205141"/>
                    <a:gd name="connsiteX26" fmla="*/ 123825 w 312250"/>
                    <a:gd name="connsiteY26" fmla="*/ 171450 h 205141"/>
                    <a:gd name="connsiteX27" fmla="*/ 135731 w 312250"/>
                    <a:gd name="connsiteY27" fmla="*/ 188119 h 205141"/>
                    <a:gd name="connsiteX28" fmla="*/ 140493 w 312250"/>
                    <a:gd name="connsiteY28" fmla="*/ 195263 h 205141"/>
                    <a:gd name="connsiteX29" fmla="*/ 150018 w 312250"/>
                    <a:gd name="connsiteY29" fmla="*/ 197644 h 205141"/>
                    <a:gd name="connsiteX30" fmla="*/ 154781 w 312250"/>
                    <a:gd name="connsiteY30" fmla="*/ 204788 h 205141"/>
                    <a:gd name="connsiteX31" fmla="*/ 164306 w 312250"/>
                    <a:gd name="connsiteY31" fmla="*/ 202407 h 205141"/>
                    <a:gd name="connsiteX32" fmla="*/ 166687 w 312250"/>
                    <a:gd name="connsiteY32" fmla="*/ 195263 h 205141"/>
                    <a:gd name="connsiteX33" fmla="*/ 169068 w 312250"/>
                    <a:gd name="connsiteY33" fmla="*/ 180975 h 205141"/>
                    <a:gd name="connsiteX34" fmla="*/ 171450 w 312250"/>
                    <a:gd name="connsiteY34" fmla="*/ 173832 h 205141"/>
                    <a:gd name="connsiteX35" fmla="*/ 180975 w 312250"/>
                    <a:gd name="connsiteY35" fmla="*/ 159544 h 205141"/>
                    <a:gd name="connsiteX36" fmla="*/ 185737 w 312250"/>
                    <a:gd name="connsiteY36" fmla="*/ 152400 h 205141"/>
                    <a:gd name="connsiteX37" fmla="*/ 190500 w 312250"/>
                    <a:gd name="connsiteY37" fmla="*/ 138113 h 205141"/>
                    <a:gd name="connsiteX38" fmla="*/ 192881 w 312250"/>
                    <a:gd name="connsiteY38" fmla="*/ 130969 h 205141"/>
                    <a:gd name="connsiteX39" fmla="*/ 195262 w 312250"/>
                    <a:gd name="connsiteY39" fmla="*/ 104775 h 205141"/>
                    <a:gd name="connsiteX40" fmla="*/ 200025 w 312250"/>
                    <a:gd name="connsiteY40" fmla="*/ 97632 h 205141"/>
                    <a:gd name="connsiteX41" fmla="*/ 214312 w 312250"/>
                    <a:gd name="connsiteY41" fmla="*/ 88107 h 205141"/>
                    <a:gd name="connsiteX42" fmla="*/ 221456 w 312250"/>
                    <a:gd name="connsiteY42" fmla="*/ 83344 h 205141"/>
                    <a:gd name="connsiteX43" fmla="*/ 242887 w 312250"/>
                    <a:gd name="connsiteY43" fmla="*/ 71438 h 205141"/>
                    <a:gd name="connsiteX44" fmla="*/ 250031 w 312250"/>
                    <a:gd name="connsiteY44" fmla="*/ 69057 h 205141"/>
                    <a:gd name="connsiteX45" fmla="*/ 257175 w 312250"/>
                    <a:gd name="connsiteY45" fmla="*/ 64294 h 205141"/>
                    <a:gd name="connsiteX46" fmla="*/ 300037 w 312250"/>
                    <a:gd name="connsiteY46" fmla="*/ 69057 h 205141"/>
                    <a:gd name="connsiteX47" fmla="*/ 304800 w 312250"/>
                    <a:gd name="connsiteY47" fmla="*/ 73819 h 205141"/>
                    <a:gd name="connsiteX0" fmla="*/ 304800 w 312250"/>
                    <a:gd name="connsiteY0" fmla="*/ 73819 h 205141"/>
                    <a:gd name="connsiteX1" fmla="*/ 304800 w 312250"/>
                    <a:gd name="connsiteY1" fmla="*/ 73819 h 205141"/>
                    <a:gd name="connsiteX2" fmla="*/ 230981 w 312250"/>
                    <a:gd name="connsiteY2" fmla="*/ 35719 h 205141"/>
                    <a:gd name="connsiteX3" fmla="*/ 207168 w 312250"/>
                    <a:gd name="connsiteY3" fmla="*/ 23813 h 205141"/>
                    <a:gd name="connsiteX4" fmla="*/ 185737 w 312250"/>
                    <a:gd name="connsiteY4" fmla="*/ 4763 h 205141"/>
                    <a:gd name="connsiteX5" fmla="*/ 159543 w 312250"/>
                    <a:gd name="connsiteY5" fmla="*/ 9525 h 205141"/>
                    <a:gd name="connsiteX6" fmla="*/ 133350 w 312250"/>
                    <a:gd name="connsiteY6" fmla="*/ 11907 h 205141"/>
                    <a:gd name="connsiteX7" fmla="*/ 111918 w 312250"/>
                    <a:gd name="connsiteY7" fmla="*/ 4763 h 205141"/>
                    <a:gd name="connsiteX8" fmla="*/ 104775 w 312250"/>
                    <a:gd name="connsiteY8" fmla="*/ 2382 h 205141"/>
                    <a:gd name="connsiteX9" fmla="*/ 45243 w 312250"/>
                    <a:gd name="connsiteY9" fmla="*/ 0 h 205141"/>
                    <a:gd name="connsiteX10" fmla="*/ 14287 w 312250"/>
                    <a:gd name="connsiteY10" fmla="*/ 7144 h 205141"/>
                    <a:gd name="connsiteX11" fmla="*/ 4762 w 312250"/>
                    <a:gd name="connsiteY11" fmla="*/ 21432 h 205141"/>
                    <a:gd name="connsiteX12" fmla="*/ 0 w 312250"/>
                    <a:gd name="connsiteY12" fmla="*/ 28575 h 205141"/>
                    <a:gd name="connsiteX13" fmla="*/ 2381 w 312250"/>
                    <a:gd name="connsiteY13" fmla="*/ 54769 h 205141"/>
                    <a:gd name="connsiteX14" fmla="*/ 7143 w 312250"/>
                    <a:gd name="connsiteY14" fmla="*/ 61913 h 205141"/>
                    <a:gd name="connsiteX15" fmla="*/ 16668 w 312250"/>
                    <a:gd name="connsiteY15" fmla="*/ 76200 h 205141"/>
                    <a:gd name="connsiteX16" fmla="*/ 21431 w 312250"/>
                    <a:gd name="connsiteY16" fmla="*/ 90488 h 205141"/>
                    <a:gd name="connsiteX17" fmla="*/ 23812 w 312250"/>
                    <a:gd name="connsiteY17" fmla="*/ 97632 h 205141"/>
                    <a:gd name="connsiteX18" fmla="*/ 54768 w 312250"/>
                    <a:gd name="connsiteY18" fmla="*/ 104775 h 205141"/>
                    <a:gd name="connsiteX19" fmla="*/ 61912 w 312250"/>
                    <a:gd name="connsiteY19" fmla="*/ 107157 h 205141"/>
                    <a:gd name="connsiteX20" fmla="*/ 73818 w 312250"/>
                    <a:gd name="connsiteY20" fmla="*/ 109538 h 205141"/>
                    <a:gd name="connsiteX21" fmla="*/ 78581 w 312250"/>
                    <a:gd name="connsiteY21" fmla="*/ 116682 h 205141"/>
                    <a:gd name="connsiteX22" fmla="*/ 80962 w 312250"/>
                    <a:gd name="connsiteY22" fmla="*/ 123825 h 205141"/>
                    <a:gd name="connsiteX23" fmla="*/ 92868 w 312250"/>
                    <a:gd name="connsiteY23" fmla="*/ 161925 h 205141"/>
                    <a:gd name="connsiteX24" fmla="*/ 109537 w 312250"/>
                    <a:gd name="connsiteY24" fmla="*/ 166688 h 205141"/>
                    <a:gd name="connsiteX25" fmla="*/ 123825 w 312250"/>
                    <a:gd name="connsiteY25" fmla="*/ 171450 h 205141"/>
                    <a:gd name="connsiteX26" fmla="*/ 135731 w 312250"/>
                    <a:gd name="connsiteY26" fmla="*/ 188119 h 205141"/>
                    <a:gd name="connsiteX27" fmla="*/ 140493 w 312250"/>
                    <a:gd name="connsiteY27" fmla="*/ 195263 h 205141"/>
                    <a:gd name="connsiteX28" fmla="*/ 150018 w 312250"/>
                    <a:gd name="connsiteY28" fmla="*/ 197644 h 205141"/>
                    <a:gd name="connsiteX29" fmla="*/ 154781 w 312250"/>
                    <a:gd name="connsiteY29" fmla="*/ 204788 h 205141"/>
                    <a:gd name="connsiteX30" fmla="*/ 164306 w 312250"/>
                    <a:gd name="connsiteY30" fmla="*/ 202407 h 205141"/>
                    <a:gd name="connsiteX31" fmla="*/ 166687 w 312250"/>
                    <a:gd name="connsiteY31" fmla="*/ 195263 h 205141"/>
                    <a:gd name="connsiteX32" fmla="*/ 169068 w 312250"/>
                    <a:gd name="connsiteY32" fmla="*/ 180975 h 205141"/>
                    <a:gd name="connsiteX33" fmla="*/ 171450 w 312250"/>
                    <a:gd name="connsiteY33" fmla="*/ 173832 h 205141"/>
                    <a:gd name="connsiteX34" fmla="*/ 180975 w 312250"/>
                    <a:gd name="connsiteY34" fmla="*/ 159544 h 205141"/>
                    <a:gd name="connsiteX35" fmla="*/ 185737 w 312250"/>
                    <a:gd name="connsiteY35" fmla="*/ 152400 h 205141"/>
                    <a:gd name="connsiteX36" fmla="*/ 190500 w 312250"/>
                    <a:gd name="connsiteY36" fmla="*/ 138113 h 205141"/>
                    <a:gd name="connsiteX37" fmla="*/ 192881 w 312250"/>
                    <a:gd name="connsiteY37" fmla="*/ 130969 h 205141"/>
                    <a:gd name="connsiteX38" fmla="*/ 195262 w 312250"/>
                    <a:gd name="connsiteY38" fmla="*/ 104775 h 205141"/>
                    <a:gd name="connsiteX39" fmla="*/ 200025 w 312250"/>
                    <a:gd name="connsiteY39" fmla="*/ 97632 h 205141"/>
                    <a:gd name="connsiteX40" fmla="*/ 214312 w 312250"/>
                    <a:gd name="connsiteY40" fmla="*/ 88107 h 205141"/>
                    <a:gd name="connsiteX41" fmla="*/ 221456 w 312250"/>
                    <a:gd name="connsiteY41" fmla="*/ 83344 h 205141"/>
                    <a:gd name="connsiteX42" fmla="*/ 242887 w 312250"/>
                    <a:gd name="connsiteY42" fmla="*/ 71438 h 205141"/>
                    <a:gd name="connsiteX43" fmla="*/ 250031 w 312250"/>
                    <a:gd name="connsiteY43" fmla="*/ 69057 h 205141"/>
                    <a:gd name="connsiteX44" fmla="*/ 257175 w 312250"/>
                    <a:gd name="connsiteY44" fmla="*/ 64294 h 205141"/>
                    <a:gd name="connsiteX45" fmla="*/ 300037 w 312250"/>
                    <a:gd name="connsiteY45" fmla="*/ 69057 h 205141"/>
                    <a:gd name="connsiteX46" fmla="*/ 304800 w 312250"/>
                    <a:gd name="connsiteY46" fmla="*/ 73819 h 205141"/>
                    <a:gd name="connsiteX0" fmla="*/ 304800 w 312250"/>
                    <a:gd name="connsiteY0" fmla="*/ 73852 h 205174"/>
                    <a:gd name="connsiteX1" fmla="*/ 304800 w 312250"/>
                    <a:gd name="connsiteY1" fmla="*/ 73852 h 205174"/>
                    <a:gd name="connsiteX2" fmla="*/ 230981 w 312250"/>
                    <a:gd name="connsiteY2" fmla="*/ 35752 h 205174"/>
                    <a:gd name="connsiteX3" fmla="*/ 207168 w 312250"/>
                    <a:gd name="connsiteY3" fmla="*/ 23846 h 205174"/>
                    <a:gd name="connsiteX4" fmla="*/ 185737 w 312250"/>
                    <a:gd name="connsiteY4" fmla="*/ 4796 h 205174"/>
                    <a:gd name="connsiteX5" fmla="*/ 159543 w 312250"/>
                    <a:gd name="connsiteY5" fmla="*/ 9558 h 205174"/>
                    <a:gd name="connsiteX6" fmla="*/ 133350 w 312250"/>
                    <a:gd name="connsiteY6" fmla="*/ 11940 h 205174"/>
                    <a:gd name="connsiteX7" fmla="*/ 111918 w 312250"/>
                    <a:gd name="connsiteY7" fmla="*/ 4796 h 205174"/>
                    <a:gd name="connsiteX8" fmla="*/ 45243 w 312250"/>
                    <a:gd name="connsiteY8" fmla="*/ 33 h 205174"/>
                    <a:gd name="connsiteX9" fmla="*/ 14287 w 312250"/>
                    <a:gd name="connsiteY9" fmla="*/ 7177 h 205174"/>
                    <a:gd name="connsiteX10" fmla="*/ 4762 w 312250"/>
                    <a:gd name="connsiteY10" fmla="*/ 21465 h 205174"/>
                    <a:gd name="connsiteX11" fmla="*/ 0 w 312250"/>
                    <a:gd name="connsiteY11" fmla="*/ 28608 h 205174"/>
                    <a:gd name="connsiteX12" fmla="*/ 2381 w 312250"/>
                    <a:gd name="connsiteY12" fmla="*/ 54802 h 205174"/>
                    <a:gd name="connsiteX13" fmla="*/ 7143 w 312250"/>
                    <a:gd name="connsiteY13" fmla="*/ 61946 h 205174"/>
                    <a:gd name="connsiteX14" fmla="*/ 16668 w 312250"/>
                    <a:gd name="connsiteY14" fmla="*/ 76233 h 205174"/>
                    <a:gd name="connsiteX15" fmla="*/ 21431 w 312250"/>
                    <a:gd name="connsiteY15" fmla="*/ 90521 h 205174"/>
                    <a:gd name="connsiteX16" fmla="*/ 23812 w 312250"/>
                    <a:gd name="connsiteY16" fmla="*/ 97665 h 205174"/>
                    <a:gd name="connsiteX17" fmla="*/ 54768 w 312250"/>
                    <a:gd name="connsiteY17" fmla="*/ 104808 h 205174"/>
                    <a:gd name="connsiteX18" fmla="*/ 61912 w 312250"/>
                    <a:gd name="connsiteY18" fmla="*/ 107190 h 205174"/>
                    <a:gd name="connsiteX19" fmla="*/ 73818 w 312250"/>
                    <a:gd name="connsiteY19" fmla="*/ 109571 h 205174"/>
                    <a:gd name="connsiteX20" fmla="*/ 78581 w 312250"/>
                    <a:gd name="connsiteY20" fmla="*/ 116715 h 205174"/>
                    <a:gd name="connsiteX21" fmla="*/ 80962 w 312250"/>
                    <a:gd name="connsiteY21" fmla="*/ 123858 h 205174"/>
                    <a:gd name="connsiteX22" fmla="*/ 92868 w 312250"/>
                    <a:gd name="connsiteY22" fmla="*/ 161958 h 205174"/>
                    <a:gd name="connsiteX23" fmla="*/ 109537 w 312250"/>
                    <a:gd name="connsiteY23" fmla="*/ 166721 h 205174"/>
                    <a:gd name="connsiteX24" fmla="*/ 123825 w 312250"/>
                    <a:gd name="connsiteY24" fmla="*/ 171483 h 205174"/>
                    <a:gd name="connsiteX25" fmla="*/ 135731 w 312250"/>
                    <a:gd name="connsiteY25" fmla="*/ 188152 h 205174"/>
                    <a:gd name="connsiteX26" fmla="*/ 140493 w 312250"/>
                    <a:gd name="connsiteY26" fmla="*/ 195296 h 205174"/>
                    <a:gd name="connsiteX27" fmla="*/ 150018 w 312250"/>
                    <a:gd name="connsiteY27" fmla="*/ 197677 h 205174"/>
                    <a:gd name="connsiteX28" fmla="*/ 154781 w 312250"/>
                    <a:gd name="connsiteY28" fmla="*/ 204821 h 205174"/>
                    <a:gd name="connsiteX29" fmla="*/ 164306 w 312250"/>
                    <a:gd name="connsiteY29" fmla="*/ 202440 h 205174"/>
                    <a:gd name="connsiteX30" fmla="*/ 166687 w 312250"/>
                    <a:gd name="connsiteY30" fmla="*/ 195296 h 205174"/>
                    <a:gd name="connsiteX31" fmla="*/ 169068 w 312250"/>
                    <a:gd name="connsiteY31" fmla="*/ 181008 h 205174"/>
                    <a:gd name="connsiteX32" fmla="*/ 171450 w 312250"/>
                    <a:gd name="connsiteY32" fmla="*/ 173865 h 205174"/>
                    <a:gd name="connsiteX33" fmla="*/ 180975 w 312250"/>
                    <a:gd name="connsiteY33" fmla="*/ 159577 h 205174"/>
                    <a:gd name="connsiteX34" fmla="*/ 185737 w 312250"/>
                    <a:gd name="connsiteY34" fmla="*/ 152433 h 205174"/>
                    <a:gd name="connsiteX35" fmla="*/ 190500 w 312250"/>
                    <a:gd name="connsiteY35" fmla="*/ 138146 h 205174"/>
                    <a:gd name="connsiteX36" fmla="*/ 192881 w 312250"/>
                    <a:gd name="connsiteY36" fmla="*/ 131002 h 205174"/>
                    <a:gd name="connsiteX37" fmla="*/ 195262 w 312250"/>
                    <a:gd name="connsiteY37" fmla="*/ 104808 h 205174"/>
                    <a:gd name="connsiteX38" fmla="*/ 200025 w 312250"/>
                    <a:gd name="connsiteY38" fmla="*/ 97665 h 205174"/>
                    <a:gd name="connsiteX39" fmla="*/ 214312 w 312250"/>
                    <a:gd name="connsiteY39" fmla="*/ 88140 h 205174"/>
                    <a:gd name="connsiteX40" fmla="*/ 221456 w 312250"/>
                    <a:gd name="connsiteY40" fmla="*/ 83377 h 205174"/>
                    <a:gd name="connsiteX41" fmla="*/ 242887 w 312250"/>
                    <a:gd name="connsiteY41" fmla="*/ 71471 h 205174"/>
                    <a:gd name="connsiteX42" fmla="*/ 250031 w 312250"/>
                    <a:gd name="connsiteY42" fmla="*/ 69090 h 205174"/>
                    <a:gd name="connsiteX43" fmla="*/ 257175 w 312250"/>
                    <a:gd name="connsiteY43" fmla="*/ 64327 h 205174"/>
                    <a:gd name="connsiteX44" fmla="*/ 300037 w 312250"/>
                    <a:gd name="connsiteY44" fmla="*/ 69090 h 205174"/>
                    <a:gd name="connsiteX45" fmla="*/ 304800 w 312250"/>
                    <a:gd name="connsiteY45" fmla="*/ 73852 h 205174"/>
                    <a:gd name="connsiteX0" fmla="*/ 304800 w 312250"/>
                    <a:gd name="connsiteY0" fmla="*/ 73852 h 205174"/>
                    <a:gd name="connsiteX1" fmla="*/ 304800 w 312250"/>
                    <a:gd name="connsiteY1" fmla="*/ 73852 h 205174"/>
                    <a:gd name="connsiteX2" fmla="*/ 230981 w 312250"/>
                    <a:gd name="connsiteY2" fmla="*/ 35752 h 205174"/>
                    <a:gd name="connsiteX3" fmla="*/ 207168 w 312250"/>
                    <a:gd name="connsiteY3" fmla="*/ 23846 h 205174"/>
                    <a:gd name="connsiteX4" fmla="*/ 185737 w 312250"/>
                    <a:gd name="connsiteY4" fmla="*/ 4796 h 205174"/>
                    <a:gd name="connsiteX5" fmla="*/ 159543 w 312250"/>
                    <a:gd name="connsiteY5" fmla="*/ 9558 h 205174"/>
                    <a:gd name="connsiteX6" fmla="*/ 133350 w 312250"/>
                    <a:gd name="connsiteY6" fmla="*/ 11940 h 205174"/>
                    <a:gd name="connsiteX7" fmla="*/ 111918 w 312250"/>
                    <a:gd name="connsiteY7" fmla="*/ 4796 h 205174"/>
                    <a:gd name="connsiteX8" fmla="*/ 45243 w 312250"/>
                    <a:gd name="connsiteY8" fmla="*/ 33 h 205174"/>
                    <a:gd name="connsiteX9" fmla="*/ 14287 w 312250"/>
                    <a:gd name="connsiteY9" fmla="*/ 7177 h 205174"/>
                    <a:gd name="connsiteX10" fmla="*/ 4762 w 312250"/>
                    <a:gd name="connsiteY10" fmla="*/ 21465 h 205174"/>
                    <a:gd name="connsiteX11" fmla="*/ 0 w 312250"/>
                    <a:gd name="connsiteY11" fmla="*/ 28608 h 205174"/>
                    <a:gd name="connsiteX12" fmla="*/ 2381 w 312250"/>
                    <a:gd name="connsiteY12" fmla="*/ 54802 h 205174"/>
                    <a:gd name="connsiteX13" fmla="*/ 7143 w 312250"/>
                    <a:gd name="connsiteY13" fmla="*/ 61946 h 205174"/>
                    <a:gd name="connsiteX14" fmla="*/ 16668 w 312250"/>
                    <a:gd name="connsiteY14" fmla="*/ 76233 h 205174"/>
                    <a:gd name="connsiteX15" fmla="*/ 21431 w 312250"/>
                    <a:gd name="connsiteY15" fmla="*/ 90521 h 205174"/>
                    <a:gd name="connsiteX16" fmla="*/ 23812 w 312250"/>
                    <a:gd name="connsiteY16" fmla="*/ 97665 h 205174"/>
                    <a:gd name="connsiteX17" fmla="*/ 54768 w 312250"/>
                    <a:gd name="connsiteY17" fmla="*/ 104808 h 205174"/>
                    <a:gd name="connsiteX18" fmla="*/ 61912 w 312250"/>
                    <a:gd name="connsiteY18" fmla="*/ 107190 h 205174"/>
                    <a:gd name="connsiteX19" fmla="*/ 73818 w 312250"/>
                    <a:gd name="connsiteY19" fmla="*/ 109571 h 205174"/>
                    <a:gd name="connsiteX20" fmla="*/ 78581 w 312250"/>
                    <a:gd name="connsiteY20" fmla="*/ 116715 h 205174"/>
                    <a:gd name="connsiteX21" fmla="*/ 80962 w 312250"/>
                    <a:gd name="connsiteY21" fmla="*/ 123858 h 205174"/>
                    <a:gd name="connsiteX22" fmla="*/ 92868 w 312250"/>
                    <a:gd name="connsiteY22" fmla="*/ 161958 h 205174"/>
                    <a:gd name="connsiteX23" fmla="*/ 109537 w 312250"/>
                    <a:gd name="connsiteY23" fmla="*/ 166721 h 205174"/>
                    <a:gd name="connsiteX24" fmla="*/ 123825 w 312250"/>
                    <a:gd name="connsiteY24" fmla="*/ 171483 h 205174"/>
                    <a:gd name="connsiteX25" fmla="*/ 135731 w 312250"/>
                    <a:gd name="connsiteY25" fmla="*/ 188152 h 205174"/>
                    <a:gd name="connsiteX26" fmla="*/ 140493 w 312250"/>
                    <a:gd name="connsiteY26" fmla="*/ 195296 h 205174"/>
                    <a:gd name="connsiteX27" fmla="*/ 150018 w 312250"/>
                    <a:gd name="connsiteY27" fmla="*/ 197677 h 205174"/>
                    <a:gd name="connsiteX28" fmla="*/ 154781 w 312250"/>
                    <a:gd name="connsiteY28" fmla="*/ 204821 h 205174"/>
                    <a:gd name="connsiteX29" fmla="*/ 164306 w 312250"/>
                    <a:gd name="connsiteY29" fmla="*/ 202440 h 205174"/>
                    <a:gd name="connsiteX30" fmla="*/ 166687 w 312250"/>
                    <a:gd name="connsiteY30" fmla="*/ 195296 h 205174"/>
                    <a:gd name="connsiteX31" fmla="*/ 169068 w 312250"/>
                    <a:gd name="connsiteY31" fmla="*/ 181008 h 205174"/>
                    <a:gd name="connsiteX32" fmla="*/ 171450 w 312250"/>
                    <a:gd name="connsiteY32" fmla="*/ 173865 h 205174"/>
                    <a:gd name="connsiteX33" fmla="*/ 180975 w 312250"/>
                    <a:gd name="connsiteY33" fmla="*/ 159577 h 205174"/>
                    <a:gd name="connsiteX34" fmla="*/ 185737 w 312250"/>
                    <a:gd name="connsiteY34" fmla="*/ 152433 h 205174"/>
                    <a:gd name="connsiteX35" fmla="*/ 190500 w 312250"/>
                    <a:gd name="connsiteY35" fmla="*/ 138146 h 205174"/>
                    <a:gd name="connsiteX36" fmla="*/ 192881 w 312250"/>
                    <a:gd name="connsiteY36" fmla="*/ 131002 h 205174"/>
                    <a:gd name="connsiteX37" fmla="*/ 195262 w 312250"/>
                    <a:gd name="connsiteY37" fmla="*/ 104808 h 205174"/>
                    <a:gd name="connsiteX38" fmla="*/ 200025 w 312250"/>
                    <a:gd name="connsiteY38" fmla="*/ 97665 h 205174"/>
                    <a:gd name="connsiteX39" fmla="*/ 221456 w 312250"/>
                    <a:gd name="connsiteY39" fmla="*/ 83377 h 205174"/>
                    <a:gd name="connsiteX40" fmla="*/ 242887 w 312250"/>
                    <a:gd name="connsiteY40" fmla="*/ 71471 h 205174"/>
                    <a:gd name="connsiteX41" fmla="*/ 250031 w 312250"/>
                    <a:gd name="connsiteY41" fmla="*/ 69090 h 205174"/>
                    <a:gd name="connsiteX42" fmla="*/ 257175 w 312250"/>
                    <a:gd name="connsiteY42" fmla="*/ 64327 h 205174"/>
                    <a:gd name="connsiteX43" fmla="*/ 300037 w 312250"/>
                    <a:gd name="connsiteY43" fmla="*/ 69090 h 205174"/>
                    <a:gd name="connsiteX44" fmla="*/ 304800 w 312250"/>
                    <a:gd name="connsiteY44" fmla="*/ 73852 h 205174"/>
                    <a:gd name="connsiteX0" fmla="*/ 304800 w 312250"/>
                    <a:gd name="connsiteY0" fmla="*/ 73852 h 205174"/>
                    <a:gd name="connsiteX1" fmla="*/ 304800 w 312250"/>
                    <a:gd name="connsiteY1" fmla="*/ 73852 h 205174"/>
                    <a:gd name="connsiteX2" fmla="*/ 230981 w 312250"/>
                    <a:gd name="connsiteY2" fmla="*/ 35752 h 205174"/>
                    <a:gd name="connsiteX3" fmla="*/ 207168 w 312250"/>
                    <a:gd name="connsiteY3" fmla="*/ 23846 h 205174"/>
                    <a:gd name="connsiteX4" fmla="*/ 185737 w 312250"/>
                    <a:gd name="connsiteY4" fmla="*/ 4796 h 205174"/>
                    <a:gd name="connsiteX5" fmla="*/ 159543 w 312250"/>
                    <a:gd name="connsiteY5" fmla="*/ 9558 h 205174"/>
                    <a:gd name="connsiteX6" fmla="*/ 133350 w 312250"/>
                    <a:gd name="connsiteY6" fmla="*/ 11940 h 205174"/>
                    <a:gd name="connsiteX7" fmla="*/ 111918 w 312250"/>
                    <a:gd name="connsiteY7" fmla="*/ 4796 h 205174"/>
                    <a:gd name="connsiteX8" fmla="*/ 45243 w 312250"/>
                    <a:gd name="connsiteY8" fmla="*/ 33 h 205174"/>
                    <a:gd name="connsiteX9" fmla="*/ 14287 w 312250"/>
                    <a:gd name="connsiteY9" fmla="*/ 7177 h 205174"/>
                    <a:gd name="connsiteX10" fmla="*/ 4762 w 312250"/>
                    <a:gd name="connsiteY10" fmla="*/ 21465 h 205174"/>
                    <a:gd name="connsiteX11" fmla="*/ 0 w 312250"/>
                    <a:gd name="connsiteY11" fmla="*/ 28608 h 205174"/>
                    <a:gd name="connsiteX12" fmla="*/ 2381 w 312250"/>
                    <a:gd name="connsiteY12" fmla="*/ 54802 h 205174"/>
                    <a:gd name="connsiteX13" fmla="*/ 7143 w 312250"/>
                    <a:gd name="connsiteY13" fmla="*/ 61946 h 205174"/>
                    <a:gd name="connsiteX14" fmla="*/ 16668 w 312250"/>
                    <a:gd name="connsiteY14" fmla="*/ 76233 h 205174"/>
                    <a:gd name="connsiteX15" fmla="*/ 21431 w 312250"/>
                    <a:gd name="connsiteY15" fmla="*/ 90521 h 205174"/>
                    <a:gd name="connsiteX16" fmla="*/ 23812 w 312250"/>
                    <a:gd name="connsiteY16" fmla="*/ 97665 h 205174"/>
                    <a:gd name="connsiteX17" fmla="*/ 54768 w 312250"/>
                    <a:gd name="connsiteY17" fmla="*/ 104808 h 205174"/>
                    <a:gd name="connsiteX18" fmla="*/ 61912 w 312250"/>
                    <a:gd name="connsiteY18" fmla="*/ 107190 h 205174"/>
                    <a:gd name="connsiteX19" fmla="*/ 73818 w 312250"/>
                    <a:gd name="connsiteY19" fmla="*/ 109571 h 205174"/>
                    <a:gd name="connsiteX20" fmla="*/ 78581 w 312250"/>
                    <a:gd name="connsiteY20" fmla="*/ 116715 h 205174"/>
                    <a:gd name="connsiteX21" fmla="*/ 80962 w 312250"/>
                    <a:gd name="connsiteY21" fmla="*/ 123858 h 205174"/>
                    <a:gd name="connsiteX22" fmla="*/ 92868 w 312250"/>
                    <a:gd name="connsiteY22" fmla="*/ 161958 h 205174"/>
                    <a:gd name="connsiteX23" fmla="*/ 109537 w 312250"/>
                    <a:gd name="connsiteY23" fmla="*/ 166721 h 205174"/>
                    <a:gd name="connsiteX24" fmla="*/ 123825 w 312250"/>
                    <a:gd name="connsiteY24" fmla="*/ 171483 h 205174"/>
                    <a:gd name="connsiteX25" fmla="*/ 135731 w 312250"/>
                    <a:gd name="connsiteY25" fmla="*/ 188152 h 205174"/>
                    <a:gd name="connsiteX26" fmla="*/ 140493 w 312250"/>
                    <a:gd name="connsiteY26" fmla="*/ 195296 h 205174"/>
                    <a:gd name="connsiteX27" fmla="*/ 150018 w 312250"/>
                    <a:gd name="connsiteY27" fmla="*/ 197677 h 205174"/>
                    <a:gd name="connsiteX28" fmla="*/ 154781 w 312250"/>
                    <a:gd name="connsiteY28" fmla="*/ 204821 h 205174"/>
                    <a:gd name="connsiteX29" fmla="*/ 164306 w 312250"/>
                    <a:gd name="connsiteY29" fmla="*/ 202440 h 205174"/>
                    <a:gd name="connsiteX30" fmla="*/ 166687 w 312250"/>
                    <a:gd name="connsiteY30" fmla="*/ 195296 h 205174"/>
                    <a:gd name="connsiteX31" fmla="*/ 169068 w 312250"/>
                    <a:gd name="connsiteY31" fmla="*/ 181008 h 205174"/>
                    <a:gd name="connsiteX32" fmla="*/ 171450 w 312250"/>
                    <a:gd name="connsiteY32" fmla="*/ 173865 h 205174"/>
                    <a:gd name="connsiteX33" fmla="*/ 180975 w 312250"/>
                    <a:gd name="connsiteY33" fmla="*/ 159577 h 205174"/>
                    <a:gd name="connsiteX34" fmla="*/ 185737 w 312250"/>
                    <a:gd name="connsiteY34" fmla="*/ 152433 h 205174"/>
                    <a:gd name="connsiteX35" fmla="*/ 190500 w 312250"/>
                    <a:gd name="connsiteY35" fmla="*/ 138146 h 205174"/>
                    <a:gd name="connsiteX36" fmla="*/ 192881 w 312250"/>
                    <a:gd name="connsiteY36" fmla="*/ 131002 h 205174"/>
                    <a:gd name="connsiteX37" fmla="*/ 195262 w 312250"/>
                    <a:gd name="connsiteY37" fmla="*/ 104808 h 205174"/>
                    <a:gd name="connsiteX38" fmla="*/ 200025 w 312250"/>
                    <a:gd name="connsiteY38" fmla="*/ 97665 h 205174"/>
                    <a:gd name="connsiteX39" fmla="*/ 242887 w 312250"/>
                    <a:gd name="connsiteY39" fmla="*/ 71471 h 205174"/>
                    <a:gd name="connsiteX40" fmla="*/ 250031 w 312250"/>
                    <a:gd name="connsiteY40" fmla="*/ 69090 h 205174"/>
                    <a:gd name="connsiteX41" fmla="*/ 257175 w 312250"/>
                    <a:gd name="connsiteY41" fmla="*/ 64327 h 205174"/>
                    <a:gd name="connsiteX42" fmla="*/ 300037 w 312250"/>
                    <a:gd name="connsiteY42" fmla="*/ 69090 h 205174"/>
                    <a:gd name="connsiteX43" fmla="*/ 304800 w 312250"/>
                    <a:gd name="connsiteY43" fmla="*/ 73852 h 205174"/>
                    <a:gd name="connsiteX0" fmla="*/ 304800 w 312250"/>
                    <a:gd name="connsiteY0" fmla="*/ 73852 h 205174"/>
                    <a:gd name="connsiteX1" fmla="*/ 304800 w 312250"/>
                    <a:gd name="connsiteY1" fmla="*/ 73852 h 205174"/>
                    <a:gd name="connsiteX2" fmla="*/ 230981 w 312250"/>
                    <a:gd name="connsiteY2" fmla="*/ 35752 h 205174"/>
                    <a:gd name="connsiteX3" fmla="*/ 207168 w 312250"/>
                    <a:gd name="connsiteY3" fmla="*/ 23846 h 205174"/>
                    <a:gd name="connsiteX4" fmla="*/ 185737 w 312250"/>
                    <a:gd name="connsiteY4" fmla="*/ 4796 h 205174"/>
                    <a:gd name="connsiteX5" fmla="*/ 159543 w 312250"/>
                    <a:gd name="connsiteY5" fmla="*/ 9558 h 205174"/>
                    <a:gd name="connsiteX6" fmla="*/ 133350 w 312250"/>
                    <a:gd name="connsiteY6" fmla="*/ 11940 h 205174"/>
                    <a:gd name="connsiteX7" fmla="*/ 111918 w 312250"/>
                    <a:gd name="connsiteY7" fmla="*/ 4796 h 205174"/>
                    <a:gd name="connsiteX8" fmla="*/ 45243 w 312250"/>
                    <a:gd name="connsiteY8" fmla="*/ 33 h 205174"/>
                    <a:gd name="connsiteX9" fmla="*/ 14287 w 312250"/>
                    <a:gd name="connsiteY9" fmla="*/ 7177 h 205174"/>
                    <a:gd name="connsiteX10" fmla="*/ 4762 w 312250"/>
                    <a:gd name="connsiteY10" fmla="*/ 21465 h 205174"/>
                    <a:gd name="connsiteX11" fmla="*/ 0 w 312250"/>
                    <a:gd name="connsiteY11" fmla="*/ 28608 h 205174"/>
                    <a:gd name="connsiteX12" fmla="*/ 2381 w 312250"/>
                    <a:gd name="connsiteY12" fmla="*/ 54802 h 205174"/>
                    <a:gd name="connsiteX13" fmla="*/ 7143 w 312250"/>
                    <a:gd name="connsiteY13" fmla="*/ 61946 h 205174"/>
                    <a:gd name="connsiteX14" fmla="*/ 16668 w 312250"/>
                    <a:gd name="connsiteY14" fmla="*/ 76233 h 205174"/>
                    <a:gd name="connsiteX15" fmla="*/ 21431 w 312250"/>
                    <a:gd name="connsiteY15" fmla="*/ 90521 h 205174"/>
                    <a:gd name="connsiteX16" fmla="*/ 23812 w 312250"/>
                    <a:gd name="connsiteY16" fmla="*/ 97665 h 205174"/>
                    <a:gd name="connsiteX17" fmla="*/ 54768 w 312250"/>
                    <a:gd name="connsiteY17" fmla="*/ 104808 h 205174"/>
                    <a:gd name="connsiteX18" fmla="*/ 61912 w 312250"/>
                    <a:gd name="connsiteY18" fmla="*/ 107190 h 205174"/>
                    <a:gd name="connsiteX19" fmla="*/ 73818 w 312250"/>
                    <a:gd name="connsiteY19" fmla="*/ 109571 h 205174"/>
                    <a:gd name="connsiteX20" fmla="*/ 78581 w 312250"/>
                    <a:gd name="connsiteY20" fmla="*/ 116715 h 205174"/>
                    <a:gd name="connsiteX21" fmla="*/ 80962 w 312250"/>
                    <a:gd name="connsiteY21" fmla="*/ 123858 h 205174"/>
                    <a:gd name="connsiteX22" fmla="*/ 92868 w 312250"/>
                    <a:gd name="connsiteY22" fmla="*/ 161958 h 205174"/>
                    <a:gd name="connsiteX23" fmla="*/ 109537 w 312250"/>
                    <a:gd name="connsiteY23" fmla="*/ 166721 h 205174"/>
                    <a:gd name="connsiteX24" fmla="*/ 123825 w 312250"/>
                    <a:gd name="connsiteY24" fmla="*/ 171483 h 205174"/>
                    <a:gd name="connsiteX25" fmla="*/ 135731 w 312250"/>
                    <a:gd name="connsiteY25" fmla="*/ 188152 h 205174"/>
                    <a:gd name="connsiteX26" fmla="*/ 140493 w 312250"/>
                    <a:gd name="connsiteY26" fmla="*/ 195296 h 205174"/>
                    <a:gd name="connsiteX27" fmla="*/ 150018 w 312250"/>
                    <a:gd name="connsiteY27" fmla="*/ 197677 h 205174"/>
                    <a:gd name="connsiteX28" fmla="*/ 154781 w 312250"/>
                    <a:gd name="connsiteY28" fmla="*/ 204821 h 205174"/>
                    <a:gd name="connsiteX29" fmla="*/ 164306 w 312250"/>
                    <a:gd name="connsiteY29" fmla="*/ 202440 h 205174"/>
                    <a:gd name="connsiteX30" fmla="*/ 166687 w 312250"/>
                    <a:gd name="connsiteY30" fmla="*/ 195296 h 205174"/>
                    <a:gd name="connsiteX31" fmla="*/ 169068 w 312250"/>
                    <a:gd name="connsiteY31" fmla="*/ 181008 h 205174"/>
                    <a:gd name="connsiteX32" fmla="*/ 171450 w 312250"/>
                    <a:gd name="connsiteY32" fmla="*/ 173865 h 205174"/>
                    <a:gd name="connsiteX33" fmla="*/ 180975 w 312250"/>
                    <a:gd name="connsiteY33" fmla="*/ 159577 h 205174"/>
                    <a:gd name="connsiteX34" fmla="*/ 185737 w 312250"/>
                    <a:gd name="connsiteY34" fmla="*/ 152433 h 205174"/>
                    <a:gd name="connsiteX35" fmla="*/ 190500 w 312250"/>
                    <a:gd name="connsiteY35" fmla="*/ 138146 h 205174"/>
                    <a:gd name="connsiteX36" fmla="*/ 192881 w 312250"/>
                    <a:gd name="connsiteY36" fmla="*/ 131002 h 205174"/>
                    <a:gd name="connsiteX37" fmla="*/ 195262 w 312250"/>
                    <a:gd name="connsiteY37" fmla="*/ 104808 h 205174"/>
                    <a:gd name="connsiteX38" fmla="*/ 200025 w 312250"/>
                    <a:gd name="connsiteY38" fmla="*/ 97665 h 205174"/>
                    <a:gd name="connsiteX39" fmla="*/ 242887 w 312250"/>
                    <a:gd name="connsiteY39" fmla="*/ 71471 h 205174"/>
                    <a:gd name="connsiteX40" fmla="*/ 250031 w 312250"/>
                    <a:gd name="connsiteY40" fmla="*/ 69090 h 205174"/>
                    <a:gd name="connsiteX41" fmla="*/ 300037 w 312250"/>
                    <a:gd name="connsiteY41" fmla="*/ 69090 h 205174"/>
                    <a:gd name="connsiteX42" fmla="*/ 304800 w 312250"/>
                    <a:gd name="connsiteY42" fmla="*/ 73852 h 205174"/>
                    <a:gd name="connsiteX0" fmla="*/ 304800 w 312250"/>
                    <a:gd name="connsiteY0" fmla="*/ 73852 h 205174"/>
                    <a:gd name="connsiteX1" fmla="*/ 304800 w 312250"/>
                    <a:gd name="connsiteY1" fmla="*/ 73852 h 205174"/>
                    <a:gd name="connsiteX2" fmla="*/ 230981 w 312250"/>
                    <a:gd name="connsiteY2" fmla="*/ 35752 h 205174"/>
                    <a:gd name="connsiteX3" fmla="*/ 207168 w 312250"/>
                    <a:gd name="connsiteY3" fmla="*/ 23846 h 205174"/>
                    <a:gd name="connsiteX4" fmla="*/ 185737 w 312250"/>
                    <a:gd name="connsiteY4" fmla="*/ 4796 h 205174"/>
                    <a:gd name="connsiteX5" fmla="*/ 159543 w 312250"/>
                    <a:gd name="connsiteY5" fmla="*/ 9558 h 205174"/>
                    <a:gd name="connsiteX6" fmla="*/ 133350 w 312250"/>
                    <a:gd name="connsiteY6" fmla="*/ 11940 h 205174"/>
                    <a:gd name="connsiteX7" fmla="*/ 111918 w 312250"/>
                    <a:gd name="connsiteY7" fmla="*/ 4796 h 205174"/>
                    <a:gd name="connsiteX8" fmla="*/ 45243 w 312250"/>
                    <a:gd name="connsiteY8" fmla="*/ 33 h 205174"/>
                    <a:gd name="connsiteX9" fmla="*/ 14287 w 312250"/>
                    <a:gd name="connsiteY9" fmla="*/ 7177 h 205174"/>
                    <a:gd name="connsiteX10" fmla="*/ 4762 w 312250"/>
                    <a:gd name="connsiteY10" fmla="*/ 21465 h 205174"/>
                    <a:gd name="connsiteX11" fmla="*/ 0 w 312250"/>
                    <a:gd name="connsiteY11" fmla="*/ 28608 h 205174"/>
                    <a:gd name="connsiteX12" fmla="*/ 2381 w 312250"/>
                    <a:gd name="connsiteY12" fmla="*/ 54802 h 205174"/>
                    <a:gd name="connsiteX13" fmla="*/ 7143 w 312250"/>
                    <a:gd name="connsiteY13" fmla="*/ 61946 h 205174"/>
                    <a:gd name="connsiteX14" fmla="*/ 16668 w 312250"/>
                    <a:gd name="connsiteY14" fmla="*/ 76233 h 205174"/>
                    <a:gd name="connsiteX15" fmla="*/ 21431 w 312250"/>
                    <a:gd name="connsiteY15" fmla="*/ 90521 h 205174"/>
                    <a:gd name="connsiteX16" fmla="*/ 23812 w 312250"/>
                    <a:gd name="connsiteY16" fmla="*/ 97665 h 205174"/>
                    <a:gd name="connsiteX17" fmla="*/ 54768 w 312250"/>
                    <a:gd name="connsiteY17" fmla="*/ 104808 h 205174"/>
                    <a:gd name="connsiteX18" fmla="*/ 61912 w 312250"/>
                    <a:gd name="connsiteY18" fmla="*/ 107190 h 205174"/>
                    <a:gd name="connsiteX19" fmla="*/ 73818 w 312250"/>
                    <a:gd name="connsiteY19" fmla="*/ 109571 h 205174"/>
                    <a:gd name="connsiteX20" fmla="*/ 78581 w 312250"/>
                    <a:gd name="connsiteY20" fmla="*/ 116715 h 205174"/>
                    <a:gd name="connsiteX21" fmla="*/ 80962 w 312250"/>
                    <a:gd name="connsiteY21" fmla="*/ 123858 h 205174"/>
                    <a:gd name="connsiteX22" fmla="*/ 92868 w 312250"/>
                    <a:gd name="connsiteY22" fmla="*/ 161958 h 205174"/>
                    <a:gd name="connsiteX23" fmla="*/ 109537 w 312250"/>
                    <a:gd name="connsiteY23" fmla="*/ 166721 h 205174"/>
                    <a:gd name="connsiteX24" fmla="*/ 123825 w 312250"/>
                    <a:gd name="connsiteY24" fmla="*/ 171483 h 205174"/>
                    <a:gd name="connsiteX25" fmla="*/ 135731 w 312250"/>
                    <a:gd name="connsiteY25" fmla="*/ 188152 h 205174"/>
                    <a:gd name="connsiteX26" fmla="*/ 140493 w 312250"/>
                    <a:gd name="connsiteY26" fmla="*/ 195296 h 205174"/>
                    <a:gd name="connsiteX27" fmla="*/ 150018 w 312250"/>
                    <a:gd name="connsiteY27" fmla="*/ 197677 h 205174"/>
                    <a:gd name="connsiteX28" fmla="*/ 154781 w 312250"/>
                    <a:gd name="connsiteY28" fmla="*/ 204821 h 205174"/>
                    <a:gd name="connsiteX29" fmla="*/ 164306 w 312250"/>
                    <a:gd name="connsiteY29" fmla="*/ 202440 h 205174"/>
                    <a:gd name="connsiteX30" fmla="*/ 166687 w 312250"/>
                    <a:gd name="connsiteY30" fmla="*/ 195296 h 205174"/>
                    <a:gd name="connsiteX31" fmla="*/ 169068 w 312250"/>
                    <a:gd name="connsiteY31" fmla="*/ 181008 h 205174"/>
                    <a:gd name="connsiteX32" fmla="*/ 171450 w 312250"/>
                    <a:gd name="connsiteY32" fmla="*/ 173865 h 205174"/>
                    <a:gd name="connsiteX33" fmla="*/ 180975 w 312250"/>
                    <a:gd name="connsiteY33" fmla="*/ 159577 h 205174"/>
                    <a:gd name="connsiteX34" fmla="*/ 185737 w 312250"/>
                    <a:gd name="connsiteY34" fmla="*/ 152433 h 205174"/>
                    <a:gd name="connsiteX35" fmla="*/ 190500 w 312250"/>
                    <a:gd name="connsiteY35" fmla="*/ 138146 h 205174"/>
                    <a:gd name="connsiteX36" fmla="*/ 195262 w 312250"/>
                    <a:gd name="connsiteY36" fmla="*/ 104808 h 205174"/>
                    <a:gd name="connsiteX37" fmla="*/ 200025 w 312250"/>
                    <a:gd name="connsiteY37" fmla="*/ 97665 h 205174"/>
                    <a:gd name="connsiteX38" fmla="*/ 242887 w 312250"/>
                    <a:gd name="connsiteY38" fmla="*/ 71471 h 205174"/>
                    <a:gd name="connsiteX39" fmla="*/ 250031 w 312250"/>
                    <a:gd name="connsiteY39" fmla="*/ 69090 h 205174"/>
                    <a:gd name="connsiteX40" fmla="*/ 300037 w 312250"/>
                    <a:gd name="connsiteY40" fmla="*/ 69090 h 205174"/>
                    <a:gd name="connsiteX41" fmla="*/ 304800 w 312250"/>
                    <a:gd name="connsiteY41" fmla="*/ 73852 h 205174"/>
                    <a:gd name="connsiteX0" fmla="*/ 304800 w 312250"/>
                    <a:gd name="connsiteY0" fmla="*/ 73852 h 205174"/>
                    <a:gd name="connsiteX1" fmla="*/ 304800 w 312250"/>
                    <a:gd name="connsiteY1" fmla="*/ 73852 h 205174"/>
                    <a:gd name="connsiteX2" fmla="*/ 230981 w 312250"/>
                    <a:gd name="connsiteY2" fmla="*/ 35752 h 205174"/>
                    <a:gd name="connsiteX3" fmla="*/ 207168 w 312250"/>
                    <a:gd name="connsiteY3" fmla="*/ 23846 h 205174"/>
                    <a:gd name="connsiteX4" fmla="*/ 185737 w 312250"/>
                    <a:gd name="connsiteY4" fmla="*/ 4796 h 205174"/>
                    <a:gd name="connsiteX5" fmla="*/ 159543 w 312250"/>
                    <a:gd name="connsiteY5" fmla="*/ 9558 h 205174"/>
                    <a:gd name="connsiteX6" fmla="*/ 133350 w 312250"/>
                    <a:gd name="connsiteY6" fmla="*/ 11940 h 205174"/>
                    <a:gd name="connsiteX7" fmla="*/ 111918 w 312250"/>
                    <a:gd name="connsiteY7" fmla="*/ 4796 h 205174"/>
                    <a:gd name="connsiteX8" fmla="*/ 45243 w 312250"/>
                    <a:gd name="connsiteY8" fmla="*/ 33 h 205174"/>
                    <a:gd name="connsiteX9" fmla="*/ 14287 w 312250"/>
                    <a:gd name="connsiteY9" fmla="*/ 7177 h 205174"/>
                    <a:gd name="connsiteX10" fmla="*/ 4762 w 312250"/>
                    <a:gd name="connsiteY10" fmla="*/ 21465 h 205174"/>
                    <a:gd name="connsiteX11" fmla="*/ 0 w 312250"/>
                    <a:gd name="connsiteY11" fmla="*/ 28608 h 205174"/>
                    <a:gd name="connsiteX12" fmla="*/ 2381 w 312250"/>
                    <a:gd name="connsiteY12" fmla="*/ 54802 h 205174"/>
                    <a:gd name="connsiteX13" fmla="*/ 7143 w 312250"/>
                    <a:gd name="connsiteY13" fmla="*/ 61946 h 205174"/>
                    <a:gd name="connsiteX14" fmla="*/ 16668 w 312250"/>
                    <a:gd name="connsiteY14" fmla="*/ 76233 h 205174"/>
                    <a:gd name="connsiteX15" fmla="*/ 21431 w 312250"/>
                    <a:gd name="connsiteY15" fmla="*/ 90521 h 205174"/>
                    <a:gd name="connsiteX16" fmla="*/ 23812 w 312250"/>
                    <a:gd name="connsiteY16" fmla="*/ 97665 h 205174"/>
                    <a:gd name="connsiteX17" fmla="*/ 54768 w 312250"/>
                    <a:gd name="connsiteY17" fmla="*/ 104808 h 205174"/>
                    <a:gd name="connsiteX18" fmla="*/ 61912 w 312250"/>
                    <a:gd name="connsiteY18" fmla="*/ 107190 h 205174"/>
                    <a:gd name="connsiteX19" fmla="*/ 73818 w 312250"/>
                    <a:gd name="connsiteY19" fmla="*/ 109571 h 205174"/>
                    <a:gd name="connsiteX20" fmla="*/ 78581 w 312250"/>
                    <a:gd name="connsiteY20" fmla="*/ 116715 h 205174"/>
                    <a:gd name="connsiteX21" fmla="*/ 80962 w 312250"/>
                    <a:gd name="connsiteY21" fmla="*/ 123858 h 205174"/>
                    <a:gd name="connsiteX22" fmla="*/ 92868 w 312250"/>
                    <a:gd name="connsiteY22" fmla="*/ 161958 h 205174"/>
                    <a:gd name="connsiteX23" fmla="*/ 109537 w 312250"/>
                    <a:gd name="connsiteY23" fmla="*/ 166721 h 205174"/>
                    <a:gd name="connsiteX24" fmla="*/ 123825 w 312250"/>
                    <a:gd name="connsiteY24" fmla="*/ 171483 h 205174"/>
                    <a:gd name="connsiteX25" fmla="*/ 135731 w 312250"/>
                    <a:gd name="connsiteY25" fmla="*/ 188152 h 205174"/>
                    <a:gd name="connsiteX26" fmla="*/ 140493 w 312250"/>
                    <a:gd name="connsiteY26" fmla="*/ 195296 h 205174"/>
                    <a:gd name="connsiteX27" fmla="*/ 150018 w 312250"/>
                    <a:gd name="connsiteY27" fmla="*/ 197677 h 205174"/>
                    <a:gd name="connsiteX28" fmla="*/ 154781 w 312250"/>
                    <a:gd name="connsiteY28" fmla="*/ 204821 h 205174"/>
                    <a:gd name="connsiteX29" fmla="*/ 164306 w 312250"/>
                    <a:gd name="connsiteY29" fmla="*/ 202440 h 205174"/>
                    <a:gd name="connsiteX30" fmla="*/ 166687 w 312250"/>
                    <a:gd name="connsiteY30" fmla="*/ 195296 h 205174"/>
                    <a:gd name="connsiteX31" fmla="*/ 169068 w 312250"/>
                    <a:gd name="connsiteY31" fmla="*/ 181008 h 205174"/>
                    <a:gd name="connsiteX32" fmla="*/ 171450 w 312250"/>
                    <a:gd name="connsiteY32" fmla="*/ 173865 h 205174"/>
                    <a:gd name="connsiteX33" fmla="*/ 180975 w 312250"/>
                    <a:gd name="connsiteY33" fmla="*/ 159577 h 205174"/>
                    <a:gd name="connsiteX34" fmla="*/ 190500 w 312250"/>
                    <a:gd name="connsiteY34" fmla="*/ 138146 h 205174"/>
                    <a:gd name="connsiteX35" fmla="*/ 195262 w 312250"/>
                    <a:gd name="connsiteY35" fmla="*/ 104808 h 205174"/>
                    <a:gd name="connsiteX36" fmla="*/ 200025 w 312250"/>
                    <a:gd name="connsiteY36" fmla="*/ 97665 h 205174"/>
                    <a:gd name="connsiteX37" fmla="*/ 242887 w 312250"/>
                    <a:gd name="connsiteY37" fmla="*/ 71471 h 205174"/>
                    <a:gd name="connsiteX38" fmla="*/ 250031 w 312250"/>
                    <a:gd name="connsiteY38" fmla="*/ 69090 h 205174"/>
                    <a:gd name="connsiteX39" fmla="*/ 300037 w 312250"/>
                    <a:gd name="connsiteY39" fmla="*/ 69090 h 205174"/>
                    <a:gd name="connsiteX40" fmla="*/ 304800 w 312250"/>
                    <a:gd name="connsiteY40" fmla="*/ 73852 h 205174"/>
                    <a:gd name="connsiteX0" fmla="*/ 304800 w 312250"/>
                    <a:gd name="connsiteY0" fmla="*/ 73852 h 205174"/>
                    <a:gd name="connsiteX1" fmla="*/ 304800 w 312250"/>
                    <a:gd name="connsiteY1" fmla="*/ 73852 h 205174"/>
                    <a:gd name="connsiteX2" fmla="*/ 230981 w 312250"/>
                    <a:gd name="connsiteY2" fmla="*/ 35752 h 205174"/>
                    <a:gd name="connsiteX3" fmla="*/ 207168 w 312250"/>
                    <a:gd name="connsiteY3" fmla="*/ 23846 h 205174"/>
                    <a:gd name="connsiteX4" fmla="*/ 185737 w 312250"/>
                    <a:gd name="connsiteY4" fmla="*/ 4796 h 205174"/>
                    <a:gd name="connsiteX5" fmla="*/ 159543 w 312250"/>
                    <a:gd name="connsiteY5" fmla="*/ 9558 h 205174"/>
                    <a:gd name="connsiteX6" fmla="*/ 133350 w 312250"/>
                    <a:gd name="connsiteY6" fmla="*/ 11940 h 205174"/>
                    <a:gd name="connsiteX7" fmla="*/ 111918 w 312250"/>
                    <a:gd name="connsiteY7" fmla="*/ 4796 h 205174"/>
                    <a:gd name="connsiteX8" fmla="*/ 45243 w 312250"/>
                    <a:gd name="connsiteY8" fmla="*/ 33 h 205174"/>
                    <a:gd name="connsiteX9" fmla="*/ 14287 w 312250"/>
                    <a:gd name="connsiteY9" fmla="*/ 7177 h 205174"/>
                    <a:gd name="connsiteX10" fmla="*/ 4762 w 312250"/>
                    <a:gd name="connsiteY10" fmla="*/ 21465 h 205174"/>
                    <a:gd name="connsiteX11" fmla="*/ 0 w 312250"/>
                    <a:gd name="connsiteY11" fmla="*/ 28608 h 205174"/>
                    <a:gd name="connsiteX12" fmla="*/ 2381 w 312250"/>
                    <a:gd name="connsiteY12" fmla="*/ 54802 h 205174"/>
                    <a:gd name="connsiteX13" fmla="*/ 7143 w 312250"/>
                    <a:gd name="connsiteY13" fmla="*/ 61946 h 205174"/>
                    <a:gd name="connsiteX14" fmla="*/ 16668 w 312250"/>
                    <a:gd name="connsiteY14" fmla="*/ 76233 h 205174"/>
                    <a:gd name="connsiteX15" fmla="*/ 21431 w 312250"/>
                    <a:gd name="connsiteY15" fmla="*/ 90521 h 205174"/>
                    <a:gd name="connsiteX16" fmla="*/ 23812 w 312250"/>
                    <a:gd name="connsiteY16" fmla="*/ 97665 h 205174"/>
                    <a:gd name="connsiteX17" fmla="*/ 54768 w 312250"/>
                    <a:gd name="connsiteY17" fmla="*/ 104808 h 205174"/>
                    <a:gd name="connsiteX18" fmla="*/ 61912 w 312250"/>
                    <a:gd name="connsiteY18" fmla="*/ 107190 h 205174"/>
                    <a:gd name="connsiteX19" fmla="*/ 73818 w 312250"/>
                    <a:gd name="connsiteY19" fmla="*/ 109571 h 205174"/>
                    <a:gd name="connsiteX20" fmla="*/ 78581 w 312250"/>
                    <a:gd name="connsiteY20" fmla="*/ 116715 h 205174"/>
                    <a:gd name="connsiteX21" fmla="*/ 80962 w 312250"/>
                    <a:gd name="connsiteY21" fmla="*/ 123858 h 205174"/>
                    <a:gd name="connsiteX22" fmla="*/ 92868 w 312250"/>
                    <a:gd name="connsiteY22" fmla="*/ 161958 h 205174"/>
                    <a:gd name="connsiteX23" fmla="*/ 109537 w 312250"/>
                    <a:gd name="connsiteY23" fmla="*/ 166721 h 205174"/>
                    <a:gd name="connsiteX24" fmla="*/ 123825 w 312250"/>
                    <a:gd name="connsiteY24" fmla="*/ 171483 h 205174"/>
                    <a:gd name="connsiteX25" fmla="*/ 135731 w 312250"/>
                    <a:gd name="connsiteY25" fmla="*/ 188152 h 205174"/>
                    <a:gd name="connsiteX26" fmla="*/ 140493 w 312250"/>
                    <a:gd name="connsiteY26" fmla="*/ 195296 h 205174"/>
                    <a:gd name="connsiteX27" fmla="*/ 150018 w 312250"/>
                    <a:gd name="connsiteY27" fmla="*/ 197677 h 205174"/>
                    <a:gd name="connsiteX28" fmla="*/ 154781 w 312250"/>
                    <a:gd name="connsiteY28" fmla="*/ 204821 h 205174"/>
                    <a:gd name="connsiteX29" fmla="*/ 164306 w 312250"/>
                    <a:gd name="connsiteY29" fmla="*/ 202440 h 205174"/>
                    <a:gd name="connsiteX30" fmla="*/ 166687 w 312250"/>
                    <a:gd name="connsiteY30" fmla="*/ 195296 h 205174"/>
                    <a:gd name="connsiteX31" fmla="*/ 169068 w 312250"/>
                    <a:gd name="connsiteY31" fmla="*/ 181008 h 205174"/>
                    <a:gd name="connsiteX32" fmla="*/ 180975 w 312250"/>
                    <a:gd name="connsiteY32" fmla="*/ 159577 h 205174"/>
                    <a:gd name="connsiteX33" fmla="*/ 190500 w 312250"/>
                    <a:gd name="connsiteY33" fmla="*/ 138146 h 205174"/>
                    <a:gd name="connsiteX34" fmla="*/ 195262 w 312250"/>
                    <a:gd name="connsiteY34" fmla="*/ 104808 h 205174"/>
                    <a:gd name="connsiteX35" fmla="*/ 200025 w 312250"/>
                    <a:gd name="connsiteY35" fmla="*/ 97665 h 205174"/>
                    <a:gd name="connsiteX36" fmla="*/ 242887 w 312250"/>
                    <a:gd name="connsiteY36" fmla="*/ 71471 h 205174"/>
                    <a:gd name="connsiteX37" fmla="*/ 250031 w 312250"/>
                    <a:gd name="connsiteY37" fmla="*/ 69090 h 205174"/>
                    <a:gd name="connsiteX38" fmla="*/ 300037 w 312250"/>
                    <a:gd name="connsiteY38" fmla="*/ 69090 h 205174"/>
                    <a:gd name="connsiteX39" fmla="*/ 304800 w 312250"/>
                    <a:gd name="connsiteY39" fmla="*/ 73852 h 205174"/>
                    <a:gd name="connsiteX0" fmla="*/ 304800 w 312250"/>
                    <a:gd name="connsiteY0" fmla="*/ 73852 h 205174"/>
                    <a:gd name="connsiteX1" fmla="*/ 304800 w 312250"/>
                    <a:gd name="connsiteY1" fmla="*/ 73852 h 205174"/>
                    <a:gd name="connsiteX2" fmla="*/ 230981 w 312250"/>
                    <a:gd name="connsiteY2" fmla="*/ 35752 h 205174"/>
                    <a:gd name="connsiteX3" fmla="*/ 207168 w 312250"/>
                    <a:gd name="connsiteY3" fmla="*/ 23846 h 205174"/>
                    <a:gd name="connsiteX4" fmla="*/ 185737 w 312250"/>
                    <a:gd name="connsiteY4" fmla="*/ 4796 h 205174"/>
                    <a:gd name="connsiteX5" fmla="*/ 159543 w 312250"/>
                    <a:gd name="connsiteY5" fmla="*/ 9558 h 205174"/>
                    <a:gd name="connsiteX6" fmla="*/ 133350 w 312250"/>
                    <a:gd name="connsiteY6" fmla="*/ 11940 h 205174"/>
                    <a:gd name="connsiteX7" fmla="*/ 111918 w 312250"/>
                    <a:gd name="connsiteY7" fmla="*/ 4796 h 205174"/>
                    <a:gd name="connsiteX8" fmla="*/ 45243 w 312250"/>
                    <a:gd name="connsiteY8" fmla="*/ 33 h 205174"/>
                    <a:gd name="connsiteX9" fmla="*/ 14287 w 312250"/>
                    <a:gd name="connsiteY9" fmla="*/ 7177 h 205174"/>
                    <a:gd name="connsiteX10" fmla="*/ 4762 w 312250"/>
                    <a:gd name="connsiteY10" fmla="*/ 21465 h 205174"/>
                    <a:gd name="connsiteX11" fmla="*/ 0 w 312250"/>
                    <a:gd name="connsiteY11" fmla="*/ 28608 h 205174"/>
                    <a:gd name="connsiteX12" fmla="*/ 2381 w 312250"/>
                    <a:gd name="connsiteY12" fmla="*/ 54802 h 205174"/>
                    <a:gd name="connsiteX13" fmla="*/ 7143 w 312250"/>
                    <a:gd name="connsiteY13" fmla="*/ 61946 h 205174"/>
                    <a:gd name="connsiteX14" fmla="*/ 16668 w 312250"/>
                    <a:gd name="connsiteY14" fmla="*/ 76233 h 205174"/>
                    <a:gd name="connsiteX15" fmla="*/ 21431 w 312250"/>
                    <a:gd name="connsiteY15" fmla="*/ 90521 h 205174"/>
                    <a:gd name="connsiteX16" fmla="*/ 23812 w 312250"/>
                    <a:gd name="connsiteY16" fmla="*/ 97665 h 205174"/>
                    <a:gd name="connsiteX17" fmla="*/ 54768 w 312250"/>
                    <a:gd name="connsiteY17" fmla="*/ 104808 h 205174"/>
                    <a:gd name="connsiteX18" fmla="*/ 61912 w 312250"/>
                    <a:gd name="connsiteY18" fmla="*/ 107190 h 205174"/>
                    <a:gd name="connsiteX19" fmla="*/ 73818 w 312250"/>
                    <a:gd name="connsiteY19" fmla="*/ 109571 h 205174"/>
                    <a:gd name="connsiteX20" fmla="*/ 78581 w 312250"/>
                    <a:gd name="connsiteY20" fmla="*/ 116715 h 205174"/>
                    <a:gd name="connsiteX21" fmla="*/ 80962 w 312250"/>
                    <a:gd name="connsiteY21" fmla="*/ 123858 h 205174"/>
                    <a:gd name="connsiteX22" fmla="*/ 92868 w 312250"/>
                    <a:gd name="connsiteY22" fmla="*/ 161958 h 205174"/>
                    <a:gd name="connsiteX23" fmla="*/ 109537 w 312250"/>
                    <a:gd name="connsiteY23" fmla="*/ 166721 h 205174"/>
                    <a:gd name="connsiteX24" fmla="*/ 135731 w 312250"/>
                    <a:gd name="connsiteY24" fmla="*/ 188152 h 205174"/>
                    <a:gd name="connsiteX25" fmla="*/ 140493 w 312250"/>
                    <a:gd name="connsiteY25" fmla="*/ 195296 h 205174"/>
                    <a:gd name="connsiteX26" fmla="*/ 150018 w 312250"/>
                    <a:gd name="connsiteY26" fmla="*/ 197677 h 205174"/>
                    <a:gd name="connsiteX27" fmla="*/ 154781 w 312250"/>
                    <a:gd name="connsiteY27" fmla="*/ 204821 h 205174"/>
                    <a:gd name="connsiteX28" fmla="*/ 164306 w 312250"/>
                    <a:gd name="connsiteY28" fmla="*/ 202440 h 205174"/>
                    <a:gd name="connsiteX29" fmla="*/ 166687 w 312250"/>
                    <a:gd name="connsiteY29" fmla="*/ 195296 h 205174"/>
                    <a:gd name="connsiteX30" fmla="*/ 169068 w 312250"/>
                    <a:gd name="connsiteY30" fmla="*/ 181008 h 205174"/>
                    <a:gd name="connsiteX31" fmla="*/ 180975 w 312250"/>
                    <a:gd name="connsiteY31" fmla="*/ 159577 h 205174"/>
                    <a:gd name="connsiteX32" fmla="*/ 190500 w 312250"/>
                    <a:gd name="connsiteY32" fmla="*/ 138146 h 205174"/>
                    <a:gd name="connsiteX33" fmla="*/ 195262 w 312250"/>
                    <a:gd name="connsiteY33" fmla="*/ 104808 h 205174"/>
                    <a:gd name="connsiteX34" fmla="*/ 200025 w 312250"/>
                    <a:gd name="connsiteY34" fmla="*/ 97665 h 205174"/>
                    <a:gd name="connsiteX35" fmla="*/ 242887 w 312250"/>
                    <a:gd name="connsiteY35" fmla="*/ 71471 h 205174"/>
                    <a:gd name="connsiteX36" fmla="*/ 250031 w 312250"/>
                    <a:gd name="connsiteY36" fmla="*/ 69090 h 205174"/>
                    <a:gd name="connsiteX37" fmla="*/ 300037 w 312250"/>
                    <a:gd name="connsiteY37" fmla="*/ 69090 h 205174"/>
                    <a:gd name="connsiteX38" fmla="*/ 304800 w 312250"/>
                    <a:gd name="connsiteY38" fmla="*/ 73852 h 205174"/>
                    <a:gd name="connsiteX0" fmla="*/ 304800 w 312250"/>
                    <a:gd name="connsiteY0" fmla="*/ 73852 h 205174"/>
                    <a:gd name="connsiteX1" fmla="*/ 304800 w 312250"/>
                    <a:gd name="connsiteY1" fmla="*/ 73852 h 205174"/>
                    <a:gd name="connsiteX2" fmla="*/ 230981 w 312250"/>
                    <a:gd name="connsiteY2" fmla="*/ 35752 h 205174"/>
                    <a:gd name="connsiteX3" fmla="*/ 207168 w 312250"/>
                    <a:gd name="connsiteY3" fmla="*/ 23846 h 205174"/>
                    <a:gd name="connsiteX4" fmla="*/ 185737 w 312250"/>
                    <a:gd name="connsiteY4" fmla="*/ 4796 h 205174"/>
                    <a:gd name="connsiteX5" fmla="*/ 159543 w 312250"/>
                    <a:gd name="connsiteY5" fmla="*/ 9558 h 205174"/>
                    <a:gd name="connsiteX6" fmla="*/ 133350 w 312250"/>
                    <a:gd name="connsiteY6" fmla="*/ 11940 h 205174"/>
                    <a:gd name="connsiteX7" fmla="*/ 111918 w 312250"/>
                    <a:gd name="connsiteY7" fmla="*/ 4796 h 205174"/>
                    <a:gd name="connsiteX8" fmla="*/ 45243 w 312250"/>
                    <a:gd name="connsiteY8" fmla="*/ 33 h 205174"/>
                    <a:gd name="connsiteX9" fmla="*/ 14287 w 312250"/>
                    <a:gd name="connsiteY9" fmla="*/ 7177 h 205174"/>
                    <a:gd name="connsiteX10" fmla="*/ 4762 w 312250"/>
                    <a:gd name="connsiteY10" fmla="*/ 21465 h 205174"/>
                    <a:gd name="connsiteX11" fmla="*/ 0 w 312250"/>
                    <a:gd name="connsiteY11" fmla="*/ 28608 h 205174"/>
                    <a:gd name="connsiteX12" fmla="*/ 2381 w 312250"/>
                    <a:gd name="connsiteY12" fmla="*/ 54802 h 205174"/>
                    <a:gd name="connsiteX13" fmla="*/ 7143 w 312250"/>
                    <a:gd name="connsiteY13" fmla="*/ 61946 h 205174"/>
                    <a:gd name="connsiteX14" fmla="*/ 16668 w 312250"/>
                    <a:gd name="connsiteY14" fmla="*/ 76233 h 205174"/>
                    <a:gd name="connsiteX15" fmla="*/ 21431 w 312250"/>
                    <a:gd name="connsiteY15" fmla="*/ 90521 h 205174"/>
                    <a:gd name="connsiteX16" fmla="*/ 23812 w 312250"/>
                    <a:gd name="connsiteY16" fmla="*/ 97665 h 205174"/>
                    <a:gd name="connsiteX17" fmla="*/ 54768 w 312250"/>
                    <a:gd name="connsiteY17" fmla="*/ 104808 h 205174"/>
                    <a:gd name="connsiteX18" fmla="*/ 61912 w 312250"/>
                    <a:gd name="connsiteY18" fmla="*/ 107190 h 205174"/>
                    <a:gd name="connsiteX19" fmla="*/ 73818 w 312250"/>
                    <a:gd name="connsiteY19" fmla="*/ 109571 h 205174"/>
                    <a:gd name="connsiteX20" fmla="*/ 78581 w 312250"/>
                    <a:gd name="connsiteY20" fmla="*/ 116715 h 205174"/>
                    <a:gd name="connsiteX21" fmla="*/ 92868 w 312250"/>
                    <a:gd name="connsiteY21" fmla="*/ 161958 h 205174"/>
                    <a:gd name="connsiteX22" fmla="*/ 109537 w 312250"/>
                    <a:gd name="connsiteY22" fmla="*/ 166721 h 205174"/>
                    <a:gd name="connsiteX23" fmla="*/ 135731 w 312250"/>
                    <a:gd name="connsiteY23" fmla="*/ 188152 h 205174"/>
                    <a:gd name="connsiteX24" fmla="*/ 140493 w 312250"/>
                    <a:gd name="connsiteY24" fmla="*/ 195296 h 205174"/>
                    <a:gd name="connsiteX25" fmla="*/ 150018 w 312250"/>
                    <a:gd name="connsiteY25" fmla="*/ 197677 h 205174"/>
                    <a:gd name="connsiteX26" fmla="*/ 154781 w 312250"/>
                    <a:gd name="connsiteY26" fmla="*/ 204821 h 205174"/>
                    <a:gd name="connsiteX27" fmla="*/ 164306 w 312250"/>
                    <a:gd name="connsiteY27" fmla="*/ 202440 h 205174"/>
                    <a:gd name="connsiteX28" fmla="*/ 166687 w 312250"/>
                    <a:gd name="connsiteY28" fmla="*/ 195296 h 205174"/>
                    <a:gd name="connsiteX29" fmla="*/ 169068 w 312250"/>
                    <a:gd name="connsiteY29" fmla="*/ 181008 h 205174"/>
                    <a:gd name="connsiteX30" fmla="*/ 180975 w 312250"/>
                    <a:gd name="connsiteY30" fmla="*/ 159577 h 205174"/>
                    <a:gd name="connsiteX31" fmla="*/ 190500 w 312250"/>
                    <a:gd name="connsiteY31" fmla="*/ 138146 h 205174"/>
                    <a:gd name="connsiteX32" fmla="*/ 195262 w 312250"/>
                    <a:gd name="connsiteY32" fmla="*/ 104808 h 205174"/>
                    <a:gd name="connsiteX33" fmla="*/ 200025 w 312250"/>
                    <a:gd name="connsiteY33" fmla="*/ 97665 h 205174"/>
                    <a:gd name="connsiteX34" fmla="*/ 242887 w 312250"/>
                    <a:gd name="connsiteY34" fmla="*/ 71471 h 205174"/>
                    <a:gd name="connsiteX35" fmla="*/ 250031 w 312250"/>
                    <a:gd name="connsiteY35" fmla="*/ 69090 h 205174"/>
                    <a:gd name="connsiteX36" fmla="*/ 300037 w 312250"/>
                    <a:gd name="connsiteY36" fmla="*/ 69090 h 205174"/>
                    <a:gd name="connsiteX37" fmla="*/ 304800 w 312250"/>
                    <a:gd name="connsiteY37" fmla="*/ 73852 h 205174"/>
                    <a:gd name="connsiteX0" fmla="*/ 304800 w 312250"/>
                    <a:gd name="connsiteY0" fmla="*/ 73852 h 205174"/>
                    <a:gd name="connsiteX1" fmla="*/ 304800 w 312250"/>
                    <a:gd name="connsiteY1" fmla="*/ 73852 h 205174"/>
                    <a:gd name="connsiteX2" fmla="*/ 230981 w 312250"/>
                    <a:gd name="connsiteY2" fmla="*/ 35752 h 205174"/>
                    <a:gd name="connsiteX3" fmla="*/ 207168 w 312250"/>
                    <a:gd name="connsiteY3" fmla="*/ 23846 h 205174"/>
                    <a:gd name="connsiteX4" fmla="*/ 185737 w 312250"/>
                    <a:gd name="connsiteY4" fmla="*/ 4796 h 205174"/>
                    <a:gd name="connsiteX5" fmla="*/ 159543 w 312250"/>
                    <a:gd name="connsiteY5" fmla="*/ 9558 h 205174"/>
                    <a:gd name="connsiteX6" fmla="*/ 133350 w 312250"/>
                    <a:gd name="connsiteY6" fmla="*/ 11940 h 205174"/>
                    <a:gd name="connsiteX7" fmla="*/ 111918 w 312250"/>
                    <a:gd name="connsiteY7" fmla="*/ 4796 h 205174"/>
                    <a:gd name="connsiteX8" fmla="*/ 45243 w 312250"/>
                    <a:gd name="connsiteY8" fmla="*/ 33 h 205174"/>
                    <a:gd name="connsiteX9" fmla="*/ 14287 w 312250"/>
                    <a:gd name="connsiteY9" fmla="*/ 7177 h 205174"/>
                    <a:gd name="connsiteX10" fmla="*/ 4762 w 312250"/>
                    <a:gd name="connsiteY10" fmla="*/ 21465 h 205174"/>
                    <a:gd name="connsiteX11" fmla="*/ 0 w 312250"/>
                    <a:gd name="connsiteY11" fmla="*/ 28608 h 205174"/>
                    <a:gd name="connsiteX12" fmla="*/ 2381 w 312250"/>
                    <a:gd name="connsiteY12" fmla="*/ 54802 h 205174"/>
                    <a:gd name="connsiteX13" fmla="*/ 7143 w 312250"/>
                    <a:gd name="connsiteY13" fmla="*/ 61946 h 205174"/>
                    <a:gd name="connsiteX14" fmla="*/ 16668 w 312250"/>
                    <a:gd name="connsiteY14" fmla="*/ 76233 h 205174"/>
                    <a:gd name="connsiteX15" fmla="*/ 21431 w 312250"/>
                    <a:gd name="connsiteY15" fmla="*/ 90521 h 205174"/>
                    <a:gd name="connsiteX16" fmla="*/ 23812 w 312250"/>
                    <a:gd name="connsiteY16" fmla="*/ 97665 h 205174"/>
                    <a:gd name="connsiteX17" fmla="*/ 54768 w 312250"/>
                    <a:gd name="connsiteY17" fmla="*/ 104808 h 205174"/>
                    <a:gd name="connsiteX18" fmla="*/ 73818 w 312250"/>
                    <a:gd name="connsiteY18" fmla="*/ 109571 h 205174"/>
                    <a:gd name="connsiteX19" fmla="*/ 78581 w 312250"/>
                    <a:gd name="connsiteY19" fmla="*/ 116715 h 205174"/>
                    <a:gd name="connsiteX20" fmla="*/ 92868 w 312250"/>
                    <a:gd name="connsiteY20" fmla="*/ 161958 h 205174"/>
                    <a:gd name="connsiteX21" fmla="*/ 109537 w 312250"/>
                    <a:gd name="connsiteY21" fmla="*/ 166721 h 205174"/>
                    <a:gd name="connsiteX22" fmla="*/ 135731 w 312250"/>
                    <a:gd name="connsiteY22" fmla="*/ 188152 h 205174"/>
                    <a:gd name="connsiteX23" fmla="*/ 140493 w 312250"/>
                    <a:gd name="connsiteY23" fmla="*/ 195296 h 205174"/>
                    <a:gd name="connsiteX24" fmla="*/ 150018 w 312250"/>
                    <a:gd name="connsiteY24" fmla="*/ 197677 h 205174"/>
                    <a:gd name="connsiteX25" fmla="*/ 154781 w 312250"/>
                    <a:gd name="connsiteY25" fmla="*/ 204821 h 205174"/>
                    <a:gd name="connsiteX26" fmla="*/ 164306 w 312250"/>
                    <a:gd name="connsiteY26" fmla="*/ 202440 h 205174"/>
                    <a:gd name="connsiteX27" fmla="*/ 166687 w 312250"/>
                    <a:gd name="connsiteY27" fmla="*/ 195296 h 205174"/>
                    <a:gd name="connsiteX28" fmla="*/ 169068 w 312250"/>
                    <a:gd name="connsiteY28" fmla="*/ 181008 h 205174"/>
                    <a:gd name="connsiteX29" fmla="*/ 180975 w 312250"/>
                    <a:gd name="connsiteY29" fmla="*/ 159577 h 205174"/>
                    <a:gd name="connsiteX30" fmla="*/ 190500 w 312250"/>
                    <a:gd name="connsiteY30" fmla="*/ 138146 h 205174"/>
                    <a:gd name="connsiteX31" fmla="*/ 195262 w 312250"/>
                    <a:gd name="connsiteY31" fmla="*/ 104808 h 205174"/>
                    <a:gd name="connsiteX32" fmla="*/ 200025 w 312250"/>
                    <a:gd name="connsiteY32" fmla="*/ 97665 h 205174"/>
                    <a:gd name="connsiteX33" fmla="*/ 242887 w 312250"/>
                    <a:gd name="connsiteY33" fmla="*/ 71471 h 205174"/>
                    <a:gd name="connsiteX34" fmla="*/ 250031 w 312250"/>
                    <a:gd name="connsiteY34" fmla="*/ 69090 h 205174"/>
                    <a:gd name="connsiteX35" fmla="*/ 300037 w 312250"/>
                    <a:gd name="connsiteY35" fmla="*/ 69090 h 205174"/>
                    <a:gd name="connsiteX36" fmla="*/ 304800 w 312250"/>
                    <a:gd name="connsiteY36" fmla="*/ 73852 h 205174"/>
                    <a:gd name="connsiteX0" fmla="*/ 304800 w 312250"/>
                    <a:gd name="connsiteY0" fmla="*/ 73852 h 205174"/>
                    <a:gd name="connsiteX1" fmla="*/ 304800 w 312250"/>
                    <a:gd name="connsiteY1" fmla="*/ 73852 h 205174"/>
                    <a:gd name="connsiteX2" fmla="*/ 230981 w 312250"/>
                    <a:gd name="connsiteY2" fmla="*/ 35752 h 205174"/>
                    <a:gd name="connsiteX3" fmla="*/ 207168 w 312250"/>
                    <a:gd name="connsiteY3" fmla="*/ 23846 h 205174"/>
                    <a:gd name="connsiteX4" fmla="*/ 185737 w 312250"/>
                    <a:gd name="connsiteY4" fmla="*/ 4796 h 205174"/>
                    <a:gd name="connsiteX5" fmla="*/ 159543 w 312250"/>
                    <a:gd name="connsiteY5" fmla="*/ 9558 h 205174"/>
                    <a:gd name="connsiteX6" fmla="*/ 133350 w 312250"/>
                    <a:gd name="connsiteY6" fmla="*/ 11940 h 205174"/>
                    <a:gd name="connsiteX7" fmla="*/ 111918 w 312250"/>
                    <a:gd name="connsiteY7" fmla="*/ 4796 h 205174"/>
                    <a:gd name="connsiteX8" fmla="*/ 45243 w 312250"/>
                    <a:gd name="connsiteY8" fmla="*/ 33 h 205174"/>
                    <a:gd name="connsiteX9" fmla="*/ 14287 w 312250"/>
                    <a:gd name="connsiteY9" fmla="*/ 7177 h 205174"/>
                    <a:gd name="connsiteX10" fmla="*/ 4762 w 312250"/>
                    <a:gd name="connsiteY10" fmla="*/ 21465 h 205174"/>
                    <a:gd name="connsiteX11" fmla="*/ 0 w 312250"/>
                    <a:gd name="connsiteY11" fmla="*/ 28608 h 205174"/>
                    <a:gd name="connsiteX12" fmla="*/ 2381 w 312250"/>
                    <a:gd name="connsiteY12" fmla="*/ 54802 h 205174"/>
                    <a:gd name="connsiteX13" fmla="*/ 7143 w 312250"/>
                    <a:gd name="connsiteY13" fmla="*/ 61946 h 205174"/>
                    <a:gd name="connsiteX14" fmla="*/ 16668 w 312250"/>
                    <a:gd name="connsiteY14" fmla="*/ 76233 h 205174"/>
                    <a:gd name="connsiteX15" fmla="*/ 21431 w 312250"/>
                    <a:gd name="connsiteY15" fmla="*/ 90521 h 205174"/>
                    <a:gd name="connsiteX16" fmla="*/ 54768 w 312250"/>
                    <a:gd name="connsiteY16" fmla="*/ 104808 h 205174"/>
                    <a:gd name="connsiteX17" fmla="*/ 73818 w 312250"/>
                    <a:gd name="connsiteY17" fmla="*/ 109571 h 205174"/>
                    <a:gd name="connsiteX18" fmla="*/ 78581 w 312250"/>
                    <a:gd name="connsiteY18" fmla="*/ 116715 h 205174"/>
                    <a:gd name="connsiteX19" fmla="*/ 92868 w 312250"/>
                    <a:gd name="connsiteY19" fmla="*/ 161958 h 205174"/>
                    <a:gd name="connsiteX20" fmla="*/ 109537 w 312250"/>
                    <a:gd name="connsiteY20" fmla="*/ 166721 h 205174"/>
                    <a:gd name="connsiteX21" fmla="*/ 135731 w 312250"/>
                    <a:gd name="connsiteY21" fmla="*/ 188152 h 205174"/>
                    <a:gd name="connsiteX22" fmla="*/ 140493 w 312250"/>
                    <a:gd name="connsiteY22" fmla="*/ 195296 h 205174"/>
                    <a:gd name="connsiteX23" fmla="*/ 150018 w 312250"/>
                    <a:gd name="connsiteY23" fmla="*/ 197677 h 205174"/>
                    <a:gd name="connsiteX24" fmla="*/ 154781 w 312250"/>
                    <a:gd name="connsiteY24" fmla="*/ 204821 h 205174"/>
                    <a:gd name="connsiteX25" fmla="*/ 164306 w 312250"/>
                    <a:gd name="connsiteY25" fmla="*/ 202440 h 205174"/>
                    <a:gd name="connsiteX26" fmla="*/ 166687 w 312250"/>
                    <a:gd name="connsiteY26" fmla="*/ 195296 h 205174"/>
                    <a:gd name="connsiteX27" fmla="*/ 169068 w 312250"/>
                    <a:gd name="connsiteY27" fmla="*/ 181008 h 205174"/>
                    <a:gd name="connsiteX28" fmla="*/ 180975 w 312250"/>
                    <a:gd name="connsiteY28" fmla="*/ 159577 h 205174"/>
                    <a:gd name="connsiteX29" fmla="*/ 190500 w 312250"/>
                    <a:gd name="connsiteY29" fmla="*/ 138146 h 205174"/>
                    <a:gd name="connsiteX30" fmla="*/ 195262 w 312250"/>
                    <a:gd name="connsiteY30" fmla="*/ 104808 h 205174"/>
                    <a:gd name="connsiteX31" fmla="*/ 200025 w 312250"/>
                    <a:gd name="connsiteY31" fmla="*/ 97665 h 205174"/>
                    <a:gd name="connsiteX32" fmla="*/ 242887 w 312250"/>
                    <a:gd name="connsiteY32" fmla="*/ 71471 h 205174"/>
                    <a:gd name="connsiteX33" fmla="*/ 250031 w 312250"/>
                    <a:gd name="connsiteY33" fmla="*/ 69090 h 205174"/>
                    <a:gd name="connsiteX34" fmla="*/ 300037 w 312250"/>
                    <a:gd name="connsiteY34" fmla="*/ 69090 h 205174"/>
                    <a:gd name="connsiteX35" fmla="*/ 304800 w 312250"/>
                    <a:gd name="connsiteY35" fmla="*/ 73852 h 205174"/>
                    <a:gd name="connsiteX0" fmla="*/ 304800 w 312250"/>
                    <a:gd name="connsiteY0" fmla="*/ 73852 h 205174"/>
                    <a:gd name="connsiteX1" fmla="*/ 304800 w 312250"/>
                    <a:gd name="connsiteY1" fmla="*/ 73852 h 205174"/>
                    <a:gd name="connsiteX2" fmla="*/ 230981 w 312250"/>
                    <a:gd name="connsiteY2" fmla="*/ 35752 h 205174"/>
                    <a:gd name="connsiteX3" fmla="*/ 207168 w 312250"/>
                    <a:gd name="connsiteY3" fmla="*/ 23846 h 205174"/>
                    <a:gd name="connsiteX4" fmla="*/ 185737 w 312250"/>
                    <a:gd name="connsiteY4" fmla="*/ 4796 h 205174"/>
                    <a:gd name="connsiteX5" fmla="*/ 159543 w 312250"/>
                    <a:gd name="connsiteY5" fmla="*/ 9558 h 205174"/>
                    <a:gd name="connsiteX6" fmla="*/ 133350 w 312250"/>
                    <a:gd name="connsiteY6" fmla="*/ 11940 h 205174"/>
                    <a:gd name="connsiteX7" fmla="*/ 111918 w 312250"/>
                    <a:gd name="connsiteY7" fmla="*/ 4796 h 205174"/>
                    <a:gd name="connsiteX8" fmla="*/ 45243 w 312250"/>
                    <a:gd name="connsiteY8" fmla="*/ 33 h 205174"/>
                    <a:gd name="connsiteX9" fmla="*/ 14287 w 312250"/>
                    <a:gd name="connsiteY9" fmla="*/ 7177 h 205174"/>
                    <a:gd name="connsiteX10" fmla="*/ 4762 w 312250"/>
                    <a:gd name="connsiteY10" fmla="*/ 21465 h 205174"/>
                    <a:gd name="connsiteX11" fmla="*/ 0 w 312250"/>
                    <a:gd name="connsiteY11" fmla="*/ 28608 h 205174"/>
                    <a:gd name="connsiteX12" fmla="*/ 2381 w 312250"/>
                    <a:gd name="connsiteY12" fmla="*/ 54802 h 205174"/>
                    <a:gd name="connsiteX13" fmla="*/ 16668 w 312250"/>
                    <a:gd name="connsiteY13" fmla="*/ 76233 h 205174"/>
                    <a:gd name="connsiteX14" fmla="*/ 21431 w 312250"/>
                    <a:gd name="connsiteY14" fmla="*/ 90521 h 205174"/>
                    <a:gd name="connsiteX15" fmla="*/ 54768 w 312250"/>
                    <a:gd name="connsiteY15" fmla="*/ 104808 h 205174"/>
                    <a:gd name="connsiteX16" fmla="*/ 73818 w 312250"/>
                    <a:gd name="connsiteY16" fmla="*/ 109571 h 205174"/>
                    <a:gd name="connsiteX17" fmla="*/ 78581 w 312250"/>
                    <a:gd name="connsiteY17" fmla="*/ 116715 h 205174"/>
                    <a:gd name="connsiteX18" fmla="*/ 92868 w 312250"/>
                    <a:gd name="connsiteY18" fmla="*/ 161958 h 205174"/>
                    <a:gd name="connsiteX19" fmla="*/ 109537 w 312250"/>
                    <a:gd name="connsiteY19" fmla="*/ 166721 h 205174"/>
                    <a:gd name="connsiteX20" fmla="*/ 135731 w 312250"/>
                    <a:gd name="connsiteY20" fmla="*/ 188152 h 205174"/>
                    <a:gd name="connsiteX21" fmla="*/ 140493 w 312250"/>
                    <a:gd name="connsiteY21" fmla="*/ 195296 h 205174"/>
                    <a:gd name="connsiteX22" fmla="*/ 150018 w 312250"/>
                    <a:gd name="connsiteY22" fmla="*/ 197677 h 205174"/>
                    <a:gd name="connsiteX23" fmla="*/ 154781 w 312250"/>
                    <a:gd name="connsiteY23" fmla="*/ 204821 h 205174"/>
                    <a:gd name="connsiteX24" fmla="*/ 164306 w 312250"/>
                    <a:gd name="connsiteY24" fmla="*/ 202440 h 205174"/>
                    <a:gd name="connsiteX25" fmla="*/ 166687 w 312250"/>
                    <a:gd name="connsiteY25" fmla="*/ 195296 h 205174"/>
                    <a:gd name="connsiteX26" fmla="*/ 169068 w 312250"/>
                    <a:gd name="connsiteY26" fmla="*/ 181008 h 205174"/>
                    <a:gd name="connsiteX27" fmla="*/ 180975 w 312250"/>
                    <a:gd name="connsiteY27" fmla="*/ 159577 h 205174"/>
                    <a:gd name="connsiteX28" fmla="*/ 190500 w 312250"/>
                    <a:gd name="connsiteY28" fmla="*/ 138146 h 205174"/>
                    <a:gd name="connsiteX29" fmla="*/ 195262 w 312250"/>
                    <a:gd name="connsiteY29" fmla="*/ 104808 h 205174"/>
                    <a:gd name="connsiteX30" fmla="*/ 200025 w 312250"/>
                    <a:gd name="connsiteY30" fmla="*/ 97665 h 205174"/>
                    <a:gd name="connsiteX31" fmla="*/ 242887 w 312250"/>
                    <a:gd name="connsiteY31" fmla="*/ 71471 h 205174"/>
                    <a:gd name="connsiteX32" fmla="*/ 250031 w 312250"/>
                    <a:gd name="connsiteY32" fmla="*/ 69090 h 205174"/>
                    <a:gd name="connsiteX33" fmla="*/ 300037 w 312250"/>
                    <a:gd name="connsiteY33" fmla="*/ 69090 h 205174"/>
                    <a:gd name="connsiteX34" fmla="*/ 304800 w 312250"/>
                    <a:gd name="connsiteY34" fmla="*/ 73852 h 205174"/>
                    <a:gd name="connsiteX0" fmla="*/ 304800 w 312250"/>
                    <a:gd name="connsiteY0" fmla="*/ 73852 h 205174"/>
                    <a:gd name="connsiteX1" fmla="*/ 304800 w 312250"/>
                    <a:gd name="connsiteY1" fmla="*/ 73852 h 205174"/>
                    <a:gd name="connsiteX2" fmla="*/ 230981 w 312250"/>
                    <a:gd name="connsiteY2" fmla="*/ 35752 h 205174"/>
                    <a:gd name="connsiteX3" fmla="*/ 207168 w 312250"/>
                    <a:gd name="connsiteY3" fmla="*/ 23846 h 205174"/>
                    <a:gd name="connsiteX4" fmla="*/ 185737 w 312250"/>
                    <a:gd name="connsiteY4" fmla="*/ 4796 h 205174"/>
                    <a:gd name="connsiteX5" fmla="*/ 159543 w 312250"/>
                    <a:gd name="connsiteY5" fmla="*/ 9558 h 205174"/>
                    <a:gd name="connsiteX6" fmla="*/ 133350 w 312250"/>
                    <a:gd name="connsiteY6" fmla="*/ 11940 h 205174"/>
                    <a:gd name="connsiteX7" fmla="*/ 111918 w 312250"/>
                    <a:gd name="connsiteY7" fmla="*/ 4796 h 205174"/>
                    <a:gd name="connsiteX8" fmla="*/ 45243 w 312250"/>
                    <a:gd name="connsiteY8" fmla="*/ 33 h 205174"/>
                    <a:gd name="connsiteX9" fmla="*/ 14287 w 312250"/>
                    <a:gd name="connsiteY9" fmla="*/ 7177 h 205174"/>
                    <a:gd name="connsiteX10" fmla="*/ 4762 w 312250"/>
                    <a:gd name="connsiteY10" fmla="*/ 21465 h 205174"/>
                    <a:gd name="connsiteX11" fmla="*/ 0 w 312250"/>
                    <a:gd name="connsiteY11" fmla="*/ 28608 h 205174"/>
                    <a:gd name="connsiteX12" fmla="*/ 2381 w 312250"/>
                    <a:gd name="connsiteY12" fmla="*/ 54802 h 205174"/>
                    <a:gd name="connsiteX13" fmla="*/ 16668 w 312250"/>
                    <a:gd name="connsiteY13" fmla="*/ 76233 h 205174"/>
                    <a:gd name="connsiteX14" fmla="*/ 54768 w 312250"/>
                    <a:gd name="connsiteY14" fmla="*/ 104808 h 205174"/>
                    <a:gd name="connsiteX15" fmla="*/ 73818 w 312250"/>
                    <a:gd name="connsiteY15" fmla="*/ 109571 h 205174"/>
                    <a:gd name="connsiteX16" fmla="*/ 78581 w 312250"/>
                    <a:gd name="connsiteY16" fmla="*/ 116715 h 205174"/>
                    <a:gd name="connsiteX17" fmla="*/ 92868 w 312250"/>
                    <a:gd name="connsiteY17" fmla="*/ 161958 h 205174"/>
                    <a:gd name="connsiteX18" fmla="*/ 109537 w 312250"/>
                    <a:gd name="connsiteY18" fmla="*/ 166721 h 205174"/>
                    <a:gd name="connsiteX19" fmla="*/ 135731 w 312250"/>
                    <a:gd name="connsiteY19" fmla="*/ 188152 h 205174"/>
                    <a:gd name="connsiteX20" fmla="*/ 140493 w 312250"/>
                    <a:gd name="connsiteY20" fmla="*/ 195296 h 205174"/>
                    <a:gd name="connsiteX21" fmla="*/ 150018 w 312250"/>
                    <a:gd name="connsiteY21" fmla="*/ 197677 h 205174"/>
                    <a:gd name="connsiteX22" fmla="*/ 154781 w 312250"/>
                    <a:gd name="connsiteY22" fmla="*/ 204821 h 205174"/>
                    <a:gd name="connsiteX23" fmla="*/ 164306 w 312250"/>
                    <a:gd name="connsiteY23" fmla="*/ 202440 h 205174"/>
                    <a:gd name="connsiteX24" fmla="*/ 166687 w 312250"/>
                    <a:gd name="connsiteY24" fmla="*/ 195296 h 205174"/>
                    <a:gd name="connsiteX25" fmla="*/ 169068 w 312250"/>
                    <a:gd name="connsiteY25" fmla="*/ 181008 h 205174"/>
                    <a:gd name="connsiteX26" fmla="*/ 180975 w 312250"/>
                    <a:gd name="connsiteY26" fmla="*/ 159577 h 205174"/>
                    <a:gd name="connsiteX27" fmla="*/ 190500 w 312250"/>
                    <a:gd name="connsiteY27" fmla="*/ 138146 h 205174"/>
                    <a:gd name="connsiteX28" fmla="*/ 195262 w 312250"/>
                    <a:gd name="connsiteY28" fmla="*/ 104808 h 205174"/>
                    <a:gd name="connsiteX29" fmla="*/ 200025 w 312250"/>
                    <a:gd name="connsiteY29" fmla="*/ 97665 h 205174"/>
                    <a:gd name="connsiteX30" fmla="*/ 242887 w 312250"/>
                    <a:gd name="connsiteY30" fmla="*/ 71471 h 205174"/>
                    <a:gd name="connsiteX31" fmla="*/ 250031 w 312250"/>
                    <a:gd name="connsiteY31" fmla="*/ 69090 h 205174"/>
                    <a:gd name="connsiteX32" fmla="*/ 300037 w 312250"/>
                    <a:gd name="connsiteY32" fmla="*/ 69090 h 205174"/>
                    <a:gd name="connsiteX33" fmla="*/ 304800 w 312250"/>
                    <a:gd name="connsiteY33" fmla="*/ 73852 h 205174"/>
                    <a:gd name="connsiteX0" fmla="*/ 302419 w 309869"/>
                    <a:gd name="connsiteY0" fmla="*/ 73852 h 205174"/>
                    <a:gd name="connsiteX1" fmla="*/ 302419 w 309869"/>
                    <a:gd name="connsiteY1" fmla="*/ 73852 h 205174"/>
                    <a:gd name="connsiteX2" fmla="*/ 228600 w 309869"/>
                    <a:gd name="connsiteY2" fmla="*/ 35752 h 205174"/>
                    <a:gd name="connsiteX3" fmla="*/ 204787 w 309869"/>
                    <a:gd name="connsiteY3" fmla="*/ 23846 h 205174"/>
                    <a:gd name="connsiteX4" fmla="*/ 183356 w 309869"/>
                    <a:gd name="connsiteY4" fmla="*/ 4796 h 205174"/>
                    <a:gd name="connsiteX5" fmla="*/ 157162 w 309869"/>
                    <a:gd name="connsiteY5" fmla="*/ 9558 h 205174"/>
                    <a:gd name="connsiteX6" fmla="*/ 130969 w 309869"/>
                    <a:gd name="connsiteY6" fmla="*/ 11940 h 205174"/>
                    <a:gd name="connsiteX7" fmla="*/ 109537 w 309869"/>
                    <a:gd name="connsiteY7" fmla="*/ 4796 h 205174"/>
                    <a:gd name="connsiteX8" fmla="*/ 42862 w 309869"/>
                    <a:gd name="connsiteY8" fmla="*/ 33 h 205174"/>
                    <a:gd name="connsiteX9" fmla="*/ 11906 w 309869"/>
                    <a:gd name="connsiteY9" fmla="*/ 7177 h 205174"/>
                    <a:gd name="connsiteX10" fmla="*/ 2381 w 309869"/>
                    <a:gd name="connsiteY10" fmla="*/ 21465 h 205174"/>
                    <a:gd name="connsiteX11" fmla="*/ 0 w 309869"/>
                    <a:gd name="connsiteY11" fmla="*/ 54802 h 205174"/>
                    <a:gd name="connsiteX12" fmla="*/ 14287 w 309869"/>
                    <a:gd name="connsiteY12" fmla="*/ 76233 h 205174"/>
                    <a:gd name="connsiteX13" fmla="*/ 52387 w 309869"/>
                    <a:gd name="connsiteY13" fmla="*/ 104808 h 205174"/>
                    <a:gd name="connsiteX14" fmla="*/ 71437 w 309869"/>
                    <a:gd name="connsiteY14" fmla="*/ 109571 h 205174"/>
                    <a:gd name="connsiteX15" fmla="*/ 76200 w 309869"/>
                    <a:gd name="connsiteY15" fmla="*/ 116715 h 205174"/>
                    <a:gd name="connsiteX16" fmla="*/ 90487 w 309869"/>
                    <a:gd name="connsiteY16" fmla="*/ 161958 h 205174"/>
                    <a:gd name="connsiteX17" fmla="*/ 107156 w 309869"/>
                    <a:gd name="connsiteY17" fmla="*/ 166721 h 205174"/>
                    <a:gd name="connsiteX18" fmla="*/ 133350 w 309869"/>
                    <a:gd name="connsiteY18" fmla="*/ 188152 h 205174"/>
                    <a:gd name="connsiteX19" fmla="*/ 138112 w 309869"/>
                    <a:gd name="connsiteY19" fmla="*/ 195296 h 205174"/>
                    <a:gd name="connsiteX20" fmla="*/ 147637 w 309869"/>
                    <a:gd name="connsiteY20" fmla="*/ 197677 h 205174"/>
                    <a:gd name="connsiteX21" fmla="*/ 152400 w 309869"/>
                    <a:gd name="connsiteY21" fmla="*/ 204821 h 205174"/>
                    <a:gd name="connsiteX22" fmla="*/ 161925 w 309869"/>
                    <a:gd name="connsiteY22" fmla="*/ 202440 h 205174"/>
                    <a:gd name="connsiteX23" fmla="*/ 164306 w 309869"/>
                    <a:gd name="connsiteY23" fmla="*/ 195296 h 205174"/>
                    <a:gd name="connsiteX24" fmla="*/ 166687 w 309869"/>
                    <a:gd name="connsiteY24" fmla="*/ 181008 h 205174"/>
                    <a:gd name="connsiteX25" fmla="*/ 178594 w 309869"/>
                    <a:gd name="connsiteY25" fmla="*/ 159577 h 205174"/>
                    <a:gd name="connsiteX26" fmla="*/ 188119 w 309869"/>
                    <a:gd name="connsiteY26" fmla="*/ 138146 h 205174"/>
                    <a:gd name="connsiteX27" fmla="*/ 192881 w 309869"/>
                    <a:gd name="connsiteY27" fmla="*/ 104808 h 205174"/>
                    <a:gd name="connsiteX28" fmla="*/ 197644 w 309869"/>
                    <a:gd name="connsiteY28" fmla="*/ 97665 h 205174"/>
                    <a:gd name="connsiteX29" fmla="*/ 240506 w 309869"/>
                    <a:gd name="connsiteY29" fmla="*/ 71471 h 205174"/>
                    <a:gd name="connsiteX30" fmla="*/ 247650 w 309869"/>
                    <a:gd name="connsiteY30" fmla="*/ 69090 h 205174"/>
                    <a:gd name="connsiteX31" fmla="*/ 297656 w 309869"/>
                    <a:gd name="connsiteY31" fmla="*/ 69090 h 205174"/>
                    <a:gd name="connsiteX32" fmla="*/ 302419 w 309869"/>
                    <a:gd name="connsiteY32" fmla="*/ 73852 h 205174"/>
                    <a:gd name="connsiteX0" fmla="*/ 302419 w 309869"/>
                    <a:gd name="connsiteY0" fmla="*/ 73852 h 205174"/>
                    <a:gd name="connsiteX1" fmla="*/ 302419 w 309869"/>
                    <a:gd name="connsiteY1" fmla="*/ 73852 h 205174"/>
                    <a:gd name="connsiteX2" fmla="*/ 228600 w 309869"/>
                    <a:gd name="connsiteY2" fmla="*/ 35752 h 205174"/>
                    <a:gd name="connsiteX3" fmla="*/ 204787 w 309869"/>
                    <a:gd name="connsiteY3" fmla="*/ 11939 h 205174"/>
                    <a:gd name="connsiteX4" fmla="*/ 183356 w 309869"/>
                    <a:gd name="connsiteY4" fmla="*/ 4796 h 205174"/>
                    <a:gd name="connsiteX5" fmla="*/ 157162 w 309869"/>
                    <a:gd name="connsiteY5" fmla="*/ 9558 h 205174"/>
                    <a:gd name="connsiteX6" fmla="*/ 130969 w 309869"/>
                    <a:gd name="connsiteY6" fmla="*/ 11940 h 205174"/>
                    <a:gd name="connsiteX7" fmla="*/ 109537 w 309869"/>
                    <a:gd name="connsiteY7" fmla="*/ 4796 h 205174"/>
                    <a:gd name="connsiteX8" fmla="*/ 42862 w 309869"/>
                    <a:gd name="connsiteY8" fmla="*/ 33 h 205174"/>
                    <a:gd name="connsiteX9" fmla="*/ 11906 w 309869"/>
                    <a:gd name="connsiteY9" fmla="*/ 7177 h 205174"/>
                    <a:gd name="connsiteX10" fmla="*/ 2381 w 309869"/>
                    <a:gd name="connsiteY10" fmla="*/ 21465 h 205174"/>
                    <a:gd name="connsiteX11" fmla="*/ 0 w 309869"/>
                    <a:gd name="connsiteY11" fmla="*/ 54802 h 205174"/>
                    <a:gd name="connsiteX12" fmla="*/ 14287 w 309869"/>
                    <a:gd name="connsiteY12" fmla="*/ 76233 h 205174"/>
                    <a:gd name="connsiteX13" fmla="*/ 52387 w 309869"/>
                    <a:gd name="connsiteY13" fmla="*/ 104808 h 205174"/>
                    <a:gd name="connsiteX14" fmla="*/ 71437 w 309869"/>
                    <a:gd name="connsiteY14" fmla="*/ 109571 h 205174"/>
                    <a:gd name="connsiteX15" fmla="*/ 76200 w 309869"/>
                    <a:gd name="connsiteY15" fmla="*/ 116715 h 205174"/>
                    <a:gd name="connsiteX16" fmla="*/ 90487 w 309869"/>
                    <a:gd name="connsiteY16" fmla="*/ 161958 h 205174"/>
                    <a:gd name="connsiteX17" fmla="*/ 107156 w 309869"/>
                    <a:gd name="connsiteY17" fmla="*/ 166721 h 205174"/>
                    <a:gd name="connsiteX18" fmla="*/ 133350 w 309869"/>
                    <a:gd name="connsiteY18" fmla="*/ 188152 h 205174"/>
                    <a:gd name="connsiteX19" fmla="*/ 138112 w 309869"/>
                    <a:gd name="connsiteY19" fmla="*/ 195296 h 205174"/>
                    <a:gd name="connsiteX20" fmla="*/ 147637 w 309869"/>
                    <a:gd name="connsiteY20" fmla="*/ 197677 h 205174"/>
                    <a:gd name="connsiteX21" fmla="*/ 152400 w 309869"/>
                    <a:gd name="connsiteY21" fmla="*/ 204821 h 205174"/>
                    <a:gd name="connsiteX22" fmla="*/ 161925 w 309869"/>
                    <a:gd name="connsiteY22" fmla="*/ 202440 h 205174"/>
                    <a:gd name="connsiteX23" fmla="*/ 164306 w 309869"/>
                    <a:gd name="connsiteY23" fmla="*/ 195296 h 205174"/>
                    <a:gd name="connsiteX24" fmla="*/ 166687 w 309869"/>
                    <a:gd name="connsiteY24" fmla="*/ 181008 h 205174"/>
                    <a:gd name="connsiteX25" fmla="*/ 178594 w 309869"/>
                    <a:gd name="connsiteY25" fmla="*/ 159577 h 205174"/>
                    <a:gd name="connsiteX26" fmla="*/ 188119 w 309869"/>
                    <a:gd name="connsiteY26" fmla="*/ 138146 h 205174"/>
                    <a:gd name="connsiteX27" fmla="*/ 192881 w 309869"/>
                    <a:gd name="connsiteY27" fmla="*/ 104808 h 205174"/>
                    <a:gd name="connsiteX28" fmla="*/ 197644 w 309869"/>
                    <a:gd name="connsiteY28" fmla="*/ 97665 h 205174"/>
                    <a:gd name="connsiteX29" fmla="*/ 240506 w 309869"/>
                    <a:gd name="connsiteY29" fmla="*/ 71471 h 205174"/>
                    <a:gd name="connsiteX30" fmla="*/ 247650 w 309869"/>
                    <a:gd name="connsiteY30" fmla="*/ 69090 h 205174"/>
                    <a:gd name="connsiteX31" fmla="*/ 297656 w 309869"/>
                    <a:gd name="connsiteY31" fmla="*/ 69090 h 205174"/>
                    <a:gd name="connsiteX32" fmla="*/ 302419 w 309869"/>
                    <a:gd name="connsiteY32" fmla="*/ 73852 h 205174"/>
                    <a:gd name="connsiteX0" fmla="*/ 302419 w 309869"/>
                    <a:gd name="connsiteY0" fmla="*/ 73852 h 205174"/>
                    <a:gd name="connsiteX1" fmla="*/ 302419 w 309869"/>
                    <a:gd name="connsiteY1" fmla="*/ 73852 h 205174"/>
                    <a:gd name="connsiteX2" fmla="*/ 233363 w 309869"/>
                    <a:gd name="connsiteY2" fmla="*/ 28608 h 205174"/>
                    <a:gd name="connsiteX3" fmla="*/ 204787 w 309869"/>
                    <a:gd name="connsiteY3" fmla="*/ 11939 h 205174"/>
                    <a:gd name="connsiteX4" fmla="*/ 183356 w 309869"/>
                    <a:gd name="connsiteY4" fmla="*/ 4796 h 205174"/>
                    <a:gd name="connsiteX5" fmla="*/ 157162 w 309869"/>
                    <a:gd name="connsiteY5" fmla="*/ 9558 h 205174"/>
                    <a:gd name="connsiteX6" fmla="*/ 130969 w 309869"/>
                    <a:gd name="connsiteY6" fmla="*/ 11940 h 205174"/>
                    <a:gd name="connsiteX7" fmla="*/ 109537 w 309869"/>
                    <a:gd name="connsiteY7" fmla="*/ 4796 h 205174"/>
                    <a:gd name="connsiteX8" fmla="*/ 42862 w 309869"/>
                    <a:gd name="connsiteY8" fmla="*/ 33 h 205174"/>
                    <a:gd name="connsiteX9" fmla="*/ 11906 w 309869"/>
                    <a:gd name="connsiteY9" fmla="*/ 7177 h 205174"/>
                    <a:gd name="connsiteX10" fmla="*/ 2381 w 309869"/>
                    <a:gd name="connsiteY10" fmla="*/ 21465 h 205174"/>
                    <a:gd name="connsiteX11" fmla="*/ 0 w 309869"/>
                    <a:gd name="connsiteY11" fmla="*/ 54802 h 205174"/>
                    <a:gd name="connsiteX12" fmla="*/ 14287 w 309869"/>
                    <a:gd name="connsiteY12" fmla="*/ 76233 h 205174"/>
                    <a:gd name="connsiteX13" fmla="*/ 52387 w 309869"/>
                    <a:gd name="connsiteY13" fmla="*/ 104808 h 205174"/>
                    <a:gd name="connsiteX14" fmla="*/ 71437 w 309869"/>
                    <a:gd name="connsiteY14" fmla="*/ 109571 h 205174"/>
                    <a:gd name="connsiteX15" fmla="*/ 76200 w 309869"/>
                    <a:gd name="connsiteY15" fmla="*/ 116715 h 205174"/>
                    <a:gd name="connsiteX16" fmla="*/ 90487 w 309869"/>
                    <a:gd name="connsiteY16" fmla="*/ 161958 h 205174"/>
                    <a:gd name="connsiteX17" fmla="*/ 107156 w 309869"/>
                    <a:gd name="connsiteY17" fmla="*/ 166721 h 205174"/>
                    <a:gd name="connsiteX18" fmla="*/ 133350 w 309869"/>
                    <a:gd name="connsiteY18" fmla="*/ 188152 h 205174"/>
                    <a:gd name="connsiteX19" fmla="*/ 138112 w 309869"/>
                    <a:gd name="connsiteY19" fmla="*/ 195296 h 205174"/>
                    <a:gd name="connsiteX20" fmla="*/ 147637 w 309869"/>
                    <a:gd name="connsiteY20" fmla="*/ 197677 h 205174"/>
                    <a:gd name="connsiteX21" fmla="*/ 152400 w 309869"/>
                    <a:gd name="connsiteY21" fmla="*/ 204821 h 205174"/>
                    <a:gd name="connsiteX22" fmla="*/ 161925 w 309869"/>
                    <a:gd name="connsiteY22" fmla="*/ 202440 h 205174"/>
                    <a:gd name="connsiteX23" fmla="*/ 164306 w 309869"/>
                    <a:gd name="connsiteY23" fmla="*/ 195296 h 205174"/>
                    <a:gd name="connsiteX24" fmla="*/ 166687 w 309869"/>
                    <a:gd name="connsiteY24" fmla="*/ 181008 h 205174"/>
                    <a:gd name="connsiteX25" fmla="*/ 178594 w 309869"/>
                    <a:gd name="connsiteY25" fmla="*/ 159577 h 205174"/>
                    <a:gd name="connsiteX26" fmla="*/ 188119 w 309869"/>
                    <a:gd name="connsiteY26" fmla="*/ 138146 h 205174"/>
                    <a:gd name="connsiteX27" fmla="*/ 192881 w 309869"/>
                    <a:gd name="connsiteY27" fmla="*/ 104808 h 205174"/>
                    <a:gd name="connsiteX28" fmla="*/ 197644 w 309869"/>
                    <a:gd name="connsiteY28" fmla="*/ 97665 h 205174"/>
                    <a:gd name="connsiteX29" fmla="*/ 240506 w 309869"/>
                    <a:gd name="connsiteY29" fmla="*/ 71471 h 205174"/>
                    <a:gd name="connsiteX30" fmla="*/ 247650 w 309869"/>
                    <a:gd name="connsiteY30" fmla="*/ 69090 h 205174"/>
                    <a:gd name="connsiteX31" fmla="*/ 297656 w 309869"/>
                    <a:gd name="connsiteY31" fmla="*/ 69090 h 205174"/>
                    <a:gd name="connsiteX32" fmla="*/ 302419 w 309869"/>
                    <a:gd name="connsiteY32" fmla="*/ 73852 h 205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9869" h="205174">
                      <a:moveTo>
                        <a:pt x="302419" y="73852"/>
                      </a:moveTo>
                      <a:lnTo>
                        <a:pt x="302419" y="73852"/>
                      </a:lnTo>
                      <a:lnTo>
                        <a:pt x="233363" y="28608"/>
                      </a:lnTo>
                      <a:cubicBezTo>
                        <a:pt x="217091" y="18289"/>
                        <a:pt x="212328" y="17098"/>
                        <a:pt x="204787" y="11939"/>
                      </a:cubicBezTo>
                      <a:cubicBezTo>
                        <a:pt x="197246" y="6780"/>
                        <a:pt x="191293" y="5193"/>
                        <a:pt x="183356" y="4796"/>
                      </a:cubicBezTo>
                      <a:cubicBezTo>
                        <a:pt x="175419" y="4399"/>
                        <a:pt x="165893" y="8367"/>
                        <a:pt x="157162" y="9558"/>
                      </a:cubicBezTo>
                      <a:cubicBezTo>
                        <a:pt x="148431" y="10749"/>
                        <a:pt x="138906" y="12734"/>
                        <a:pt x="130969" y="11940"/>
                      </a:cubicBezTo>
                      <a:cubicBezTo>
                        <a:pt x="123032" y="11146"/>
                        <a:pt x="124221" y="6780"/>
                        <a:pt x="109537" y="4796"/>
                      </a:cubicBezTo>
                      <a:cubicBezTo>
                        <a:pt x="94853" y="2812"/>
                        <a:pt x="59134" y="-364"/>
                        <a:pt x="42862" y="33"/>
                      </a:cubicBezTo>
                      <a:cubicBezTo>
                        <a:pt x="33746" y="945"/>
                        <a:pt x="19393" y="-1380"/>
                        <a:pt x="11906" y="7177"/>
                      </a:cubicBezTo>
                      <a:cubicBezTo>
                        <a:pt x="8137" y="11485"/>
                        <a:pt x="5556" y="16702"/>
                        <a:pt x="2381" y="21465"/>
                      </a:cubicBezTo>
                      <a:lnTo>
                        <a:pt x="0" y="54802"/>
                      </a:lnTo>
                      <a:cubicBezTo>
                        <a:pt x="2778" y="62739"/>
                        <a:pt x="5556" y="67899"/>
                        <a:pt x="14287" y="76233"/>
                      </a:cubicBezTo>
                      <a:cubicBezTo>
                        <a:pt x="23018" y="84567"/>
                        <a:pt x="42862" y="99252"/>
                        <a:pt x="52387" y="104808"/>
                      </a:cubicBezTo>
                      <a:cubicBezTo>
                        <a:pt x="61912" y="110364"/>
                        <a:pt x="67468" y="107587"/>
                        <a:pt x="71437" y="109571"/>
                      </a:cubicBezTo>
                      <a:cubicBezTo>
                        <a:pt x="75406" y="111555"/>
                        <a:pt x="74612" y="114334"/>
                        <a:pt x="76200" y="116715"/>
                      </a:cubicBezTo>
                      <a:cubicBezTo>
                        <a:pt x="79375" y="125446"/>
                        <a:pt x="85328" y="153624"/>
                        <a:pt x="90487" y="161958"/>
                      </a:cubicBezTo>
                      <a:cubicBezTo>
                        <a:pt x="95646" y="170292"/>
                        <a:pt x="100012" y="162355"/>
                        <a:pt x="107156" y="166721"/>
                      </a:cubicBezTo>
                      <a:cubicBezTo>
                        <a:pt x="114300" y="171087"/>
                        <a:pt x="128191" y="183390"/>
                        <a:pt x="133350" y="188152"/>
                      </a:cubicBezTo>
                      <a:cubicBezTo>
                        <a:pt x="138509" y="192915"/>
                        <a:pt x="135731" y="193708"/>
                        <a:pt x="138112" y="195296"/>
                      </a:cubicBezTo>
                      <a:cubicBezTo>
                        <a:pt x="140835" y="197111"/>
                        <a:pt x="144462" y="196883"/>
                        <a:pt x="147637" y="197677"/>
                      </a:cubicBezTo>
                      <a:cubicBezTo>
                        <a:pt x="149225" y="200058"/>
                        <a:pt x="149685" y="203916"/>
                        <a:pt x="152400" y="204821"/>
                      </a:cubicBezTo>
                      <a:cubicBezTo>
                        <a:pt x="155505" y="205856"/>
                        <a:pt x="159369" y="204484"/>
                        <a:pt x="161925" y="202440"/>
                      </a:cubicBezTo>
                      <a:cubicBezTo>
                        <a:pt x="163885" y="200872"/>
                        <a:pt x="163762" y="197746"/>
                        <a:pt x="164306" y="195296"/>
                      </a:cubicBezTo>
                      <a:cubicBezTo>
                        <a:pt x="165353" y="190583"/>
                        <a:pt x="164306" y="186961"/>
                        <a:pt x="166687" y="181008"/>
                      </a:cubicBezTo>
                      <a:cubicBezTo>
                        <a:pt x="169068" y="175055"/>
                        <a:pt x="175022" y="166721"/>
                        <a:pt x="178594" y="159577"/>
                      </a:cubicBezTo>
                      <a:cubicBezTo>
                        <a:pt x="182166" y="152433"/>
                        <a:pt x="185738" y="147274"/>
                        <a:pt x="188119" y="138146"/>
                      </a:cubicBezTo>
                      <a:cubicBezTo>
                        <a:pt x="190500" y="129018"/>
                        <a:pt x="191294" y="115921"/>
                        <a:pt x="192881" y="104808"/>
                      </a:cubicBezTo>
                      <a:cubicBezTo>
                        <a:pt x="193481" y="102010"/>
                        <a:pt x="189706" y="103221"/>
                        <a:pt x="197644" y="97665"/>
                      </a:cubicBezTo>
                      <a:cubicBezTo>
                        <a:pt x="205582" y="92109"/>
                        <a:pt x="232172" y="76233"/>
                        <a:pt x="240506" y="71471"/>
                      </a:cubicBezTo>
                      <a:cubicBezTo>
                        <a:pt x="248840" y="66709"/>
                        <a:pt x="238125" y="69487"/>
                        <a:pt x="247650" y="69090"/>
                      </a:cubicBezTo>
                      <a:cubicBezTo>
                        <a:pt x="257175" y="68693"/>
                        <a:pt x="288528" y="68296"/>
                        <a:pt x="297656" y="69090"/>
                      </a:cubicBezTo>
                      <a:cubicBezTo>
                        <a:pt x="314293" y="66316"/>
                        <a:pt x="311944" y="71536"/>
                        <a:pt x="302419" y="73852"/>
                      </a:cubicBezTo>
                      <a:close/>
                    </a:path>
                  </a:pathLst>
                </a:custGeom>
                <a:grpFill/>
                <a:ln w="12700">
                  <a:solidFill>
                    <a:schemeClr val="bg1">
                      <a:alpha val="4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03" tIns="73103" rIns="73103" bIns="73103"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2" name="Latvia">
                  <a:extLst>
                    <a:ext uri="{FF2B5EF4-FFF2-40B4-BE49-F238E27FC236}">
                      <a16:creationId xmlns:a16="http://schemas.microsoft.com/office/drawing/2014/main" id="{4A147C37-951F-7776-F73A-A9F44E538E84}"/>
                    </a:ext>
                  </a:extLst>
                </p:cNvPr>
                <p:cNvSpPr>
                  <a:spLocks noGrp="1" noRot="1" noMove="1" noResize="1" noEditPoints="1" noAdjustHandles="1" noChangeArrowheads="1" noChangeShapeType="1"/>
                </p:cNvSpPr>
                <p:nvPr/>
              </p:nvSpPr>
              <p:spPr bwMode="gray">
                <a:xfrm>
                  <a:off x="5388769" y="3093074"/>
                  <a:ext cx="348759" cy="176382"/>
                </a:xfrm>
                <a:custGeom>
                  <a:avLst/>
                  <a:gdLst>
                    <a:gd name="connsiteX0" fmla="*/ 345281 w 348759"/>
                    <a:gd name="connsiteY0" fmla="*/ 93039 h 176382"/>
                    <a:gd name="connsiteX1" fmla="*/ 345281 w 348759"/>
                    <a:gd name="connsiteY1" fmla="*/ 93039 h 176382"/>
                    <a:gd name="connsiteX2" fmla="*/ 342900 w 348759"/>
                    <a:gd name="connsiteY2" fmla="*/ 35889 h 176382"/>
                    <a:gd name="connsiteX3" fmla="*/ 335756 w 348759"/>
                    <a:gd name="connsiteY3" fmla="*/ 31126 h 176382"/>
                    <a:gd name="connsiteX4" fmla="*/ 321469 w 348759"/>
                    <a:gd name="connsiteY4" fmla="*/ 26364 h 176382"/>
                    <a:gd name="connsiteX5" fmla="*/ 314325 w 348759"/>
                    <a:gd name="connsiteY5" fmla="*/ 21601 h 176382"/>
                    <a:gd name="connsiteX6" fmla="*/ 307181 w 348759"/>
                    <a:gd name="connsiteY6" fmla="*/ 35889 h 176382"/>
                    <a:gd name="connsiteX7" fmla="*/ 297656 w 348759"/>
                    <a:gd name="connsiteY7" fmla="*/ 38270 h 176382"/>
                    <a:gd name="connsiteX8" fmla="*/ 290512 w 348759"/>
                    <a:gd name="connsiteY8" fmla="*/ 40651 h 176382"/>
                    <a:gd name="connsiteX9" fmla="*/ 269081 w 348759"/>
                    <a:gd name="connsiteY9" fmla="*/ 35889 h 176382"/>
                    <a:gd name="connsiteX10" fmla="*/ 254794 w 348759"/>
                    <a:gd name="connsiteY10" fmla="*/ 21601 h 176382"/>
                    <a:gd name="connsiteX11" fmla="*/ 250031 w 348759"/>
                    <a:gd name="connsiteY11" fmla="*/ 14457 h 176382"/>
                    <a:gd name="connsiteX12" fmla="*/ 235744 w 348759"/>
                    <a:gd name="connsiteY12" fmla="*/ 9695 h 176382"/>
                    <a:gd name="connsiteX13" fmla="*/ 228600 w 348759"/>
                    <a:gd name="connsiteY13" fmla="*/ 7314 h 176382"/>
                    <a:gd name="connsiteX14" fmla="*/ 214312 w 348759"/>
                    <a:gd name="connsiteY14" fmla="*/ 170 h 176382"/>
                    <a:gd name="connsiteX15" fmla="*/ 211931 w 348759"/>
                    <a:gd name="connsiteY15" fmla="*/ 7314 h 176382"/>
                    <a:gd name="connsiteX16" fmla="*/ 204787 w 348759"/>
                    <a:gd name="connsiteY16" fmla="*/ 9695 h 176382"/>
                    <a:gd name="connsiteX17" fmla="*/ 197644 w 348759"/>
                    <a:gd name="connsiteY17" fmla="*/ 14457 h 176382"/>
                    <a:gd name="connsiteX18" fmla="*/ 173831 w 348759"/>
                    <a:gd name="connsiteY18" fmla="*/ 9695 h 176382"/>
                    <a:gd name="connsiteX19" fmla="*/ 169069 w 348759"/>
                    <a:gd name="connsiteY19" fmla="*/ 64464 h 176382"/>
                    <a:gd name="connsiteX20" fmla="*/ 166687 w 348759"/>
                    <a:gd name="connsiteY20" fmla="*/ 71607 h 176382"/>
                    <a:gd name="connsiteX21" fmla="*/ 159544 w 348759"/>
                    <a:gd name="connsiteY21" fmla="*/ 73989 h 176382"/>
                    <a:gd name="connsiteX22" fmla="*/ 152400 w 348759"/>
                    <a:gd name="connsiteY22" fmla="*/ 78751 h 176382"/>
                    <a:gd name="connsiteX23" fmla="*/ 138112 w 348759"/>
                    <a:gd name="connsiteY23" fmla="*/ 83514 h 176382"/>
                    <a:gd name="connsiteX24" fmla="*/ 97631 w 348759"/>
                    <a:gd name="connsiteY24" fmla="*/ 81132 h 176382"/>
                    <a:gd name="connsiteX25" fmla="*/ 92869 w 348759"/>
                    <a:gd name="connsiteY25" fmla="*/ 73989 h 176382"/>
                    <a:gd name="connsiteX26" fmla="*/ 85725 w 348759"/>
                    <a:gd name="connsiteY26" fmla="*/ 52557 h 176382"/>
                    <a:gd name="connsiteX27" fmla="*/ 76200 w 348759"/>
                    <a:gd name="connsiteY27" fmla="*/ 40651 h 176382"/>
                    <a:gd name="connsiteX28" fmla="*/ 61912 w 348759"/>
                    <a:gd name="connsiteY28" fmla="*/ 28745 h 176382"/>
                    <a:gd name="connsiteX29" fmla="*/ 42862 w 348759"/>
                    <a:gd name="connsiteY29" fmla="*/ 31126 h 176382"/>
                    <a:gd name="connsiteX30" fmla="*/ 35719 w 348759"/>
                    <a:gd name="connsiteY30" fmla="*/ 35889 h 176382"/>
                    <a:gd name="connsiteX31" fmla="*/ 23812 w 348759"/>
                    <a:gd name="connsiteY31" fmla="*/ 50176 h 176382"/>
                    <a:gd name="connsiteX32" fmla="*/ 16669 w 348759"/>
                    <a:gd name="connsiteY32" fmla="*/ 57320 h 176382"/>
                    <a:gd name="connsiteX33" fmla="*/ 9525 w 348759"/>
                    <a:gd name="connsiteY33" fmla="*/ 73989 h 176382"/>
                    <a:gd name="connsiteX34" fmla="*/ 4762 w 348759"/>
                    <a:gd name="connsiteY34" fmla="*/ 90657 h 176382"/>
                    <a:gd name="connsiteX35" fmla="*/ 0 w 348759"/>
                    <a:gd name="connsiteY35" fmla="*/ 107326 h 176382"/>
                    <a:gd name="connsiteX36" fmla="*/ 2381 w 348759"/>
                    <a:gd name="connsiteY36" fmla="*/ 135901 h 176382"/>
                    <a:gd name="connsiteX37" fmla="*/ 9525 w 348759"/>
                    <a:gd name="connsiteY37" fmla="*/ 133520 h 176382"/>
                    <a:gd name="connsiteX38" fmla="*/ 19050 w 348759"/>
                    <a:gd name="connsiteY38" fmla="*/ 119232 h 176382"/>
                    <a:gd name="connsiteX39" fmla="*/ 42862 w 348759"/>
                    <a:gd name="connsiteY39" fmla="*/ 116851 h 176382"/>
                    <a:gd name="connsiteX40" fmla="*/ 109537 w 348759"/>
                    <a:gd name="connsiteY40" fmla="*/ 119232 h 176382"/>
                    <a:gd name="connsiteX41" fmla="*/ 121444 w 348759"/>
                    <a:gd name="connsiteY41" fmla="*/ 121614 h 176382"/>
                    <a:gd name="connsiteX42" fmla="*/ 128587 w 348759"/>
                    <a:gd name="connsiteY42" fmla="*/ 128757 h 176382"/>
                    <a:gd name="connsiteX43" fmla="*/ 159544 w 348759"/>
                    <a:gd name="connsiteY43" fmla="*/ 126376 h 176382"/>
                    <a:gd name="connsiteX44" fmla="*/ 166687 w 348759"/>
                    <a:gd name="connsiteY44" fmla="*/ 123995 h 176382"/>
                    <a:gd name="connsiteX45" fmla="*/ 180975 w 348759"/>
                    <a:gd name="connsiteY45" fmla="*/ 121614 h 176382"/>
                    <a:gd name="connsiteX46" fmla="*/ 188119 w 348759"/>
                    <a:gd name="connsiteY46" fmla="*/ 119232 h 176382"/>
                    <a:gd name="connsiteX47" fmla="*/ 216694 w 348759"/>
                    <a:gd name="connsiteY47" fmla="*/ 123995 h 176382"/>
                    <a:gd name="connsiteX48" fmla="*/ 226219 w 348759"/>
                    <a:gd name="connsiteY48" fmla="*/ 138282 h 176382"/>
                    <a:gd name="connsiteX49" fmla="*/ 233362 w 348759"/>
                    <a:gd name="connsiteY49" fmla="*/ 145426 h 176382"/>
                    <a:gd name="connsiteX50" fmla="*/ 250031 w 348759"/>
                    <a:gd name="connsiteY50" fmla="*/ 154951 h 176382"/>
                    <a:gd name="connsiteX51" fmla="*/ 257175 w 348759"/>
                    <a:gd name="connsiteY51" fmla="*/ 157332 h 176382"/>
                    <a:gd name="connsiteX52" fmla="*/ 285750 w 348759"/>
                    <a:gd name="connsiteY52" fmla="*/ 159714 h 176382"/>
                    <a:gd name="connsiteX53" fmla="*/ 288131 w 348759"/>
                    <a:gd name="connsiteY53" fmla="*/ 166857 h 176382"/>
                    <a:gd name="connsiteX54" fmla="*/ 295275 w 348759"/>
                    <a:gd name="connsiteY54" fmla="*/ 171620 h 176382"/>
                    <a:gd name="connsiteX55" fmla="*/ 316706 w 348759"/>
                    <a:gd name="connsiteY55" fmla="*/ 176382 h 176382"/>
                    <a:gd name="connsiteX56" fmla="*/ 323850 w 348759"/>
                    <a:gd name="connsiteY56" fmla="*/ 138282 h 176382"/>
                    <a:gd name="connsiteX57" fmla="*/ 330994 w 348759"/>
                    <a:gd name="connsiteY57" fmla="*/ 133520 h 176382"/>
                    <a:gd name="connsiteX58" fmla="*/ 338137 w 348759"/>
                    <a:gd name="connsiteY58" fmla="*/ 119232 h 176382"/>
                    <a:gd name="connsiteX59" fmla="*/ 342900 w 348759"/>
                    <a:gd name="connsiteY59" fmla="*/ 112089 h 176382"/>
                    <a:gd name="connsiteX60" fmla="*/ 347662 w 348759"/>
                    <a:gd name="connsiteY60" fmla="*/ 83514 h 176382"/>
                    <a:gd name="connsiteX61" fmla="*/ 345281 w 348759"/>
                    <a:gd name="connsiteY61" fmla="*/ 93039 h 176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48759" h="176382">
                      <a:moveTo>
                        <a:pt x="345281" y="93039"/>
                      </a:moveTo>
                      <a:lnTo>
                        <a:pt x="345281" y="93039"/>
                      </a:lnTo>
                      <a:cubicBezTo>
                        <a:pt x="344487" y="73989"/>
                        <a:pt x="345799" y="54734"/>
                        <a:pt x="342900" y="35889"/>
                      </a:cubicBezTo>
                      <a:cubicBezTo>
                        <a:pt x="342465" y="33060"/>
                        <a:pt x="338371" y="32288"/>
                        <a:pt x="335756" y="31126"/>
                      </a:cubicBezTo>
                      <a:cubicBezTo>
                        <a:pt x="331169" y="29087"/>
                        <a:pt x="321469" y="26364"/>
                        <a:pt x="321469" y="26364"/>
                      </a:cubicBezTo>
                      <a:cubicBezTo>
                        <a:pt x="319088" y="24776"/>
                        <a:pt x="317132" y="21040"/>
                        <a:pt x="314325" y="21601"/>
                      </a:cubicBezTo>
                      <a:cubicBezTo>
                        <a:pt x="307765" y="22913"/>
                        <a:pt x="310822" y="32976"/>
                        <a:pt x="307181" y="35889"/>
                      </a:cubicBezTo>
                      <a:cubicBezTo>
                        <a:pt x="304625" y="37933"/>
                        <a:pt x="300803" y="37371"/>
                        <a:pt x="297656" y="38270"/>
                      </a:cubicBezTo>
                      <a:cubicBezTo>
                        <a:pt x="295242" y="38960"/>
                        <a:pt x="292893" y="39857"/>
                        <a:pt x="290512" y="40651"/>
                      </a:cubicBezTo>
                      <a:cubicBezTo>
                        <a:pt x="290151" y="40591"/>
                        <a:pt x="272278" y="38375"/>
                        <a:pt x="269081" y="35889"/>
                      </a:cubicBezTo>
                      <a:cubicBezTo>
                        <a:pt x="263765" y="31754"/>
                        <a:pt x="258530" y="27205"/>
                        <a:pt x="254794" y="21601"/>
                      </a:cubicBezTo>
                      <a:cubicBezTo>
                        <a:pt x="253206" y="19220"/>
                        <a:pt x="252458" y="15974"/>
                        <a:pt x="250031" y="14457"/>
                      </a:cubicBezTo>
                      <a:cubicBezTo>
                        <a:pt x="245774" y="11796"/>
                        <a:pt x="240506" y="11282"/>
                        <a:pt x="235744" y="9695"/>
                      </a:cubicBezTo>
                      <a:lnTo>
                        <a:pt x="228600" y="7314"/>
                      </a:lnTo>
                      <a:cubicBezTo>
                        <a:pt x="227397" y="6512"/>
                        <a:pt x="217129" y="-1239"/>
                        <a:pt x="214312" y="170"/>
                      </a:cubicBezTo>
                      <a:cubicBezTo>
                        <a:pt x="212067" y="1293"/>
                        <a:pt x="213706" y="5539"/>
                        <a:pt x="211931" y="7314"/>
                      </a:cubicBezTo>
                      <a:cubicBezTo>
                        <a:pt x="210156" y="9089"/>
                        <a:pt x="207168" y="8901"/>
                        <a:pt x="204787" y="9695"/>
                      </a:cubicBezTo>
                      <a:cubicBezTo>
                        <a:pt x="202406" y="11282"/>
                        <a:pt x="200491" y="14172"/>
                        <a:pt x="197644" y="14457"/>
                      </a:cubicBezTo>
                      <a:cubicBezTo>
                        <a:pt x="189225" y="15299"/>
                        <a:pt x="181499" y="12251"/>
                        <a:pt x="173831" y="9695"/>
                      </a:cubicBezTo>
                      <a:cubicBezTo>
                        <a:pt x="166028" y="33107"/>
                        <a:pt x="174083" y="6807"/>
                        <a:pt x="169069" y="64464"/>
                      </a:cubicBezTo>
                      <a:cubicBezTo>
                        <a:pt x="168852" y="66964"/>
                        <a:pt x="168462" y="69832"/>
                        <a:pt x="166687" y="71607"/>
                      </a:cubicBezTo>
                      <a:cubicBezTo>
                        <a:pt x="164912" y="73382"/>
                        <a:pt x="161789" y="72866"/>
                        <a:pt x="159544" y="73989"/>
                      </a:cubicBezTo>
                      <a:cubicBezTo>
                        <a:pt x="156984" y="75269"/>
                        <a:pt x="155015" y="77589"/>
                        <a:pt x="152400" y="78751"/>
                      </a:cubicBezTo>
                      <a:cubicBezTo>
                        <a:pt x="147812" y="80790"/>
                        <a:pt x="138112" y="83514"/>
                        <a:pt x="138112" y="83514"/>
                      </a:cubicBezTo>
                      <a:cubicBezTo>
                        <a:pt x="124618" y="82720"/>
                        <a:pt x="110858" y="83917"/>
                        <a:pt x="97631" y="81132"/>
                      </a:cubicBezTo>
                      <a:cubicBezTo>
                        <a:pt x="94831" y="80542"/>
                        <a:pt x="94031" y="76604"/>
                        <a:pt x="92869" y="73989"/>
                      </a:cubicBezTo>
                      <a:cubicBezTo>
                        <a:pt x="92864" y="73977"/>
                        <a:pt x="86918" y="56135"/>
                        <a:pt x="85725" y="52557"/>
                      </a:cubicBezTo>
                      <a:cubicBezTo>
                        <a:pt x="81817" y="40831"/>
                        <a:pt x="86142" y="48936"/>
                        <a:pt x="76200" y="40651"/>
                      </a:cubicBezTo>
                      <a:cubicBezTo>
                        <a:pt x="57872" y="25378"/>
                        <a:pt x="79642" y="40564"/>
                        <a:pt x="61912" y="28745"/>
                      </a:cubicBezTo>
                      <a:cubicBezTo>
                        <a:pt x="55562" y="29539"/>
                        <a:pt x="49036" y="29442"/>
                        <a:pt x="42862" y="31126"/>
                      </a:cubicBezTo>
                      <a:cubicBezTo>
                        <a:pt x="40101" y="31879"/>
                        <a:pt x="37917" y="34057"/>
                        <a:pt x="35719" y="35889"/>
                      </a:cubicBezTo>
                      <a:cubicBezTo>
                        <a:pt x="24335" y="45376"/>
                        <a:pt x="32326" y="39958"/>
                        <a:pt x="23812" y="50176"/>
                      </a:cubicBezTo>
                      <a:cubicBezTo>
                        <a:pt x="21656" y="52763"/>
                        <a:pt x="19050" y="54939"/>
                        <a:pt x="16669" y="57320"/>
                      </a:cubicBezTo>
                      <a:cubicBezTo>
                        <a:pt x="11711" y="77145"/>
                        <a:pt x="17747" y="57543"/>
                        <a:pt x="9525" y="73989"/>
                      </a:cubicBezTo>
                      <a:cubicBezTo>
                        <a:pt x="7623" y="77792"/>
                        <a:pt x="5778" y="87101"/>
                        <a:pt x="4762" y="90657"/>
                      </a:cubicBezTo>
                      <a:cubicBezTo>
                        <a:pt x="-2060" y="114530"/>
                        <a:pt x="7430" y="77602"/>
                        <a:pt x="0" y="107326"/>
                      </a:cubicBezTo>
                      <a:cubicBezTo>
                        <a:pt x="794" y="116851"/>
                        <a:pt x="-885" y="126918"/>
                        <a:pt x="2381" y="135901"/>
                      </a:cubicBezTo>
                      <a:cubicBezTo>
                        <a:pt x="3239" y="138260"/>
                        <a:pt x="7750" y="135295"/>
                        <a:pt x="9525" y="133520"/>
                      </a:cubicBezTo>
                      <a:cubicBezTo>
                        <a:pt x="13572" y="129473"/>
                        <a:pt x="13354" y="119802"/>
                        <a:pt x="19050" y="119232"/>
                      </a:cubicBezTo>
                      <a:lnTo>
                        <a:pt x="42862" y="116851"/>
                      </a:lnTo>
                      <a:cubicBezTo>
                        <a:pt x="65087" y="117645"/>
                        <a:pt x="87339" y="117887"/>
                        <a:pt x="109537" y="119232"/>
                      </a:cubicBezTo>
                      <a:cubicBezTo>
                        <a:pt x="113577" y="119477"/>
                        <a:pt x="117824" y="119804"/>
                        <a:pt x="121444" y="121614"/>
                      </a:cubicBezTo>
                      <a:cubicBezTo>
                        <a:pt x="124456" y="123120"/>
                        <a:pt x="126206" y="126376"/>
                        <a:pt x="128587" y="128757"/>
                      </a:cubicBezTo>
                      <a:cubicBezTo>
                        <a:pt x="138906" y="127963"/>
                        <a:pt x="149274" y="127660"/>
                        <a:pt x="159544" y="126376"/>
                      </a:cubicBezTo>
                      <a:cubicBezTo>
                        <a:pt x="162034" y="126065"/>
                        <a:pt x="164237" y="124539"/>
                        <a:pt x="166687" y="123995"/>
                      </a:cubicBezTo>
                      <a:cubicBezTo>
                        <a:pt x="171400" y="122948"/>
                        <a:pt x="176212" y="122408"/>
                        <a:pt x="180975" y="121614"/>
                      </a:cubicBezTo>
                      <a:cubicBezTo>
                        <a:pt x="183356" y="120820"/>
                        <a:pt x="185609" y="119232"/>
                        <a:pt x="188119" y="119232"/>
                      </a:cubicBezTo>
                      <a:cubicBezTo>
                        <a:pt x="204066" y="119232"/>
                        <a:pt x="205518" y="120270"/>
                        <a:pt x="216694" y="123995"/>
                      </a:cubicBezTo>
                      <a:cubicBezTo>
                        <a:pt x="219869" y="128757"/>
                        <a:pt x="222172" y="134234"/>
                        <a:pt x="226219" y="138282"/>
                      </a:cubicBezTo>
                      <a:cubicBezTo>
                        <a:pt x="228600" y="140663"/>
                        <a:pt x="230775" y="143270"/>
                        <a:pt x="233362" y="145426"/>
                      </a:cubicBezTo>
                      <a:cubicBezTo>
                        <a:pt x="237583" y="148944"/>
                        <a:pt x="245234" y="152895"/>
                        <a:pt x="250031" y="154951"/>
                      </a:cubicBezTo>
                      <a:cubicBezTo>
                        <a:pt x="252338" y="155940"/>
                        <a:pt x="254687" y="157000"/>
                        <a:pt x="257175" y="157332"/>
                      </a:cubicBezTo>
                      <a:cubicBezTo>
                        <a:pt x="266649" y="158595"/>
                        <a:pt x="276225" y="158920"/>
                        <a:pt x="285750" y="159714"/>
                      </a:cubicBezTo>
                      <a:cubicBezTo>
                        <a:pt x="286544" y="162095"/>
                        <a:pt x="286563" y="164897"/>
                        <a:pt x="288131" y="166857"/>
                      </a:cubicBezTo>
                      <a:cubicBezTo>
                        <a:pt x="289919" y="169092"/>
                        <a:pt x="292715" y="170340"/>
                        <a:pt x="295275" y="171620"/>
                      </a:cubicBezTo>
                      <a:cubicBezTo>
                        <a:pt x="301136" y="174550"/>
                        <a:pt x="311221" y="175468"/>
                        <a:pt x="316706" y="176382"/>
                      </a:cubicBezTo>
                      <a:cubicBezTo>
                        <a:pt x="317724" y="163145"/>
                        <a:pt x="313784" y="148348"/>
                        <a:pt x="323850" y="138282"/>
                      </a:cubicBezTo>
                      <a:cubicBezTo>
                        <a:pt x="325874" y="136258"/>
                        <a:pt x="328613" y="135107"/>
                        <a:pt x="330994" y="133520"/>
                      </a:cubicBezTo>
                      <a:cubicBezTo>
                        <a:pt x="344650" y="113032"/>
                        <a:pt x="328271" y="138963"/>
                        <a:pt x="338137" y="119232"/>
                      </a:cubicBezTo>
                      <a:cubicBezTo>
                        <a:pt x="339417" y="116672"/>
                        <a:pt x="341312" y="114470"/>
                        <a:pt x="342900" y="112089"/>
                      </a:cubicBezTo>
                      <a:cubicBezTo>
                        <a:pt x="348217" y="96135"/>
                        <a:pt x="343103" y="113142"/>
                        <a:pt x="347662" y="83514"/>
                      </a:cubicBezTo>
                      <a:cubicBezTo>
                        <a:pt x="351007" y="61775"/>
                        <a:pt x="345678" y="91452"/>
                        <a:pt x="345281" y="93039"/>
                      </a:cubicBezTo>
                      <a:close/>
                    </a:path>
                  </a:pathLst>
                </a:custGeom>
                <a:grpFill/>
                <a:ln w="12700">
                  <a:solidFill>
                    <a:schemeClr val="bg1">
                      <a:alpha val="4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03" tIns="73103" rIns="73103" bIns="73103"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53" name="Italy">
                  <a:extLst>
                    <a:ext uri="{FF2B5EF4-FFF2-40B4-BE49-F238E27FC236}">
                      <a16:creationId xmlns:a16="http://schemas.microsoft.com/office/drawing/2014/main" id="{088AB522-BA32-0CF6-6410-1A5021BA42C3}"/>
                    </a:ext>
                  </a:extLst>
                </p:cNvPr>
                <p:cNvGrpSpPr>
                  <a:grpSpLocks noGrp="1" noUngrp="1" noRot="1" noMove="1" noResize="1"/>
                </p:cNvGrpSpPr>
                <p:nvPr/>
              </p:nvGrpSpPr>
              <p:grpSpPr>
                <a:xfrm>
                  <a:off x="4706408" y="3897554"/>
                  <a:ext cx="583339" cy="683086"/>
                  <a:chOff x="4912078" y="3283397"/>
                  <a:chExt cx="291623" cy="341543"/>
                </a:xfrm>
                <a:grpFill/>
              </p:grpSpPr>
              <p:sp>
                <p:nvSpPr>
                  <p:cNvPr id="180" name="Italy">
                    <a:extLst>
                      <a:ext uri="{FF2B5EF4-FFF2-40B4-BE49-F238E27FC236}">
                        <a16:creationId xmlns:a16="http://schemas.microsoft.com/office/drawing/2014/main" id="{DFD83181-B187-999C-DEE1-36C75A5116EA}"/>
                      </a:ext>
                    </a:extLst>
                  </p:cNvPr>
                  <p:cNvSpPr>
                    <a:spLocks noGrp="1" noRot="1" noMove="1" noResize="1" noEditPoints="1" noAdjustHandles="1" noChangeArrowheads="1" noChangeShapeType="1"/>
                  </p:cNvSpPr>
                  <p:nvPr/>
                </p:nvSpPr>
                <p:spPr bwMode="gray">
                  <a:xfrm>
                    <a:off x="4948531" y="3478565"/>
                    <a:ext cx="38598" cy="73188"/>
                  </a:xfrm>
                  <a:custGeom>
                    <a:avLst/>
                    <a:gdLst/>
                    <a:ahLst/>
                    <a:cxnLst>
                      <a:cxn ang="0">
                        <a:pos x="0" y="5"/>
                      </a:cxn>
                      <a:cxn ang="0">
                        <a:pos x="0" y="5"/>
                      </a:cxn>
                      <a:cxn ang="0">
                        <a:pos x="4" y="30"/>
                      </a:cxn>
                      <a:cxn ang="0">
                        <a:pos x="12" y="32"/>
                      </a:cxn>
                      <a:cxn ang="0">
                        <a:pos x="20" y="13"/>
                      </a:cxn>
                      <a:cxn ang="0">
                        <a:pos x="13" y="0"/>
                      </a:cxn>
                      <a:cxn ang="0">
                        <a:pos x="0" y="5"/>
                      </a:cxn>
                      <a:cxn ang="0">
                        <a:pos x="0" y="5"/>
                      </a:cxn>
                    </a:cxnLst>
                    <a:rect l="0" t="0" r="r" b="b"/>
                    <a:pathLst>
                      <a:path w="21" h="33">
                        <a:moveTo>
                          <a:pt x="0" y="5"/>
                        </a:moveTo>
                        <a:lnTo>
                          <a:pt x="0" y="5"/>
                        </a:lnTo>
                        <a:lnTo>
                          <a:pt x="4" y="30"/>
                        </a:lnTo>
                        <a:lnTo>
                          <a:pt x="12" y="32"/>
                        </a:lnTo>
                        <a:lnTo>
                          <a:pt x="20" y="13"/>
                        </a:lnTo>
                        <a:lnTo>
                          <a:pt x="13" y="0"/>
                        </a:lnTo>
                        <a:lnTo>
                          <a:pt x="0" y="5"/>
                        </a:lnTo>
                        <a:lnTo>
                          <a:pt x="0" y="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81" name="Italy">
                    <a:extLst>
                      <a:ext uri="{FF2B5EF4-FFF2-40B4-BE49-F238E27FC236}">
                        <a16:creationId xmlns:a16="http://schemas.microsoft.com/office/drawing/2014/main" id="{13B18CF1-8793-231F-853F-9B701A9F7BA5}"/>
                      </a:ext>
                    </a:extLst>
                  </p:cNvPr>
                  <p:cNvSpPr>
                    <a:spLocks noGrp="1" noRot="1" noMove="1" noResize="1" noEditPoints="1" noAdjustHandles="1" noChangeArrowheads="1" noChangeShapeType="1"/>
                  </p:cNvSpPr>
                  <p:nvPr/>
                </p:nvSpPr>
                <p:spPr bwMode="gray">
                  <a:xfrm>
                    <a:off x="5055745" y="3576148"/>
                    <a:ext cx="77195" cy="48792"/>
                  </a:xfrm>
                  <a:custGeom>
                    <a:avLst/>
                    <a:gdLst/>
                    <a:ahLst/>
                    <a:cxnLst>
                      <a:cxn ang="0">
                        <a:pos x="0" y="5"/>
                      </a:cxn>
                      <a:cxn ang="0">
                        <a:pos x="0" y="5"/>
                      </a:cxn>
                      <a:cxn ang="0">
                        <a:pos x="35" y="21"/>
                      </a:cxn>
                      <a:cxn ang="0">
                        <a:pos x="42" y="0"/>
                      </a:cxn>
                      <a:cxn ang="0">
                        <a:pos x="0" y="5"/>
                      </a:cxn>
                      <a:cxn ang="0">
                        <a:pos x="0" y="5"/>
                      </a:cxn>
                    </a:cxnLst>
                    <a:rect l="0" t="0" r="r" b="b"/>
                    <a:pathLst>
                      <a:path w="43" h="22">
                        <a:moveTo>
                          <a:pt x="0" y="5"/>
                        </a:moveTo>
                        <a:lnTo>
                          <a:pt x="0" y="5"/>
                        </a:lnTo>
                        <a:lnTo>
                          <a:pt x="35" y="21"/>
                        </a:lnTo>
                        <a:lnTo>
                          <a:pt x="42" y="0"/>
                        </a:lnTo>
                        <a:lnTo>
                          <a:pt x="0" y="5"/>
                        </a:lnTo>
                        <a:lnTo>
                          <a:pt x="0" y="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82" name="Italy">
                    <a:extLst>
                      <a:ext uri="{FF2B5EF4-FFF2-40B4-BE49-F238E27FC236}">
                        <a16:creationId xmlns:a16="http://schemas.microsoft.com/office/drawing/2014/main" id="{1657EDB9-4242-5D6E-7954-1007B04AA97E}"/>
                      </a:ext>
                    </a:extLst>
                  </p:cNvPr>
                  <p:cNvSpPr>
                    <a:spLocks noGrp="1" noRot="1" noMove="1" noResize="1" noEditPoints="1" noAdjustHandles="1" noChangeArrowheads="1" noChangeShapeType="1"/>
                  </p:cNvSpPr>
                  <p:nvPr/>
                </p:nvSpPr>
                <p:spPr bwMode="gray">
                  <a:xfrm>
                    <a:off x="4912078" y="3283397"/>
                    <a:ext cx="291623" cy="306058"/>
                  </a:xfrm>
                  <a:custGeom>
                    <a:avLst/>
                    <a:gdLst/>
                    <a:ahLst/>
                    <a:cxnLst>
                      <a:cxn ang="0">
                        <a:pos x="0" y="34"/>
                      </a:cxn>
                      <a:cxn ang="0">
                        <a:pos x="0" y="34"/>
                      </a:cxn>
                      <a:cxn ang="0">
                        <a:pos x="3" y="18"/>
                      </a:cxn>
                      <a:cxn ang="0">
                        <a:pos x="23" y="10"/>
                      </a:cxn>
                      <a:cxn ang="0">
                        <a:pos x="31" y="17"/>
                      </a:cxn>
                      <a:cxn ang="0">
                        <a:pos x="50" y="3"/>
                      </a:cxn>
                      <a:cxn ang="0">
                        <a:pos x="71" y="0"/>
                      </a:cxn>
                      <a:cxn ang="0">
                        <a:pos x="94" y="9"/>
                      </a:cxn>
                      <a:cxn ang="0">
                        <a:pos x="94" y="24"/>
                      </a:cxn>
                      <a:cxn ang="0">
                        <a:pos x="76" y="26"/>
                      </a:cxn>
                      <a:cxn ang="0">
                        <a:pos x="78" y="45"/>
                      </a:cxn>
                      <a:cxn ang="0">
                        <a:pos x="108" y="75"/>
                      </a:cxn>
                      <a:cxn ang="0">
                        <a:pos x="127" y="77"/>
                      </a:cxn>
                      <a:cxn ang="0">
                        <a:pos x="125" y="84"/>
                      </a:cxn>
                      <a:cxn ang="0">
                        <a:pos x="159" y="103"/>
                      </a:cxn>
                      <a:cxn ang="0">
                        <a:pos x="136" y="100"/>
                      </a:cxn>
                      <a:cxn ang="0">
                        <a:pos x="141" y="119"/>
                      </a:cxn>
                      <a:cxn ang="0">
                        <a:pos x="127" y="135"/>
                      </a:cxn>
                      <a:cxn ang="0">
                        <a:pos x="121" y="103"/>
                      </a:cxn>
                      <a:cxn ang="0">
                        <a:pos x="61" y="70"/>
                      </a:cxn>
                      <a:cxn ang="0">
                        <a:pos x="47" y="48"/>
                      </a:cxn>
                      <a:cxn ang="0">
                        <a:pos x="28" y="40"/>
                      </a:cxn>
                      <a:cxn ang="0">
                        <a:pos x="10" y="49"/>
                      </a:cxn>
                      <a:cxn ang="0">
                        <a:pos x="0" y="34"/>
                      </a:cxn>
                      <a:cxn ang="0">
                        <a:pos x="0" y="34"/>
                      </a:cxn>
                    </a:cxnLst>
                    <a:rect l="0" t="0" r="r" b="b"/>
                    <a:pathLst>
                      <a:path w="160" h="136">
                        <a:moveTo>
                          <a:pt x="0" y="34"/>
                        </a:moveTo>
                        <a:lnTo>
                          <a:pt x="0" y="34"/>
                        </a:lnTo>
                        <a:lnTo>
                          <a:pt x="3" y="18"/>
                        </a:lnTo>
                        <a:lnTo>
                          <a:pt x="23" y="10"/>
                        </a:lnTo>
                        <a:lnTo>
                          <a:pt x="31" y="17"/>
                        </a:lnTo>
                        <a:lnTo>
                          <a:pt x="50" y="3"/>
                        </a:lnTo>
                        <a:lnTo>
                          <a:pt x="71" y="0"/>
                        </a:lnTo>
                        <a:lnTo>
                          <a:pt x="94" y="9"/>
                        </a:lnTo>
                        <a:lnTo>
                          <a:pt x="94" y="24"/>
                        </a:lnTo>
                        <a:lnTo>
                          <a:pt x="76" y="26"/>
                        </a:lnTo>
                        <a:lnTo>
                          <a:pt x="78" y="45"/>
                        </a:lnTo>
                        <a:lnTo>
                          <a:pt x="108" y="75"/>
                        </a:lnTo>
                        <a:lnTo>
                          <a:pt x="127" y="77"/>
                        </a:lnTo>
                        <a:lnTo>
                          <a:pt x="125" y="84"/>
                        </a:lnTo>
                        <a:lnTo>
                          <a:pt x="159" y="103"/>
                        </a:lnTo>
                        <a:lnTo>
                          <a:pt x="136" y="100"/>
                        </a:lnTo>
                        <a:lnTo>
                          <a:pt x="141" y="119"/>
                        </a:lnTo>
                        <a:lnTo>
                          <a:pt x="127" y="135"/>
                        </a:lnTo>
                        <a:lnTo>
                          <a:pt x="121" y="103"/>
                        </a:lnTo>
                        <a:lnTo>
                          <a:pt x="61" y="70"/>
                        </a:lnTo>
                        <a:lnTo>
                          <a:pt x="47" y="48"/>
                        </a:lnTo>
                        <a:lnTo>
                          <a:pt x="28" y="40"/>
                        </a:lnTo>
                        <a:lnTo>
                          <a:pt x="10" y="49"/>
                        </a:lnTo>
                        <a:lnTo>
                          <a:pt x="0" y="34"/>
                        </a:lnTo>
                        <a:lnTo>
                          <a:pt x="0" y="34"/>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154" name="Ireland">
                  <a:extLst>
                    <a:ext uri="{FF2B5EF4-FFF2-40B4-BE49-F238E27FC236}">
                      <a16:creationId xmlns:a16="http://schemas.microsoft.com/office/drawing/2014/main" id="{E1BD94F4-99D8-F720-59E7-423553FC208C}"/>
                    </a:ext>
                  </a:extLst>
                </p:cNvPr>
                <p:cNvSpPr>
                  <a:spLocks noGrp="1" noRot="1" noMove="1" noResize="1" noEditPoints="1" noAdjustHandles="1" noChangeArrowheads="1" noChangeShapeType="1"/>
                </p:cNvSpPr>
                <p:nvPr/>
              </p:nvSpPr>
              <p:spPr bwMode="gray">
                <a:xfrm>
                  <a:off x="3870000" y="3316488"/>
                  <a:ext cx="205885" cy="266136"/>
                </a:xfrm>
                <a:custGeom>
                  <a:avLst/>
                  <a:gdLst/>
                  <a:ahLst/>
                  <a:cxnLst>
                    <a:cxn ang="0">
                      <a:pos x="0" y="48"/>
                    </a:cxn>
                    <a:cxn ang="0">
                      <a:pos x="0" y="48"/>
                    </a:cxn>
                    <a:cxn ang="0">
                      <a:pos x="7" y="54"/>
                    </a:cxn>
                    <a:cxn ang="0">
                      <a:pos x="1" y="58"/>
                    </a:cxn>
                    <a:cxn ang="0">
                      <a:pos x="51" y="49"/>
                    </a:cxn>
                    <a:cxn ang="0">
                      <a:pos x="55" y="19"/>
                    </a:cxn>
                    <a:cxn ang="0">
                      <a:pos x="48" y="11"/>
                    </a:cxn>
                    <a:cxn ang="0">
                      <a:pos x="34" y="15"/>
                    </a:cxn>
                    <a:cxn ang="0">
                      <a:pos x="29" y="11"/>
                    </a:cxn>
                    <a:cxn ang="0">
                      <a:pos x="35" y="3"/>
                    </a:cxn>
                    <a:cxn ang="0">
                      <a:pos x="29" y="0"/>
                    </a:cxn>
                    <a:cxn ang="0">
                      <a:pos x="23" y="15"/>
                    </a:cxn>
                    <a:cxn ang="0">
                      <a:pos x="1" y="19"/>
                    </a:cxn>
                    <a:cxn ang="0">
                      <a:pos x="8" y="22"/>
                    </a:cxn>
                    <a:cxn ang="0">
                      <a:pos x="4" y="30"/>
                    </a:cxn>
                    <a:cxn ang="0">
                      <a:pos x="18" y="33"/>
                    </a:cxn>
                    <a:cxn ang="0">
                      <a:pos x="5" y="43"/>
                    </a:cxn>
                    <a:cxn ang="0">
                      <a:pos x="20" y="41"/>
                    </a:cxn>
                    <a:cxn ang="0">
                      <a:pos x="0" y="48"/>
                    </a:cxn>
                    <a:cxn ang="0">
                      <a:pos x="0" y="48"/>
                    </a:cxn>
                  </a:cxnLst>
                  <a:rect l="0" t="0" r="r" b="b"/>
                  <a:pathLst>
                    <a:path w="56" h="59">
                      <a:moveTo>
                        <a:pt x="0" y="48"/>
                      </a:moveTo>
                      <a:lnTo>
                        <a:pt x="0" y="48"/>
                      </a:lnTo>
                      <a:lnTo>
                        <a:pt x="7" y="54"/>
                      </a:lnTo>
                      <a:lnTo>
                        <a:pt x="1" y="58"/>
                      </a:lnTo>
                      <a:lnTo>
                        <a:pt x="51" y="49"/>
                      </a:lnTo>
                      <a:lnTo>
                        <a:pt x="55" y="19"/>
                      </a:lnTo>
                      <a:lnTo>
                        <a:pt x="48" y="11"/>
                      </a:lnTo>
                      <a:lnTo>
                        <a:pt x="34" y="15"/>
                      </a:lnTo>
                      <a:lnTo>
                        <a:pt x="29" y="11"/>
                      </a:lnTo>
                      <a:lnTo>
                        <a:pt x="35" y="3"/>
                      </a:lnTo>
                      <a:lnTo>
                        <a:pt x="29" y="0"/>
                      </a:lnTo>
                      <a:lnTo>
                        <a:pt x="23" y="15"/>
                      </a:lnTo>
                      <a:lnTo>
                        <a:pt x="1" y="19"/>
                      </a:lnTo>
                      <a:lnTo>
                        <a:pt x="8" y="22"/>
                      </a:lnTo>
                      <a:lnTo>
                        <a:pt x="4" y="30"/>
                      </a:lnTo>
                      <a:lnTo>
                        <a:pt x="18" y="33"/>
                      </a:lnTo>
                      <a:lnTo>
                        <a:pt x="5" y="43"/>
                      </a:lnTo>
                      <a:lnTo>
                        <a:pt x="20" y="41"/>
                      </a:lnTo>
                      <a:lnTo>
                        <a:pt x="0" y="48"/>
                      </a:lnTo>
                      <a:lnTo>
                        <a:pt x="0" y="4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5" name="Iceland">
                  <a:extLst>
                    <a:ext uri="{FF2B5EF4-FFF2-40B4-BE49-F238E27FC236}">
                      <a16:creationId xmlns:a16="http://schemas.microsoft.com/office/drawing/2014/main" id="{69673D22-DCBB-F32B-82B8-28DE991A8299}"/>
                    </a:ext>
                  </a:extLst>
                </p:cNvPr>
                <p:cNvSpPr>
                  <a:spLocks noGrp="1" noRot="1" noMove="1" noResize="1" noEditPoints="1" noAdjustHandles="1" noChangeArrowheads="1" noChangeShapeType="1"/>
                </p:cNvSpPr>
                <p:nvPr/>
              </p:nvSpPr>
              <p:spPr bwMode="gray">
                <a:xfrm>
                  <a:off x="3161859" y="2365836"/>
                  <a:ext cx="549026" cy="283880"/>
                </a:xfrm>
                <a:custGeom>
                  <a:avLst/>
                  <a:gdLst/>
                  <a:ahLst/>
                  <a:cxnLst>
                    <a:cxn ang="0">
                      <a:pos x="0" y="23"/>
                    </a:cxn>
                    <a:cxn ang="0">
                      <a:pos x="0" y="23"/>
                    </a:cxn>
                    <a:cxn ang="0">
                      <a:pos x="9" y="19"/>
                    </a:cxn>
                    <a:cxn ang="0">
                      <a:pos x="4" y="14"/>
                    </a:cxn>
                    <a:cxn ang="0">
                      <a:pos x="17" y="17"/>
                    </a:cxn>
                    <a:cxn ang="0">
                      <a:pos x="11" y="8"/>
                    </a:cxn>
                    <a:cxn ang="0">
                      <a:pos x="26" y="14"/>
                    </a:cxn>
                    <a:cxn ang="0">
                      <a:pos x="18" y="1"/>
                    </a:cxn>
                    <a:cxn ang="0">
                      <a:pos x="42" y="10"/>
                    </a:cxn>
                    <a:cxn ang="0">
                      <a:pos x="44" y="27"/>
                    </a:cxn>
                    <a:cxn ang="0">
                      <a:pos x="56" y="9"/>
                    </a:cxn>
                    <a:cxn ang="0">
                      <a:pos x="68" y="15"/>
                    </a:cxn>
                    <a:cxn ang="0">
                      <a:pos x="78" y="7"/>
                    </a:cxn>
                    <a:cxn ang="0">
                      <a:pos x="86" y="18"/>
                    </a:cxn>
                    <a:cxn ang="0">
                      <a:pos x="84" y="8"/>
                    </a:cxn>
                    <a:cxn ang="0">
                      <a:pos x="109" y="8"/>
                    </a:cxn>
                    <a:cxn ang="0">
                      <a:pos x="112" y="0"/>
                    </a:cxn>
                    <a:cxn ang="0">
                      <a:pos x="123" y="7"/>
                    </a:cxn>
                    <a:cxn ang="0">
                      <a:pos x="136" y="4"/>
                    </a:cxn>
                    <a:cxn ang="0">
                      <a:pos x="127" y="9"/>
                    </a:cxn>
                    <a:cxn ang="0">
                      <a:pos x="150" y="28"/>
                    </a:cxn>
                    <a:cxn ang="0">
                      <a:pos x="130" y="46"/>
                    </a:cxn>
                    <a:cxn ang="0">
                      <a:pos x="74" y="62"/>
                    </a:cxn>
                    <a:cxn ang="0">
                      <a:pos x="25" y="55"/>
                    </a:cxn>
                    <a:cxn ang="0">
                      <a:pos x="37" y="38"/>
                    </a:cxn>
                    <a:cxn ang="0">
                      <a:pos x="8" y="33"/>
                    </a:cxn>
                    <a:cxn ang="0">
                      <a:pos x="36" y="32"/>
                    </a:cxn>
                    <a:cxn ang="0">
                      <a:pos x="26" y="27"/>
                    </a:cxn>
                    <a:cxn ang="0">
                      <a:pos x="36" y="23"/>
                    </a:cxn>
                    <a:cxn ang="0">
                      <a:pos x="0" y="23"/>
                    </a:cxn>
                    <a:cxn ang="0">
                      <a:pos x="0" y="23"/>
                    </a:cxn>
                  </a:cxnLst>
                  <a:rect l="0" t="0" r="r" b="b"/>
                  <a:pathLst>
                    <a:path w="151" h="63">
                      <a:moveTo>
                        <a:pt x="0" y="23"/>
                      </a:moveTo>
                      <a:lnTo>
                        <a:pt x="0" y="23"/>
                      </a:lnTo>
                      <a:lnTo>
                        <a:pt x="9" y="19"/>
                      </a:lnTo>
                      <a:lnTo>
                        <a:pt x="4" y="14"/>
                      </a:lnTo>
                      <a:lnTo>
                        <a:pt x="17" y="17"/>
                      </a:lnTo>
                      <a:lnTo>
                        <a:pt x="11" y="8"/>
                      </a:lnTo>
                      <a:lnTo>
                        <a:pt x="26" y="14"/>
                      </a:lnTo>
                      <a:lnTo>
                        <a:pt x="18" y="1"/>
                      </a:lnTo>
                      <a:lnTo>
                        <a:pt x="42" y="10"/>
                      </a:lnTo>
                      <a:lnTo>
                        <a:pt x="44" y="27"/>
                      </a:lnTo>
                      <a:lnTo>
                        <a:pt x="56" y="9"/>
                      </a:lnTo>
                      <a:lnTo>
                        <a:pt x="68" y="15"/>
                      </a:lnTo>
                      <a:lnTo>
                        <a:pt x="78" y="7"/>
                      </a:lnTo>
                      <a:lnTo>
                        <a:pt x="86" y="18"/>
                      </a:lnTo>
                      <a:lnTo>
                        <a:pt x="84" y="8"/>
                      </a:lnTo>
                      <a:lnTo>
                        <a:pt x="109" y="8"/>
                      </a:lnTo>
                      <a:lnTo>
                        <a:pt x="112" y="0"/>
                      </a:lnTo>
                      <a:lnTo>
                        <a:pt x="123" y="7"/>
                      </a:lnTo>
                      <a:lnTo>
                        <a:pt x="136" y="4"/>
                      </a:lnTo>
                      <a:lnTo>
                        <a:pt x="127" y="9"/>
                      </a:lnTo>
                      <a:lnTo>
                        <a:pt x="150" y="28"/>
                      </a:lnTo>
                      <a:lnTo>
                        <a:pt x="130" y="46"/>
                      </a:lnTo>
                      <a:lnTo>
                        <a:pt x="74" y="62"/>
                      </a:lnTo>
                      <a:lnTo>
                        <a:pt x="25" y="55"/>
                      </a:lnTo>
                      <a:lnTo>
                        <a:pt x="37" y="38"/>
                      </a:lnTo>
                      <a:lnTo>
                        <a:pt x="8" y="33"/>
                      </a:lnTo>
                      <a:lnTo>
                        <a:pt x="36" y="32"/>
                      </a:lnTo>
                      <a:lnTo>
                        <a:pt x="26" y="27"/>
                      </a:lnTo>
                      <a:lnTo>
                        <a:pt x="36" y="23"/>
                      </a:lnTo>
                      <a:lnTo>
                        <a:pt x="0" y="23"/>
                      </a:lnTo>
                      <a:lnTo>
                        <a:pt x="0" y="23"/>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6" name="Hungary">
                  <a:extLst>
                    <a:ext uri="{FF2B5EF4-FFF2-40B4-BE49-F238E27FC236}">
                      <a16:creationId xmlns:a16="http://schemas.microsoft.com/office/drawing/2014/main" id="{2B9C6B57-3CFD-613F-DDC4-05CB30AF03BC}"/>
                    </a:ext>
                  </a:extLst>
                </p:cNvPr>
                <p:cNvSpPr>
                  <a:spLocks noGrp="1" noRot="1" noMove="1" noResize="1" noEditPoints="1" noAdjustHandles="1" noChangeArrowheads="1" noChangeShapeType="1"/>
                </p:cNvSpPr>
                <p:nvPr/>
              </p:nvSpPr>
              <p:spPr bwMode="gray">
                <a:xfrm>
                  <a:off x="5169649" y="3795536"/>
                  <a:ext cx="334564" cy="195166"/>
                </a:xfrm>
                <a:custGeom>
                  <a:avLst/>
                  <a:gdLst/>
                  <a:ahLst/>
                  <a:cxnLst>
                    <a:cxn ang="0">
                      <a:pos x="0" y="25"/>
                    </a:cxn>
                    <a:cxn ang="0">
                      <a:pos x="0" y="25"/>
                    </a:cxn>
                    <a:cxn ang="0">
                      <a:pos x="14" y="6"/>
                    </a:cxn>
                    <a:cxn ang="0">
                      <a:pos x="32" y="12"/>
                    </a:cxn>
                    <a:cxn ang="0">
                      <a:pos x="64" y="0"/>
                    </a:cxn>
                    <a:cxn ang="0">
                      <a:pos x="82" y="2"/>
                    </a:cxn>
                    <a:cxn ang="0">
                      <a:pos x="91" y="9"/>
                    </a:cxn>
                    <a:cxn ang="0">
                      <a:pos x="56" y="38"/>
                    </a:cxn>
                    <a:cxn ang="0">
                      <a:pos x="26" y="42"/>
                    </a:cxn>
                    <a:cxn ang="0">
                      <a:pos x="0" y="25"/>
                    </a:cxn>
                    <a:cxn ang="0">
                      <a:pos x="0" y="25"/>
                    </a:cxn>
                  </a:cxnLst>
                  <a:rect l="0" t="0" r="r" b="b"/>
                  <a:pathLst>
                    <a:path w="92" h="43">
                      <a:moveTo>
                        <a:pt x="0" y="25"/>
                      </a:moveTo>
                      <a:lnTo>
                        <a:pt x="0" y="25"/>
                      </a:lnTo>
                      <a:lnTo>
                        <a:pt x="14" y="6"/>
                      </a:lnTo>
                      <a:lnTo>
                        <a:pt x="32" y="12"/>
                      </a:lnTo>
                      <a:lnTo>
                        <a:pt x="64" y="0"/>
                      </a:lnTo>
                      <a:lnTo>
                        <a:pt x="82" y="2"/>
                      </a:lnTo>
                      <a:lnTo>
                        <a:pt x="91" y="9"/>
                      </a:lnTo>
                      <a:lnTo>
                        <a:pt x="56" y="38"/>
                      </a:lnTo>
                      <a:lnTo>
                        <a:pt x="26" y="42"/>
                      </a:lnTo>
                      <a:lnTo>
                        <a:pt x="0" y="25"/>
                      </a:lnTo>
                      <a:lnTo>
                        <a:pt x="0" y="2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57" name="Greece">
                  <a:extLst>
                    <a:ext uri="{FF2B5EF4-FFF2-40B4-BE49-F238E27FC236}">
                      <a16:creationId xmlns:a16="http://schemas.microsoft.com/office/drawing/2014/main" id="{AD85E941-7C0E-7995-D762-6B1F709EBC0A}"/>
                    </a:ext>
                  </a:extLst>
                </p:cNvPr>
                <p:cNvGrpSpPr>
                  <a:grpSpLocks noGrp="1" noUngrp="1" noRot="1" noMove="1" noResize="1"/>
                </p:cNvGrpSpPr>
                <p:nvPr/>
              </p:nvGrpSpPr>
              <p:grpSpPr>
                <a:xfrm>
                  <a:off x="5371245" y="4252404"/>
                  <a:ext cx="313118" cy="425820"/>
                  <a:chOff x="5244443" y="3460822"/>
                  <a:chExt cx="156534" cy="212910"/>
                </a:xfrm>
                <a:grpFill/>
              </p:grpSpPr>
              <p:sp>
                <p:nvSpPr>
                  <p:cNvPr id="178" name="Greece">
                    <a:extLst>
                      <a:ext uri="{FF2B5EF4-FFF2-40B4-BE49-F238E27FC236}">
                        <a16:creationId xmlns:a16="http://schemas.microsoft.com/office/drawing/2014/main" id="{E782799D-5692-7A53-0363-FA504E546A3C}"/>
                      </a:ext>
                    </a:extLst>
                  </p:cNvPr>
                  <p:cNvSpPr>
                    <a:spLocks noGrp="1" noRot="1" noMove="1" noResize="1" noEditPoints="1" noAdjustHandles="1" noChangeArrowheads="1" noChangeShapeType="1"/>
                  </p:cNvSpPr>
                  <p:nvPr/>
                </p:nvSpPr>
                <p:spPr bwMode="gray">
                  <a:xfrm>
                    <a:off x="5244443" y="3460822"/>
                    <a:ext cx="156534" cy="172989"/>
                  </a:xfrm>
                  <a:custGeom>
                    <a:avLst/>
                    <a:gdLst/>
                    <a:ahLst/>
                    <a:cxnLst>
                      <a:cxn ang="0">
                        <a:pos x="0" y="31"/>
                      </a:cxn>
                      <a:cxn ang="0">
                        <a:pos x="0" y="31"/>
                      </a:cxn>
                      <a:cxn ang="0">
                        <a:pos x="12" y="14"/>
                      </a:cxn>
                      <a:cxn ang="0">
                        <a:pos x="39" y="7"/>
                      </a:cxn>
                      <a:cxn ang="0">
                        <a:pos x="72" y="8"/>
                      </a:cxn>
                      <a:cxn ang="0">
                        <a:pos x="85" y="0"/>
                      </a:cxn>
                      <a:cxn ang="0">
                        <a:pos x="81" y="16"/>
                      </a:cxn>
                      <a:cxn ang="0">
                        <a:pos x="58" y="13"/>
                      </a:cxn>
                      <a:cxn ang="0">
                        <a:pos x="46" y="26"/>
                      </a:cxn>
                      <a:cxn ang="0">
                        <a:pos x="34" y="19"/>
                      </a:cxn>
                      <a:cxn ang="0">
                        <a:pos x="43" y="39"/>
                      </a:cxn>
                      <a:cxn ang="0">
                        <a:pos x="31" y="43"/>
                      </a:cxn>
                      <a:cxn ang="0">
                        <a:pos x="53" y="51"/>
                      </a:cxn>
                      <a:cxn ang="0">
                        <a:pos x="53" y="59"/>
                      </a:cxn>
                      <a:cxn ang="0">
                        <a:pos x="35" y="62"/>
                      </a:cxn>
                      <a:cxn ang="0">
                        <a:pos x="41" y="76"/>
                      </a:cxn>
                      <a:cxn ang="0">
                        <a:pos x="20" y="71"/>
                      </a:cxn>
                      <a:cxn ang="0">
                        <a:pos x="14" y="58"/>
                      </a:cxn>
                      <a:cxn ang="0">
                        <a:pos x="42" y="52"/>
                      </a:cxn>
                      <a:cxn ang="0">
                        <a:pos x="14" y="50"/>
                      </a:cxn>
                      <a:cxn ang="0">
                        <a:pos x="0" y="31"/>
                      </a:cxn>
                      <a:cxn ang="0">
                        <a:pos x="0" y="31"/>
                      </a:cxn>
                    </a:cxnLst>
                    <a:rect l="0" t="0" r="r" b="b"/>
                    <a:pathLst>
                      <a:path w="86" h="77">
                        <a:moveTo>
                          <a:pt x="0" y="31"/>
                        </a:moveTo>
                        <a:lnTo>
                          <a:pt x="0" y="31"/>
                        </a:lnTo>
                        <a:lnTo>
                          <a:pt x="12" y="14"/>
                        </a:lnTo>
                        <a:lnTo>
                          <a:pt x="39" y="7"/>
                        </a:lnTo>
                        <a:lnTo>
                          <a:pt x="72" y="8"/>
                        </a:lnTo>
                        <a:lnTo>
                          <a:pt x="85" y="0"/>
                        </a:lnTo>
                        <a:lnTo>
                          <a:pt x="81" y="16"/>
                        </a:lnTo>
                        <a:lnTo>
                          <a:pt x="58" y="13"/>
                        </a:lnTo>
                        <a:lnTo>
                          <a:pt x="46" y="26"/>
                        </a:lnTo>
                        <a:lnTo>
                          <a:pt x="34" y="19"/>
                        </a:lnTo>
                        <a:lnTo>
                          <a:pt x="43" y="39"/>
                        </a:lnTo>
                        <a:lnTo>
                          <a:pt x="31" y="43"/>
                        </a:lnTo>
                        <a:lnTo>
                          <a:pt x="53" y="51"/>
                        </a:lnTo>
                        <a:lnTo>
                          <a:pt x="53" y="59"/>
                        </a:lnTo>
                        <a:lnTo>
                          <a:pt x="35" y="62"/>
                        </a:lnTo>
                        <a:lnTo>
                          <a:pt x="41" y="76"/>
                        </a:lnTo>
                        <a:lnTo>
                          <a:pt x="20" y="71"/>
                        </a:lnTo>
                        <a:lnTo>
                          <a:pt x="14" y="58"/>
                        </a:lnTo>
                        <a:lnTo>
                          <a:pt x="42" y="52"/>
                        </a:lnTo>
                        <a:lnTo>
                          <a:pt x="14" y="50"/>
                        </a:lnTo>
                        <a:lnTo>
                          <a:pt x="0" y="31"/>
                        </a:lnTo>
                        <a:lnTo>
                          <a:pt x="0" y="31"/>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9" name="Greece">
                    <a:extLst>
                      <a:ext uri="{FF2B5EF4-FFF2-40B4-BE49-F238E27FC236}">
                        <a16:creationId xmlns:a16="http://schemas.microsoft.com/office/drawing/2014/main" id="{1A9AA756-276F-8B4A-28F1-541E532D2EC8}"/>
                      </a:ext>
                    </a:extLst>
                  </p:cNvPr>
                  <p:cNvSpPr>
                    <a:spLocks noGrp="1" noRot="1" noMove="1" noResize="1" noEditPoints="1" noAdjustHandles="1" noChangeArrowheads="1" noChangeShapeType="1"/>
                  </p:cNvSpPr>
                  <p:nvPr/>
                </p:nvSpPr>
                <p:spPr bwMode="gray">
                  <a:xfrm>
                    <a:off x="5325927" y="3660425"/>
                    <a:ext cx="75050" cy="13307"/>
                  </a:xfrm>
                  <a:custGeom>
                    <a:avLst/>
                    <a:gdLst/>
                    <a:ahLst/>
                    <a:cxnLst>
                      <a:cxn ang="0">
                        <a:pos x="0" y="5"/>
                      </a:cxn>
                      <a:cxn ang="0">
                        <a:pos x="0" y="5"/>
                      </a:cxn>
                      <a:cxn ang="0">
                        <a:pos x="4" y="0"/>
                      </a:cxn>
                      <a:cxn ang="0">
                        <a:pos x="40" y="5"/>
                      </a:cxn>
                      <a:cxn ang="0">
                        <a:pos x="13" y="5"/>
                      </a:cxn>
                      <a:cxn ang="0">
                        <a:pos x="0" y="5"/>
                      </a:cxn>
                      <a:cxn ang="0">
                        <a:pos x="0" y="5"/>
                      </a:cxn>
                    </a:cxnLst>
                    <a:rect l="0" t="0" r="r" b="b"/>
                    <a:pathLst>
                      <a:path w="41" h="6">
                        <a:moveTo>
                          <a:pt x="0" y="5"/>
                        </a:moveTo>
                        <a:lnTo>
                          <a:pt x="0" y="5"/>
                        </a:lnTo>
                        <a:lnTo>
                          <a:pt x="4" y="0"/>
                        </a:lnTo>
                        <a:lnTo>
                          <a:pt x="40" y="5"/>
                        </a:lnTo>
                        <a:lnTo>
                          <a:pt x="13" y="5"/>
                        </a:lnTo>
                        <a:lnTo>
                          <a:pt x="0" y="5"/>
                        </a:lnTo>
                        <a:lnTo>
                          <a:pt x="0" y="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158" name="Germany">
                  <a:extLst>
                    <a:ext uri="{FF2B5EF4-FFF2-40B4-BE49-F238E27FC236}">
                      <a16:creationId xmlns:a16="http://schemas.microsoft.com/office/drawing/2014/main" id="{3BF364D0-5B51-0AF8-70F3-B5774CB5FFDF}"/>
                    </a:ext>
                  </a:extLst>
                </p:cNvPr>
                <p:cNvSpPr>
                  <a:spLocks noGrp="1" noRot="1" noMove="1" noResize="1" noEditPoints="1" noAdjustHandles="1" noChangeArrowheads="1" noChangeShapeType="1"/>
                </p:cNvSpPr>
                <p:nvPr/>
              </p:nvSpPr>
              <p:spPr bwMode="gray">
                <a:xfrm>
                  <a:off x="4667804" y="3338666"/>
                  <a:ext cx="433215" cy="536712"/>
                </a:xfrm>
                <a:custGeom>
                  <a:avLst/>
                  <a:gdLst/>
                  <a:ahLst/>
                  <a:cxnLst>
                    <a:cxn ang="0">
                      <a:pos x="0" y="48"/>
                    </a:cxn>
                    <a:cxn ang="0">
                      <a:pos x="0" y="48"/>
                    </a:cxn>
                    <a:cxn ang="0">
                      <a:pos x="1" y="67"/>
                    </a:cxn>
                    <a:cxn ang="0">
                      <a:pos x="2" y="77"/>
                    </a:cxn>
                    <a:cxn ang="0">
                      <a:pos x="4" y="86"/>
                    </a:cxn>
                    <a:cxn ang="0">
                      <a:pos x="29" y="95"/>
                    </a:cxn>
                    <a:cxn ang="0">
                      <a:pos x="21" y="115"/>
                    </a:cxn>
                    <a:cxn ang="0">
                      <a:pos x="48" y="118"/>
                    </a:cxn>
                    <a:cxn ang="0">
                      <a:pos x="94" y="117"/>
                    </a:cxn>
                    <a:cxn ang="0">
                      <a:pos x="106" y="98"/>
                    </a:cxn>
                    <a:cxn ang="0">
                      <a:pos x="81" y="74"/>
                    </a:cxn>
                    <a:cxn ang="0">
                      <a:pos x="111" y="60"/>
                    </a:cxn>
                    <a:cxn ang="0">
                      <a:pos x="119" y="65"/>
                    </a:cxn>
                    <a:cxn ang="0">
                      <a:pos x="111" y="17"/>
                    </a:cxn>
                    <a:cxn ang="0">
                      <a:pos x="89" y="6"/>
                    </a:cxn>
                    <a:cxn ang="0">
                      <a:pos x="65" y="14"/>
                    </a:cxn>
                    <a:cxn ang="0">
                      <a:pos x="68" y="9"/>
                    </a:cxn>
                    <a:cxn ang="0">
                      <a:pos x="48" y="0"/>
                    </a:cxn>
                    <a:cxn ang="0">
                      <a:pos x="37" y="0"/>
                    </a:cxn>
                    <a:cxn ang="0">
                      <a:pos x="36" y="25"/>
                    </a:cxn>
                    <a:cxn ang="0">
                      <a:pos x="24" y="19"/>
                    </a:cxn>
                    <a:cxn ang="0">
                      <a:pos x="17" y="26"/>
                    </a:cxn>
                    <a:cxn ang="0">
                      <a:pos x="14" y="42"/>
                    </a:cxn>
                    <a:cxn ang="0">
                      <a:pos x="0" y="48"/>
                    </a:cxn>
                    <a:cxn ang="0">
                      <a:pos x="0" y="48"/>
                    </a:cxn>
                  </a:cxnLst>
                  <a:rect l="0" t="0" r="r" b="b"/>
                  <a:pathLst>
                    <a:path w="120" h="119">
                      <a:moveTo>
                        <a:pt x="0" y="48"/>
                      </a:moveTo>
                      <a:lnTo>
                        <a:pt x="0" y="48"/>
                      </a:lnTo>
                      <a:lnTo>
                        <a:pt x="1" y="67"/>
                      </a:lnTo>
                      <a:lnTo>
                        <a:pt x="2" y="77"/>
                      </a:lnTo>
                      <a:lnTo>
                        <a:pt x="4" y="86"/>
                      </a:lnTo>
                      <a:lnTo>
                        <a:pt x="29" y="95"/>
                      </a:lnTo>
                      <a:lnTo>
                        <a:pt x="21" y="115"/>
                      </a:lnTo>
                      <a:lnTo>
                        <a:pt x="48" y="118"/>
                      </a:lnTo>
                      <a:lnTo>
                        <a:pt x="94" y="117"/>
                      </a:lnTo>
                      <a:lnTo>
                        <a:pt x="106" y="98"/>
                      </a:lnTo>
                      <a:lnTo>
                        <a:pt x="81" y="74"/>
                      </a:lnTo>
                      <a:lnTo>
                        <a:pt x="111" y="60"/>
                      </a:lnTo>
                      <a:lnTo>
                        <a:pt x="119" y="65"/>
                      </a:lnTo>
                      <a:lnTo>
                        <a:pt x="111" y="17"/>
                      </a:lnTo>
                      <a:lnTo>
                        <a:pt x="89" y="6"/>
                      </a:lnTo>
                      <a:lnTo>
                        <a:pt x="65" y="14"/>
                      </a:lnTo>
                      <a:lnTo>
                        <a:pt x="68" y="9"/>
                      </a:lnTo>
                      <a:lnTo>
                        <a:pt x="48" y="0"/>
                      </a:lnTo>
                      <a:lnTo>
                        <a:pt x="37" y="0"/>
                      </a:lnTo>
                      <a:lnTo>
                        <a:pt x="36" y="25"/>
                      </a:lnTo>
                      <a:lnTo>
                        <a:pt x="24" y="19"/>
                      </a:lnTo>
                      <a:lnTo>
                        <a:pt x="17" y="26"/>
                      </a:lnTo>
                      <a:lnTo>
                        <a:pt x="14" y="42"/>
                      </a:lnTo>
                      <a:lnTo>
                        <a:pt x="0" y="48"/>
                      </a:lnTo>
                      <a:lnTo>
                        <a:pt x="0" y="4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9" name="Georgia">
                  <a:extLst>
                    <a:ext uri="{FF2B5EF4-FFF2-40B4-BE49-F238E27FC236}">
                      <a16:creationId xmlns:a16="http://schemas.microsoft.com/office/drawing/2014/main" id="{FC4767E0-1A39-5DC5-3E9D-B0C08CAF8A29}"/>
                    </a:ext>
                  </a:extLst>
                </p:cNvPr>
                <p:cNvSpPr>
                  <a:spLocks noGrp="1" noRot="1" noMove="1" noResize="1" noEditPoints="1" noAdjustHandles="1" noChangeArrowheads="1" noChangeShapeType="1"/>
                </p:cNvSpPr>
                <p:nvPr/>
              </p:nvSpPr>
              <p:spPr bwMode="gray">
                <a:xfrm>
                  <a:off x="6284859" y="4083852"/>
                  <a:ext cx="373166" cy="181862"/>
                </a:xfrm>
                <a:custGeom>
                  <a:avLst/>
                  <a:gdLst/>
                  <a:ahLst/>
                  <a:cxnLst>
                    <a:cxn ang="0">
                      <a:pos x="0" y="1"/>
                    </a:cxn>
                    <a:cxn ang="0">
                      <a:pos x="24" y="0"/>
                    </a:cxn>
                    <a:cxn ang="0">
                      <a:pos x="47" y="7"/>
                    </a:cxn>
                    <a:cxn ang="0">
                      <a:pos x="57" y="16"/>
                    </a:cxn>
                    <a:cxn ang="0">
                      <a:pos x="69" y="16"/>
                    </a:cxn>
                    <a:cxn ang="0">
                      <a:pos x="77" y="12"/>
                    </a:cxn>
                    <a:cxn ang="0">
                      <a:pos x="83" y="11"/>
                    </a:cxn>
                    <a:cxn ang="0">
                      <a:pos x="89" y="20"/>
                    </a:cxn>
                    <a:cxn ang="0">
                      <a:pos x="100" y="23"/>
                    </a:cxn>
                    <a:cxn ang="0">
                      <a:pos x="98" y="26"/>
                    </a:cxn>
                    <a:cxn ang="0">
                      <a:pos x="101" y="33"/>
                    </a:cxn>
                    <a:cxn ang="0">
                      <a:pos x="100" y="39"/>
                    </a:cxn>
                    <a:cxn ang="0">
                      <a:pos x="89" y="30"/>
                    </a:cxn>
                    <a:cxn ang="0">
                      <a:pos x="83" y="28"/>
                    </a:cxn>
                    <a:cxn ang="0">
                      <a:pos x="78" y="28"/>
                    </a:cxn>
                    <a:cxn ang="0">
                      <a:pos x="75" y="37"/>
                    </a:cxn>
                    <a:cxn ang="0">
                      <a:pos x="67" y="34"/>
                    </a:cxn>
                    <a:cxn ang="0">
                      <a:pos x="54" y="39"/>
                    </a:cxn>
                    <a:cxn ang="0">
                      <a:pos x="39" y="38"/>
                    </a:cxn>
                    <a:cxn ang="0">
                      <a:pos x="38" y="23"/>
                    </a:cxn>
                    <a:cxn ang="0">
                      <a:pos x="14" y="9"/>
                    </a:cxn>
                    <a:cxn ang="0">
                      <a:pos x="0" y="1"/>
                    </a:cxn>
                    <a:cxn ang="0">
                      <a:pos x="0" y="1"/>
                    </a:cxn>
                  </a:cxnLst>
                  <a:rect l="0" t="0" r="r" b="b"/>
                  <a:pathLst>
                    <a:path w="102" h="40">
                      <a:moveTo>
                        <a:pt x="0" y="1"/>
                      </a:moveTo>
                      <a:lnTo>
                        <a:pt x="24" y="0"/>
                      </a:lnTo>
                      <a:lnTo>
                        <a:pt x="47" y="7"/>
                      </a:lnTo>
                      <a:lnTo>
                        <a:pt x="57" y="16"/>
                      </a:lnTo>
                      <a:lnTo>
                        <a:pt x="69" y="16"/>
                      </a:lnTo>
                      <a:lnTo>
                        <a:pt x="77" y="12"/>
                      </a:lnTo>
                      <a:lnTo>
                        <a:pt x="83" y="11"/>
                      </a:lnTo>
                      <a:lnTo>
                        <a:pt x="89" y="20"/>
                      </a:lnTo>
                      <a:lnTo>
                        <a:pt x="100" y="23"/>
                      </a:lnTo>
                      <a:lnTo>
                        <a:pt x="98" y="26"/>
                      </a:lnTo>
                      <a:lnTo>
                        <a:pt x="101" y="33"/>
                      </a:lnTo>
                      <a:lnTo>
                        <a:pt x="100" y="39"/>
                      </a:lnTo>
                      <a:lnTo>
                        <a:pt x="89" y="30"/>
                      </a:lnTo>
                      <a:lnTo>
                        <a:pt x="83" y="28"/>
                      </a:lnTo>
                      <a:lnTo>
                        <a:pt x="78" y="28"/>
                      </a:lnTo>
                      <a:lnTo>
                        <a:pt x="75" y="37"/>
                      </a:lnTo>
                      <a:lnTo>
                        <a:pt x="67" y="34"/>
                      </a:lnTo>
                      <a:lnTo>
                        <a:pt x="54" y="39"/>
                      </a:lnTo>
                      <a:lnTo>
                        <a:pt x="39" y="38"/>
                      </a:lnTo>
                      <a:lnTo>
                        <a:pt x="38" y="23"/>
                      </a:lnTo>
                      <a:lnTo>
                        <a:pt x="14" y="9"/>
                      </a:lnTo>
                      <a:lnTo>
                        <a:pt x="0" y="1"/>
                      </a:lnTo>
                      <a:lnTo>
                        <a:pt x="0" y="1"/>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60" name="France">
                  <a:extLst>
                    <a:ext uri="{FF2B5EF4-FFF2-40B4-BE49-F238E27FC236}">
                      <a16:creationId xmlns:a16="http://schemas.microsoft.com/office/drawing/2014/main" id="{208E603F-1967-417F-9615-5C604ACC9E53}"/>
                    </a:ext>
                  </a:extLst>
                </p:cNvPr>
                <p:cNvGrpSpPr>
                  <a:grpSpLocks noGrp="1" noUngrp="1" noRot="1" noMove="1" noResize="1"/>
                </p:cNvGrpSpPr>
                <p:nvPr/>
              </p:nvGrpSpPr>
              <p:grpSpPr>
                <a:xfrm>
                  <a:off x="4148801" y="3613674"/>
                  <a:ext cx="690575" cy="674214"/>
                  <a:chOff x="4633319" y="3141457"/>
                  <a:chExt cx="345232" cy="337107"/>
                </a:xfrm>
                <a:grpFill/>
              </p:grpSpPr>
              <p:sp>
                <p:nvSpPr>
                  <p:cNvPr id="176" name="France">
                    <a:extLst>
                      <a:ext uri="{FF2B5EF4-FFF2-40B4-BE49-F238E27FC236}">
                        <a16:creationId xmlns:a16="http://schemas.microsoft.com/office/drawing/2014/main" id="{7A0E6132-A195-134F-61EF-3BC2DFE8A4DF}"/>
                      </a:ext>
                    </a:extLst>
                  </p:cNvPr>
                  <p:cNvSpPr>
                    <a:spLocks noGrp="1" noRot="1" noMove="1" noResize="1" noEditPoints="1" noAdjustHandles="1" noChangeArrowheads="1" noChangeShapeType="1"/>
                  </p:cNvSpPr>
                  <p:nvPr/>
                </p:nvSpPr>
                <p:spPr bwMode="gray">
                  <a:xfrm>
                    <a:off x="4633319" y="3141457"/>
                    <a:ext cx="313067" cy="303840"/>
                  </a:xfrm>
                  <a:custGeom>
                    <a:avLst/>
                    <a:gdLst/>
                    <a:ahLst/>
                    <a:cxnLst>
                      <a:cxn ang="0">
                        <a:pos x="0" y="41"/>
                      </a:cxn>
                      <a:cxn ang="0">
                        <a:pos x="0" y="41"/>
                      </a:cxn>
                      <a:cxn ang="0">
                        <a:pos x="6" y="53"/>
                      </a:cxn>
                      <a:cxn ang="0">
                        <a:pos x="41" y="61"/>
                      </a:cxn>
                      <a:cxn ang="0">
                        <a:pos x="35" y="67"/>
                      </a:cxn>
                      <a:cxn ang="0">
                        <a:pos x="48" y="76"/>
                      </a:cxn>
                      <a:cxn ang="0">
                        <a:pos x="54" y="91"/>
                      </a:cxn>
                      <a:cxn ang="0">
                        <a:pos x="39" y="119"/>
                      </a:cxn>
                      <a:cxn ang="0">
                        <a:pos x="82" y="130"/>
                      </a:cxn>
                      <a:cxn ang="0">
                        <a:pos x="86" y="132"/>
                      </a:cxn>
                      <a:cxn ang="0">
                        <a:pos x="106" y="134"/>
                      </a:cxn>
                      <a:cxn ang="0">
                        <a:pos x="106" y="123"/>
                      </a:cxn>
                      <a:cxn ang="0">
                        <a:pos x="118" y="117"/>
                      </a:cxn>
                      <a:cxn ang="0">
                        <a:pos x="146" y="124"/>
                      </a:cxn>
                      <a:cxn ang="0">
                        <a:pos x="164" y="112"/>
                      </a:cxn>
                      <a:cxn ang="0">
                        <a:pos x="154" y="97"/>
                      </a:cxn>
                      <a:cxn ang="0">
                        <a:pos x="157" y="81"/>
                      </a:cxn>
                      <a:cxn ang="0">
                        <a:pos x="144" y="72"/>
                      </a:cxn>
                      <a:cxn ang="0">
                        <a:pos x="164" y="54"/>
                      </a:cxn>
                      <a:cxn ang="0">
                        <a:pos x="172" y="34"/>
                      </a:cxn>
                      <a:cxn ang="0">
                        <a:pos x="147" y="25"/>
                      </a:cxn>
                      <a:cxn ang="0">
                        <a:pos x="140" y="24"/>
                      </a:cxn>
                      <a:cxn ang="0">
                        <a:pos x="101" y="0"/>
                      </a:cxn>
                      <a:cxn ang="0">
                        <a:pos x="87" y="4"/>
                      </a:cxn>
                      <a:cxn ang="0">
                        <a:pos x="71" y="26"/>
                      </a:cxn>
                      <a:cxn ang="0">
                        <a:pos x="38" y="22"/>
                      </a:cxn>
                      <a:cxn ang="0">
                        <a:pos x="43" y="40"/>
                      </a:cxn>
                      <a:cxn ang="0">
                        <a:pos x="0" y="41"/>
                      </a:cxn>
                      <a:cxn ang="0">
                        <a:pos x="0" y="41"/>
                      </a:cxn>
                    </a:cxnLst>
                    <a:rect l="0" t="0" r="r" b="b"/>
                    <a:pathLst>
                      <a:path w="173" h="135">
                        <a:moveTo>
                          <a:pt x="0" y="41"/>
                        </a:moveTo>
                        <a:lnTo>
                          <a:pt x="0" y="41"/>
                        </a:lnTo>
                        <a:lnTo>
                          <a:pt x="6" y="53"/>
                        </a:lnTo>
                        <a:lnTo>
                          <a:pt x="41" y="61"/>
                        </a:lnTo>
                        <a:lnTo>
                          <a:pt x="35" y="67"/>
                        </a:lnTo>
                        <a:lnTo>
                          <a:pt x="48" y="76"/>
                        </a:lnTo>
                        <a:lnTo>
                          <a:pt x="54" y="91"/>
                        </a:lnTo>
                        <a:lnTo>
                          <a:pt x="39" y="119"/>
                        </a:lnTo>
                        <a:lnTo>
                          <a:pt x="82" y="130"/>
                        </a:lnTo>
                        <a:lnTo>
                          <a:pt x="86" y="132"/>
                        </a:lnTo>
                        <a:lnTo>
                          <a:pt x="106" y="134"/>
                        </a:lnTo>
                        <a:lnTo>
                          <a:pt x="106" y="123"/>
                        </a:lnTo>
                        <a:lnTo>
                          <a:pt x="118" y="117"/>
                        </a:lnTo>
                        <a:lnTo>
                          <a:pt x="146" y="124"/>
                        </a:lnTo>
                        <a:lnTo>
                          <a:pt x="164" y="112"/>
                        </a:lnTo>
                        <a:lnTo>
                          <a:pt x="154" y="97"/>
                        </a:lnTo>
                        <a:lnTo>
                          <a:pt x="157" y="81"/>
                        </a:lnTo>
                        <a:lnTo>
                          <a:pt x="144" y="72"/>
                        </a:lnTo>
                        <a:lnTo>
                          <a:pt x="164" y="54"/>
                        </a:lnTo>
                        <a:lnTo>
                          <a:pt x="172" y="34"/>
                        </a:lnTo>
                        <a:lnTo>
                          <a:pt x="147" y="25"/>
                        </a:lnTo>
                        <a:lnTo>
                          <a:pt x="140" y="24"/>
                        </a:lnTo>
                        <a:lnTo>
                          <a:pt x="101" y="0"/>
                        </a:lnTo>
                        <a:lnTo>
                          <a:pt x="87" y="4"/>
                        </a:lnTo>
                        <a:lnTo>
                          <a:pt x="71" y="26"/>
                        </a:lnTo>
                        <a:lnTo>
                          <a:pt x="38" y="22"/>
                        </a:lnTo>
                        <a:lnTo>
                          <a:pt x="43" y="40"/>
                        </a:lnTo>
                        <a:lnTo>
                          <a:pt x="0" y="41"/>
                        </a:lnTo>
                        <a:lnTo>
                          <a:pt x="0" y="41"/>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7" name="France">
                    <a:extLst>
                      <a:ext uri="{FF2B5EF4-FFF2-40B4-BE49-F238E27FC236}">
                        <a16:creationId xmlns:a16="http://schemas.microsoft.com/office/drawing/2014/main" id="{AC8ED275-60EC-96CC-024C-FC534D9C29CC}"/>
                      </a:ext>
                    </a:extLst>
                  </p:cNvPr>
                  <p:cNvSpPr>
                    <a:spLocks noGrp="1" noRot="1" noMove="1" noResize="1" noEditPoints="1" noAdjustHandles="1" noChangeArrowheads="1" noChangeShapeType="1"/>
                  </p:cNvSpPr>
                  <p:nvPr/>
                </p:nvSpPr>
                <p:spPr bwMode="gray">
                  <a:xfrm>
                    <a:off x="4957108" y="3420901"/>
                    <a:ext cx="21443" cy="57663"/>
                  </a:xfrm>
                  <a:custGeom>
                    <a:avLst/>
                    <a:gdLst/>
                    <a:ahLst/>
                    <a:cxnLst>
                      <a:cxn ang="0">
                        <a:pos x="0" y="13"/>
                      </a:cxn>
                      <a:cxn ang="0">
                        <a:pos x="0" y="13"/>
                      </a:cxn>
                      <a:cxn ang="0">
                        <a:pos x="10" y="25"/>
                      </a:cxn>
                      <a:cxn ang="0">
                        <a:pos x="11" y="0"/>
                      </a:cxn>
                      <a:cxn ang="0">
                        <a:pos x="0" y="13"/>
                      </a:cxn>
                      <a:cxn ang="0">
                        <a:pos x="0" y="13"/>
                      </a:cxn>
                    </a:cxnLst>
                    <a:rect l="0" t="0" r="r" b="b"/>
                    <a:pathLst>
                      <a:path w="12" h="26">
                        <a:moveTo>
                          <a:pt x="0" y="13"/>
                        </a:moveTo>
                        <a:lnTo>
                          <a:pt x="0" y="13"/>
                        </a:lnTo>
                        <a:lnTo>
                          <a:pt x="10" y="25"/>
                        </a:lnTo>
                        <a:lnTo>
                          <a:pt x="11" y="0"/>
                        </a:lnTo>
                        <a:lnTo>
                          <a:pt x="0" y="13"/>
                        </a:lnTo>
                        <a:lnTo>
                          <a:pt x="0" y="13"/>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161" name="Finland">
                  <a:extLst>
                    <a:ext uri="{FF2B5EF4-FFF2-40B4-BE49-F238E27FC236}">
                      <a16:creationId xmlns:a16="http://schemas.microsoft.com/office/drawing/2014/main" id="{4781FAA7-AE03-7201-AB71-CE9E5F1456C6}"/>
                    </a:ext>
                  </a:extLst>
                </p:cNvPr>
                <p:cNvSpPr>
                  <a:spLocks noGrp="1" noRot="1" noMove="1" noResize="1" noEditPoints="1" noAdjustHandles="1" noChangeArrowheads="1" noChangeShapeType="1"/>
                </p:cNvSpPr>
                <p:nvPr/>
              </p:nvSpPr>
              <p:spPr bwMode="gray">
                <a:xfrm>
                  <a:off x="5392692" y="2039028"/>
                  <a:ext cx="540447" cy="904868"/>
                </a:xfrm>
                <a:custGeom>
                  <a:avLst/>
                  <a:gdLst/>
                  <a:ahLst/>
                  <a:cxnLst>
                    <a:cxn ang="0">
                      <a:pos x="0" y="20"/>
                    </a:cxn>
                    <a:cxn ang="0">
                      <a:pos x="0" y="20"/>
                    </a:cxn>
                    <a:cxn ang="0">
                      <a:pos x="9" y="14"/>
                    </a:cxn>
                    <a:cxn ang="0">
                      <a:pos x="25" y="26"/>
                    </a:cxn>
                    <a:cxn ang="0">
                      <a:pos x="54" y="28"/>
                    </a:cxn>
                    <a:cxn ang="0">
                      <a:pos x="70" y="21"/>
                    </a:cxn>
                    <a:cxn ang="0">
                      <a:pos x="74" y="4"/>
                    </a:cxn>
                    <a:cxn ang="0">
                      <a:pos x="101" y="0"/>
                    </a:cxn>
                    <a:cxn ang="0">
                      <a:pos x="116" y="6"/>
                    </a:cxn>
                    <a:cxn ang="0">
                      <a:pos x="114" y="20"/>
                    </a:cxn>
                    <a:cxn ang="0">
                      <a:pos x="109" y="34"/>
                    </a:cxn>
                    <a:cxn ang="0">
                      <a:pos x="128" y="51"/>
                    </a:cxn>
                    <a:cxn ang="0">
                      <a:pos x="117" y="64"/>
                    </a:cxn>
                    <a:cxn ang="0">
                      <a:pos x="131" y="87"/>
                    </a:cxn>
                    <a:cxn ang="0">
                      <a:pos x="125" y="106"/>
                    </a:cxn>
                    <a:cxn ang="0">
                      <a:pos x="148" y="148"/>
                    </a:cxn>
                    <a:cxn ang="0">
                      <a:pos x="96" y="187"/>
                    </a:cxn>
                    <a:cxn ang="0">
                      <a:pos x="33" y="200"/>
                    </a:cxn>
                    <a:cxn ang="0">
                      <a:pos x="29" y="192"/>
                    </a:cxn>
                    <a:cxn ang="0">
                      <a:pos x="9" y="185"/>
                    </a:cxn>
                    <a:cxn ang="0">
                      <a:pos x="6" y="147"/>
                    </a:cxn>
                    <a:cxn ang="0">
                      <a:pos x="66" y="105"/>
                    </a:cxn>
                    <a:cxn ang="0">
                      <a:pos x="47" y="83"/>
                    </a:cxn>
                    <a:cxn ang="0">
                      <a:pos x="39" y="42"/>
                    </a:cxn>
                    <a:cxn ang="0">
                      <a:pos x="0" y="20"/>
                    </a:cxn>
                    <a:cxn ang="0">
                      <a:pos x="0" y="20"/>
                    </a:cxn>
                  </a:cxnLst>
                  <a:rect l="0" t="0" r="r" b="b"/>
                  <a:pathLst>
                    <a:path w="149" h="201">
                      <a:moveTo>
                        <a:pt x="0" y="20"/>
                      </a:moveTo>
                      <a:lnTo>
                        <a:pt x="0" y="20"/>
                      </a:lnTo>
                      <a:lnTo>
                        <a:pt x="9" y="14"/>
                      </a:lnTo>
                      <a:lnTo>
                        <a:pt x="25" y="26"/>
                      </a:lnTo>
                      <a:lnTo>
                        <a:pt x="54" y="28"/>
                      </a:lnTo>
                      <a:lnTo>
                        <a:pt x="70" y="21"/>
                      </a:lnTo>
                      <a:lnTo>
                        <a:pt x="74" y="4"/>
                      </a:lnTo>
                      <a:lnTo>
                        <a:pt x="101" y="0"/>
                      </a:lnTo>
                      <a:lnTo>
                        <a:pt x="116" y="6"/>
                      </a:lnTo>
                      <a:lnTo>
                        <a:pt x="114" y="20"/>
                      </a:lnTo>
                      <a:lnTo>
                        <a:pt x="109" y="34"/>
                      </a:lnTo>
                      <a:lnTo>
                        <a:pt x="128" y="51"/>
                      </a:lnTo>
                      <a:lnTo>
                        <a:pt x="117" y="64"/>
                      </a:lnTo>
                      <a:lnTo>
                        <a:pt x="131" y="87"/>
                      </a:lnTo>
                      <a:lnTo>
                        <a:pt x="125" y="106"/>
                      </a:lnTo>
                      <a:lnTo>
                        <a:pt x="148" y="148"/>
                      </a:lnTo>
                      <a:lnTo>
                        <a:pt x="96" y="187"/>
                      </a:lnTo>
                      <a:lnTo>
                        <a:pt x="33" y="200"/>
                      </a:lnTo>
                      <a:lnTo>
                        <a:pt x="29" y="192"/>
                      </a:lnTo>
                      <a:lnTo>
                        <a:pt x="9" y="185"/>
                      </a:lnTo>
                      <a:lnTo>
                        <a:pt x="6" y="147"/>
                      </a:lnTo>
                      <a:lnTo>
                        <a:pt x="66" y="105"/>
                      </a:lnTo>
                      <a:lnTo>
                        <a:pt x="47" y="83"/>
                      </a:lnTo>
                      <a:lnTo>
                        <a:pt x="39" y="42"/>
                      </a:lnTo>
                      <a:lnTo>
                        <a:pt x="0" y="20"/>
                      </a:lnTo>
                      <a:lnTo>
                        <a:pt x="0" y="2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2" name="Estonia">
                  <a:extLst>
                    <a:ext uri="{FF2B5EF4-FFF2-40B4-BE49-F238E27FC236}">
                      <a16:creationId xmlns:a16="http://schemas.microsoft.com/office/drawing/2014/main" id="{2E698F01-A679-7537-4B22-DC264CE53184}"/>
                    </a:ext>
                  </a:extLst>
                </p:cNvPr>
                <p:cNvSpPr>
                  <a:spLocks noGrp="1" noRot="1" noMove="1" noResize="1" noEditPoints="1" noAdjustHandles="1" noChangeArrowheads="1" noChangeShapeType="1"/>
                </p:cNvSpPr>
                <p:nvPr/>
              </p:nvSpPr>
              <p:spPr bwMode="gray">
                <a:xfrm>
                  <a:off x="5517356" y="2978944"/>
                  <a:ext cx="253327" cy="161925"/>
                </a:xfrm>
                <a:custGeom>
                  <a:avLst/>
                  <a:gdLst>
                    <a:gd name="connsiteX0" fmla="*/ 230982 w 253327"/>
                    <a:gd name="connsiteY0" fmla="*/ 19050 h 161925"/>
                    <a:gd name="connsiteX1" fmla="*/ 230982 w 253327"/>
                    <a:gd name="connsiteY1" fmla="*/ 19050 h 161925"/>
                    <a:gd name="connsiteX2" fmla="*/ 211932 w 253327"/>
                    <a:gd name="connsiteY2" fmla="*/ 11906 h 161925"/>
                    <a:gd name="connsiteX3" fmla="*/ 190500 w 253327"/>
                    <a:gd name="connsiteY3" fmla="*/ 0 h 161925"/>
                    <a:gd name="connsiteX4" fmla="*/ 171450 w 253327"/>
                    <a:gd name="connsiteY4" fmla="*/ 2381 h 161925"/>
                    <a:gd name="connsiteX5" fmla="*/ 157163 w 253327"/>
                    <a:gd name="connsiteY5" fmla="*/ 11906 h 161925"/>
                    <a:gd name="connsiteX6" fmla="*/ 133350 w 253327"/>
                    <a:gd name="connsiteY6" fmla="*/ 4762 h 161925"/>
                    <a:gd name="connsiteX7" fmla="*/ 126207 w 253327"/>
                    <a:gd name="connsiteY7" fmla="*/ 2381 h 161925"/>
                    <a:gd name="connsiteX8" fmla="*/ 102394 w 253327"/>
                    <a:gd name="connsiteY8" fmla="*/ 4762 h 161925"/>
                    <a:gd name="connsiteX9" fmla="*/ 83344 w 253327"/>
                    <a:gd name="connsiteY9" fmla="*/ 9525 h 161925"/>
                    <a:gd name="connsiteX10" fmla="*/ 66675 w 253327"/>
                    <a:gd name="connsiteY10" fmla="*/ 11906 h 161925"/>
                    <a:gd name="connsiteX11" fmla="*/ 28575 w 253327"/>
                    <a:gd name="connsiteY11" fmla="*/ 14287 h 161925"/>
                    <a:gd name="connsiteX12" fmla="*/ 16669 w 253327"/>
                    <a:gd name="connsiteY12" fmla="*/ 26194 h 161925"/>
                    <a:gd name="connsiteX13" fmla="*/ 14288 w 253327"/>
                    <a:gd name="connsiteY13" fmla="*/ 33337 h 161925"/>
                    <a:gd name="connsiteX14" fmla="*/ 7144 w 253327"/>
                    <a:gd name="connsiteY14" fmla="*/ 38100 h 161925"/>
                    <a:gd name="connsiteX15" fmla="*/ 0 w 253327"/>
                    <a:gd name="connsiteY15" fmla="*/ 45244 h 161925"/>
                    <a:gd name="connsiteX16" fmla="*/ 2382 w 253327"/>
                    <a:gd name="connsiteY16" fmla="*/ 59531 h 161925"/>
                    <a:gd name="connsiteX17" fmla="*/ 11907 w 253327"/>
                    <a:gd name="connsiteY17" fmla="*/ 73819 h 161925"/>
                    <a:gd name="connsiteX18" fmla="*/ 14288 w 253327"/>
                    <a:gd name="connsiteY18" fmla="*/ 80962 h 161925"/>
                    <a:gd name="connsiteX19" fmla="*/ 23813 w 253327"/>
                    <a:gd name="connsiteY19" fmla="*/ 85725 h 161925"/>
                    <a:gd name="connsiteX20" fmla="*/ 54769 w 253327"/>
                    <a:gd name="connsiteY20" fmla="*/ 92869 h 161925"/>
                    <a:gd name="connsiteX21" fmla="*/ 52388 w 253327"/>
                    <a:gd name="connsiteY21" fmla="*/ 102394 h 161925"/>
                    <a:gd name="connsiteX22" fmla="*/ 50007 w 253327"/>
                    <a:gd name="connsiteY22" fmla="*/ 116681 h 161925"/>
                    <a:gd name="connsiteX23" fmla="*/ 59532 w 253327"/>
                    <a:gd name="connsiteY23" fmla="*/ 119062 h 161925"/>
                    <a:gd name="connsiteX24" fmla="*/ 71438 w 253327"/>
                    <a:gd name="connsiteY24" fmla="*/ 116681 h 161925"/>
                    <a:gd name="connsiteX25" fmla="*/ 78582 w 253327"/>
                    <a:gd name="connsiteY25" fmla="*/ 111919 h 161925"/>
                    <a:gd name="connsiteX26" fmla="*/ 88107 w 253327"/>
                    <a:gd name="connsiteY26" fmla="*/ 109537 h 161925"/>
                    <a:gd name="connsiteX27" fmla="*/ 97632 w 253327"/>
                    <a:gd name="connsiteY27" fmla="*/ 111919 h 161925"/>
                    <a:gd name="connsiteX28" fmla="*/ 119063 w 253327"/>
                    <a:gd name="connsiteY28" fmla="*/ 130969 h 161925"/>
                    <a:gd name="connsiteX29" fmla="*/ 126207 w 253327"/>
                    <a:gd name="connsiteY29" fmla="*/ 133350 h 161925"/>
                    <a:gd name="connsiteX30" fmla="*/ 133350 w 253327"/>
                    <a:gd name="connsiteY30" fmla="*/ 138112 h 161925"/>
                    <a:gd name="connsiteX31" fmla="*/ 140494 w 253327"/>
                    <a:gd name="connsiteY31" fmla="*/ 145256 h 161925"/>
                    <a:gd name="connsiteX32" fmla="*/ 152400 w 253327"/>
                    <a:gd name="connsiteY32" fmla="*/ 147637 h 161925"/>
                    <a:gd name="connsiteX33" fmla="*/ 166688 w 253327"/>
                    <a:gd name="connsiteY33" fmla="*/ 145256 h 161925"/>
                    <a:gd name="connsiteX34" fmla="*/ 185738 w 253327"/>
                    <a:gd name="connsiteY34" fmla="*/ 138112 h 161925"/>
                    <a:gd name="connsiteX35" fmla="*/ 192882 w 253327"/>
                    <a:gd name="connsiteY35" fmla="*/ 135731 h 161925"/>
                    <a:gd name="connsiteX36" fmla="*/ 209550 w 253327"/>
                    <a:gd name="connsiteY36" fmla="*/ 138112 h 161925"/>
                    <a:gd name="connsiteX37" fmla="*/ 219075 w 253327"/>
                    <a:gd name="connsiteY37" fmla="*/ 161925 h 161925"/>
                    <a:gd name="connsiteX38" fmla="*/ 223838 w 253327"/>
                    <a:gd name="connsiteY38" fmla="*/ 147637 h 161925"/>
                    <a:gd name="connsiteX39" fmla="*/ 228600 w 253327"/>
                    <a:gd name="connsiteY39" fmla="*/ 140494 h 161925"/>
                    <a:gd name="connsiteX40" fmla="*/ 230982 w 253327"/>
                    <a:gd name="connsiteY40" fmla="*/ 133350 h 161925"/>
                    <a:gd name="connsiteX41" fmla="*/ 240507 w 253327"/>
                    <a:gd name="connsiteY41" fmla="*/ 119062 h 161925"/>
                    <a:gd name="connsiteX42" fmla="*/ 250032 w 253327"/>
                    <a:gd name="connsiteY42" fmla="*/ 102394 h 161925"/>
                    <a:gd name="connsiteX43" fmla="*/ 250032 w 253327"/>
                    <a:gd name="connsiteY43" fmla="*/ 71437 h 161925"/>
                    <a:gd name="connsiteX44" fmla="*/ 245269 w 253327"/>
                    <a:gd name="connsiteY44" fmla="*/ 61912 h 161925"/>
                    <a:gd name="connsiteX45" fmla="*/ 240507 w 253327"/>
                    <a:gd name="connsiteY45" fmla="*/ 42862 h 161925"/>
                    <a:gd name="connsiteX46" fmla="*/ 235744 w 253327"/>
                    <a:gd name="connsiteY46" fmla="*/ 35719 h 161925"/>
                    <a:gd name="connsiteX47" fmla="*/ 233363 w 253327"/>
                    <a:gd name="connsiteY47" fmla="*/ 21431 h 161925"/>
                    <a:gd name="connsiteX48" fmla="*/ 230982 w 253327"/>
                    <a:gd name="connsiteY48" fmla="*/ 1905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53327" h="161925">
                      <a:moveTo>
                        <a:pt x="230982" y="19050"/>
                      </a:moveTo>
                      <a:lnTo>
                        <a:pt x="230982" y="19050"/>
                      </a:lnTo>
                      <a:cubicBezTo>
                        <a:pt x="224632" y="16669"/>
                        <a:pt x="217998" y="14939"/>
                        <a:pt x="211932" y="11906"/>
                      </a:cubicBezTo>
                      <a:cubicBezTo>
                        <a:pt x="179186" y="-4467"/>
                        <a:pt x="210253" y="6583"/>
                        <a:pt x="190500" y="0"/>
                      </a:cubicBezTo>
                      <a:cubicBezTo>
                        <a:pt x="184150" y="794"/>
                        <a:pt x="177477" y="229"/>
                        <a:pt x="171450" y="2381"/>
                      </a:cubicBezTo>
                      <a:cubicBezTo>
                        <a:pt x="166060" y="4306"/>
                        <a:pt x="157163" y="11906"/>
                        <a:pt x="157163" y="11906"/>
                      </a:cubicBezTo>
                      <a:cubicBezTo>
                        <a:pt x="142766" y="8307"/>
                        <a:pt x="150744" y="10560"/>
                        <a:pt x="133350" y="4762"/>
                      </a:cubicBezTo>
                      <a:lnTo>
                        <a:pt x="126207" y="2381"/>
                      </a:lnTo>
                      <a:cubicBezTo>
                        <a:pt x="118269" y="3175"/>
                        <a:pt x="110301" y="3708"/>
                        <a:pt x="102394" y="4762"/>
                      </a:cubicBezTo>
                      <a:cubicBezTo>
                        <a:pt x="66979" y="9484"/>
                        <a:pt x="107381" y="4718"/>
                        <a:pt x="83344" y="9525"/>
                      </a:cubicBezTo>
                      <a:cubicBezTo>
                        <a:pt x="77840" y="10626"/>
                        <a:pt x="72267" y="11420"/>
                        <a:pt x="66675" y="11906"/>
                      </a:cubicBezTo>
                      <a:cubicBezTo>
                        <a:pt x="53998" y="13008"/>
                        <a:pt x="41275" y="13493"/>
                        <a:pt x="28575" y="14287"/>
                      </a:cubicBezTo>
                      <a:cubicBezTo>
                        <a:pt x="21432" y="19050"/>
                        <a:pt x="20638" y="18257"/>
                        <a:pt x="16669" y="26194"/>
                      </a:cubicBezTo>
                      <a:cubicBezTo>
                        <a:pt x="15547" y="28439"/>
                        <a:pt x="15856" y="31377"/>
                        <a:pt x="14288" y="33337"/>
                      </a:cubicBezTo>
                      <a:cubicBezTo>
                        <a:pt x="12500" y="35572"/>
                        <a:pt x="9343" y="36268"/>
                        <a:pt x="7144" y="38100"/>
                      </a:cubicBezTo>
                      <a:cubicBezTo>
                        <a:pt x="4557" y="40256"/>
                        <a:pt x="2381" y="42863"/>
                        <a:pt x="0" y="45244"/>
                      </a:cubicBezTo>
                      <a:cubicBezTo>
                        <a:pt x="794" y="50006"/>
                        <a:pt x="525" y="55074"/>
                        <a:pt x="2382" y="59531"/>
                      </a:cubicBezTo>
                      <a:cubicBezTo>
                        <a:pt x="4584" y="64815"/>
                        <a:pt x="11907" y="73819"/>
                        <a:pt x="11907" y="73819"/>
                      </a:cubicBezTo>
                      <a:cubicBezTo>
                        <a:pt x="12701" y="76200"/>
                        <a:pt x="12513" y="79187"/>
                        <a:pt x="14288" y="80962"/>
                      </a:cubicBezTo>
                      <a:cubicBezTo>
                        <a:pt x="16798" y="83472"/>
                        <a:pt x="20517" y="84407"/>
                        <a:pt x="23813" y="85725"/>
                      </a:cubicBezTo>
                      <a:cubicBezTo>
                        <a:pt x="38337" y="91535"/>
                        <a:pt x="38819" y="90590"/>
                        <a:pt x="54769" y="92869"/>
                      </a:cubicBezTo>
                      <a:cubicBezTo>
                        <a:pt x="53975" y="96044"/>
                        <a:pt x="53677" y="99386"/>
                        <a:pt x="52388" y="102394"/>
                      </a:cubicBezTo>
                      <a:cubicBezTo>
                        <a:pt x="50500" y="106798"/>
                        <a:pt x="42976" y="111057"/>
                        <a:pt x="50007" y="116681"/>
                      </a:cubicBezTo>
                      <a:cubicBezTo>
                        <a:pt x="52563" y="118725"/>
                        <a:pt x="56357" y="118268"/>
                        <a:pt x="59532" y="119062"/>
                      </a:cubicBezTo>
                      <a:cubicBezTo>
                        <a:pt x="63501" y="118268"/>
                        <a:pt x="67648" y="118102"/>
                        <a:pt x="71438" y="116681"/>
                      </a:cubicBezTo>
                      <a:cubicBezTo>
                        <a:pt x="74118" y="115676"/>
                        <a:pt x="75952" y="113046"/>
                        <a:pt x="78582" y="111919"/>
                      </a:cubicBezTo>
                      <a:cubicBezTo>
                        <a:pt x="81590" y="110630"/>
                        <a:pt x="84932" y="110331"/>
                        <a:pt x="88107" y="109537"/>
                      </a:cubicBezTo>
                      <a:cubicBezTo>
                        <a:pt x="91282" y="110331"/>
                        <a:pt x="94951" y="110042"/>
                        <a:pt x="97632" y="111919"/>
                      </a:cubicBezTo>
                      <a:cubicBezTo>
                        <a:pt x="113402" y="122958"/>
                        <a:pt x="106545" y="124710"/>
                        <a:pt x="119063" y="130969"/>
                      </a:cubicBezTo>
                      <a:cubicBezTo>
                        <a:pt x="121308" y="132092"/>
                        <a:pt x="123826" y="132556"/>
                        <a:pt x="126207" y="133350"/>
                      </a:cubicBezTo>
                      <a:cubicBezTo>
                        <a:pt x="128588" y="134937"/>
                        <a:pt x="131152" y="136280"/>
                        <a:pt x="133350" y="138112"/>
                      </a:cubicBezTo>
                      <a:cubicBezTo>
                        <a:pt x="135937" y="140268"/>
                        <a:pt x="137482" y="143750"/>
                        <a:pt x="140494" y="145256"/>
                      </a:cubicBezTo>
                      <a:cubicBezTo>
                        <a:pt x="144114" y="147066"/>
                        <a:pt x="148431" y="146843"/>
                        <a:pt x="152400" y="147637"/>
                      </a:cubicBezTo>
                      <a:cubicBezTo>
                        <a:pt x="157163" y="146843"/>
                        <a:pt x="161975" y="146303"/>
                        <a:pt x="166688" y="145256"/>
                      </a:cubicBezTo>
                      <a:cubicBezTo>
                        <a:pt x="171115" y="144272"/>
                        <a:pt x="183033" y="139126"/>
                        <a:pt x="185738" y="138112"/>
                      </a:cubicBezTo>
                      <a:cubicBezTo>
                        <a:pt x="188088" y="137231"/>
                        <a:pt x="190501" y="136525"/>
                        <a:pt x="192882" y="135731"/>
                      </a:cubicBezTo>
                      <a:lnTo>
                        <a:pt x="209550" y="138112"/>
                      </a:lnTo>
                      <a:cubicBezTo>
                        <a:pt x="234684" y="169530"/>
                        <a:pt x="197266" y="154655"/>
                        <a:pt x="219075" y="161925"/>
                      </a:cubicBezTo>
                      <a:cubicBezTo>
                        <a:pt x="220663" y="157162"/>
                        <a:pt x="221053" y="151814"/>
                        <a:pt x="223838" y="147637"/>
                      </a:cubicBezTo>
                      <a:cubicBezTo>
                        <a:pt x="225425" y="145256"/>
                        <a:pt x="227320" y="143053"/>
                        <a:pt x="228600" y="140494"/>
                      </a:cubicBezTo>
                      <a:cubicBezTo>
                        <a:pt x="229723" y="138249"/>
                        <a:pt x="229763" y="135544"/>
                        <a:pt x="230982" y="133350"/>
                      </a:cubicBezTo>
                      <a:cubicBezTo>
                        <a:pt x="233762" y="128346"/>
                        <a:pt x="237947" y="124182"/>
                        <a:pt x="240507" y="119062"/>
                      </a:cubicBezTo>
                      <a:cubicBezTo>
                        <a:pt x="246549" y="106977"/>
                        <a:pt x="243300" y="112490"/>
                        <a:pt x="250032" y="102394"/>
                      </a:cubicBezTo>
                      <a:cubicBezTo>
                        <a:pt x="254359" y="89410"/>
                        <a:pt x="254493" y="92256"/>
                        <a:pt x="250032" y="71437"/>
                      </a:cubicBezTo>
                      <a:cubicBezTo>
                        <a:pt x="249288" y="67966"/>
                        <a:pt x="246857" y="65087"/>
                        <a:pt x="245269" y="61912"/>
                      </a:cubicBezTo>
                      <a:cubicBezTo>
                        <a:pt x="244364" y="57386"/>
                        <a:pt x="242947" y="47742"/>
                        <a:pt x="240507" y="42862"/>
                      </a:cubicBezTo>
                      <a:cubicBezTo>
                        <a:pt x="239227" y="40302"/>
                        <a:pt x="237332" y="38100"/>
                        <a:pt x="235744" y="35719"/>
                      </a:cubicBezTo>
                      <a:cubicBezTo>
                        <a:pt x="234950" y="30956"/>
                        <a:pt x="234534" y="26115"/>
                        <a:pt x="233363" y="21431"/>
                      </a:cubicBezTo>
                      <a:cubicBezTo>
                        <a:pt x="232145" y="16561"/>
                        <a:pt x="231379" y="19447"/>
                        <a:pt x="230982" y="19050"/>
                      </a:cubicBezTo>
                      <a:close/>
                    </a:path>
                  </a:pathLst>
                </a:custGeom>
                <a:grpFill/>
                <a:ln w="12700">
                  <a:solidFill>
                    <a:schemeClr val="bg1">
                      <a:alpha val="4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03" tIns="73103" rIns="73103" bIns="73103"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63" name="Denmark">
                  <a:extLst>
                    <a:ext uri="{FF2B5EF4-FFF2-40B4-BE49-F238E27FC236}">
                      <a16:creationId xmlns:a16="http://schemas.microsoft.com/office/drawing/2014/main" id="{DD412E1D-30F4-74D3-943D-E794A4ABC920}"/>
                    </a:ext>
                  </a:extLst>
                </p:cNvPr>
                <p:cNvGrpSpPr>
                  <a:grpSpLocks noGrp="1" noUngrp="1" noRot="1" noMove="1" noResize="1"/>
                </p:cNvGrpSpPr>
                <p:nvPr/>
              </p:nvGrpSpPr>
              <p:grpSpPr>
                <a:xfrm>
                  <a:off x="4775035" y="3116884"/>
                  <a:ext cx="231623" cy="226216"/>
                  <a:chOff x="4946386" y="2893062"/>
                  <a:chExt cx="115793" cy="113108"/>
                </a:xfrm>
                <a:grpFill/>
              </p:grpSpPr>
              <p:sp>
                <p:nvSpPr>
                  <p:cNvPr id="173" name="Denmark">
                    <a:extLst>
                      <a:ext uri="{FF2B5EF4-FFF2-40B4-BE49-F238E27FC236}">
                        <a16:creationId xmlns:a16="http://schemas.microsoft.com/office/drawing/2014/main" id="{5A20A737-5BFE-88EA-255E-986BBE721BF7}"/>
                      </a:ext>
                    </a:extLst>
                  </p:cNvPr>
                  <p:cNvSpPr>
                    <a:spLocks noGrp="1" noRot="1" noMove="1" noResize="1" noEditPoints="1" noAdjustHandles="1" noChangeArrowheads="1" noChangeShapeType="1"/>
                  </p:cNvSpPr>
                  <p:nvPr/>
                </p:nvSpPr>
                <p:spPr bwMode="gray">
                  <a:xfrm>
                    <a:off x="4946386" y="2893062"/>
                    <a:ext cx="68618" cy="113108"/>
                  </a:xfrm>
                  <a:custGeom>
                    <a:avLst/>
                    <a:gdLst/>
                    <a:ahLst/>
                    <a:cxnLst>
                      <a:cxn ang="0">
                        <a:pos x="0" y="36"/>
                      </a:cxn>
                      <a:cxn ang="0">
                        <a:pos x="0" y="36"/>
                      </a:cxn>
                      <a:cxn ang="0">
                        <a:pos x="2" y="13"/>
                      </a:cxn>
                      <a:cxn ang="0">
                        <a:pos x="31" y="0"/>
                      </a:cxn>
                      <a:cxn ang="0">
                        <a:pos x="26" y="18"/>
                      </a:cxn>
                      <a:cxn ang="0">
                        <a:pos x="36" y="24"/>
                      </a:cxn>
                      <a:cxn ang="0">
                        <a:pos x="18" y="35"/>
                      </a:cxn>
                      <a:cxn ang="0">
                        <a:pos x="18" y="49"/>
                      </a:cxn>
                      <a:cxn ang="0">
                        <a:pos x="7" y="49"/>
                      </a:cxn>
                      <a:cxn ang="0">
                        <a:pos x="0" y="36"/>
                      </a:cxn>
                      <a:cxn ang="0">
                        <a:pos x="0" y="36"/>
                      </a:cxn>
                    </a:cxnLst>
                    <a:rect l="0" t="0" r="r" b="b"/>
                    <a:pathLst>
                      <a:path w="37" h="50">
                        <a:moveTo>
                          <a:pt x="0" y="36"/>
                        </a:moveTo>
                        <a:lnTo>
                          <a:pt x="0" y="36"/>
                        </a:lnTo>
                        <a:lnTo>
                          <a:pt x="2" y="13"/>
                        </a:lnTo>
                        <a:lnTo>
                          <a:pt x="31" y="0"/>
                        </a:lnTo>
                        <a:lnTo>
                          <a:pt x="26" y="18"/>
                        </a:lnTo>
                        <a:lnTo>
                          <a:pt x="36" y="24"/>
                        </a:lnTo>
                        <a:lnTo>
                          <a:pt x="18" y="35"/>
                        </a:lnTo>
                        <a:lnTo>
                          <a:pt x="18" y="49"/>
                        </a:lnTo>
                        <a:lnTo>
                          <a:pt x="7" y="49"/>
                        </a:lnTo>
                        <a:lnTo>
                          <a:pt x="0" y="36"/>
                        </a:lnTo>
                        <a:lnTo>
                          <a:pt x="0" y="36"/>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4" name="Denmark">
                    <a:extLst>
                      <a:ext uri="{FF2B5EF4-FFF2-40B4-BE49-F238E27FC236}">
                        <a16:creationId xmlns:a16="http://schemas.microsoft.com/office/drawing/2014/main" id="{4658078A-E556-479D-612A-43BB91A2ACBE}"/>
                      </a:ext>
                    </a:extLst>
                  </p:cNvPr>
                  <p:cNvSpPr>
                    <a:spLocks noGrp="1" noRot="1" noMove="1" noResize="1" noEditPoints="1" noAdjustHandles="1" noChangeArrowheads="1" noChangeShapeType="1"/>
                  </p:cNvSpPr>
                  <p:nvPr/>
                </p:nvSpPr>
                <p:spPr bwMode="gray">
                  <a:xfrm>
                    <a:off x="4991417" y="2972903"/>
                    <a:ext cx="23587" cy="17743"/>
                  </a:xfrm>
                  <a:custGeom>
                    <a:avLst/>
                    <a:gdLst/>
                    <a:ahLst/>
                    <a:cxnLst>
                      <a:cxn ang="0">
                        <a:pos x="0" y="6"/>
                      </a:cxn>
                      <a:cxn ang="0">
                        <a:pos x="0" y="6"/>
                      </a:cxn>
                      <a:cxn ang="0">
                        <a:pos x="10" y="0"/>
                      </a:cxn>
                      <a:cxn ang="0">
                        <a:pos x="13" y="4"/>
                      </a:cxn>
                      <a:cxn ang="0">
                        <a:pos x="0" y="6"/>
                      </a:cxn>
                      <a:cxn ang="0">
                        <a:pos x="0" y="6"/>
                      </a:cxn>
                    </a:cxnLst>
                    <a:rect l="0" t="0" r="r" b="b"/>
                    <a:pathLst>
                      <a:path w="14" h="7">
                        <a:moveTo>
                          <a:pt x="0" y="6"/>
                        </a:moveTo>
                        <a:lnTo>
                          <a:pt x="0" y="6"/>
                        </a:lnTo>
                        <a:lnTo>
                          <a:pt x="10" y="0"/>
                        </a:lnTo>
                        <a:lnTo>
                          <a:pt x="13" y="4"/>
                        </a:lnTo>
                        <a:lnTo>
                          <a:pt x="0" y="6"/>
                        </a:lnTo>
                        <a:lnTo>
                          <a:pt x="0" y="6"/>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5" name="Denmark">
                    <a:extLst>
                      <a:ext uri="{FF2B5EF4-FFF2-40B4-BE49-F238E27FC236}">
                        <a16:creationId xmlns:a16="http://schemas.microsoft.com/office/drawing/2014/main" id="{6340766E-E83D-E160-4D62-B9E1BCCB7A25}"/>
                      </a:ext>
                    </a:extLst>
                  </p:cNvPr>
                  <p:cNvSpPr>
                    <a:spLocks noGrp="1" noRot="1" noMove="1" noResize="1" noEditPoints="1" noAdjustHandles="1" noChangeArrowheads="1" noChangeShapeType="1"/>
                  </p:cNvSpPr>
                  <p:nvPr/>
                </p:nvSpPr>
                <p:spPr bwMode="gray">
                  <a:xfrm>
                    <a:off x="5021438" y="2950724"/>
                    <a:ext cx="40741" cy="48792"/>
                  </a:xfrm>
                  <a:custGeom>
                    <a:avLst/>
                    <a:gdLst/>
                    <a:ahLst/>
                    <a:cxnLst>
                      <a:cxn ang="0">
                        <a:pos x="0" y="10"/>
                      </a:cxn>
                      <a:cxn ang="0">
                        <a:pos x="0" y="10"/>
                      </a:cxn>
                      <a:cxn ang="0">
                        <a:pos x="15" y="20"/>
                      </a:cxn>
                      <a:cxn ang="0">
                        <a:pos x="21" y="10"/>
                      </a:cxn>
                      <a:cxn ang="0">
                        <a:pos x="17" y="0"/>
                      </a:cxn>
                      <a:cxn ang="0">
                        <a:pos x="0" y="10"/>
                      </a:cxn>
                      <a:cxn ang="0">
                        <a:pos x="0" y="10"/>
                      </a:cxn>
                    </a:cxnLst>
                    <a:rect l="0" t="0" r="r" b="b"/>
                    <a:pathLst>
                      <a:path w="22" h="21">
                        <a:moveTo>
                          <a:pt x="0" y="10"/>
                        </a:moveTo>
                        <a:lnTo>
                          <a:pt x="0" y="10"/>
                        </a:lnTo>
                        <a:lnTo>
                          <a:pt x="15" y="20"/>
                        </a:lnTo>
                        <a:lnTo>
                          <a:pt x="21" y="10"/>
                        </a:lnTo>
                        <a:lnTo>
                          <a:pt x="17" y="0"/>
                        </a:lnTo>
                        <a:lnTo>
                          <a:pt x="0" y="10"/>
                        </a:lnTo>
                        <a:lnTo>
                          <a:pt x="0" y="1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164" name="Cyprus">
                  <a:extLst>
                    <a:ext uri="{FF2B5EF4-FFF2-40B4-BE49-F238E27FC236}">
                      <a16:creationId xmlns:a16="http://schemas.microsoft.com/office/drawing/2014/main" id="{A8D7BB72-FA92-670F-2811-BE735020581C}"/>
                    </a:ext>
                  </a:extLst>
                </p:cNvPr>
                <p:cNvSpPr>
                  <a:spLocks noGrp="1" noRot="1" noMove="1" noResize="1" noEditPoints="1" noAdjustHandles="1" noChangeArrowheads="1" noChangeShapeType="1"/>
                </p:cNvSpPr>
                <p:nvPr/>
              </p:nvSpPr>
              <p:spPr bwMode="gray">
                <a:xfrm>
                  <a:off x="5976032" y="4642738"/>
                  <a:ext cx="120101" cy="70970"/>
                </a:xfrm>
                <a:custGeom>
                  <a:avLst/>
                  <a:gdLst/>
                  <a:ahLst/>
                  <a:cxnLst>
                    <a:cxn ang="0">
                      <a:pos x="0" y="8"/>
                    </a:cxn>
                    <a:cxn ang="0">
                      <a:pos x="0" y="8"/>
                    </a:cxn>
                    <a:cxn ang="0">
                      <a:pos x="12" y="15"/>
                    </a:cxn>
                    <a:cxn ang="0">
                      <a:pos x="32" y="0"/>
                    </a:cxn>
                    <a:cxn ang="0">
                      <a:pos x="0" y="8"/>
                    </a:cxn>
                    <a:cxn ang="0">
                      <a:pos x="0" y="8"/>
                    </a:cxn>
                  </a:cxnLst>
                  <a:rect l="0" t="0" r="r" b="b"/>
                  <a:pathLst>
                    <a:path w="33" h="16">
                      <a:moveTo>
                        <a:pt x="0" y="8"/>
                      </a:moveTo>
                      <a:lnTo>
                        <a:pt x="0" y="8"/>
                      </a:lnTo>
                      <a:lnTo>
                        <a:pt x="12" y="15"/>
                      </a:lnTo>
                      <a:lnTo>
                        <a:pt x="32" y="0"/>
                      </a:lnTo>
                      <a:lnTo>
                        <a:pt x="0" y="8"/>
                      </a:lnTo>
                      <a:lnTo>
                        <a:pt x="0" y="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5" name="Croatia">
                  <a:extLst>
                    <a:ext uri="{FF2B5EF4-FFF2-40B4-BE49-F238E27FC236}">
                      <a16:creationId xmlns:a16="http://schemas.microsoft.com/office/drawing/2014/main" id="{6BDA2482-3BB5-2BB0-9BAD-9A10C82B7F3B}"/>
                    </a:ext>
                  </a:extLst>
                </p:cNvPr>
                <p:cNvSpPr>
                  <a:spLocks noGrp="1" noRot="1" noMove="1" noResize="1" noEditPoints="1" noAdjustHandles="1" noChangeArrowheads="1" noChangeShapeType="1"/>
                </p:cNvSpPr>
                <p:nvPr/>
              </p:nvSpPr>
              <p:spPr bwMode="gray">
                <a:xfrm>
                  <a:off x="5051678" y="3969298"/>
                  <a:ext cx="325600" cy="284220"/>
                </a:xfrm>
                <a:custGeom>
                  <a:avLst/>
                  <a:gdLst>
                    <a:gd name="connsiteX0" fmla="*/ 0 w 9922"/>
                    <a:gd name="connsiteY0" fmla="*/ 2308 h 9890"/>
                    <a:gd name="connsiteX1" fmla="*/ 0 w 9922"/>
                    <a:gd name="connsiteY1" fmla="*/ 2308 h 9890"/>
                    <a:gd name="connsiteX2" fmla="*/ 0 w 9922"/>
                    <a:gd name="connsiteY2" fmla="*/ 659 h 9890"/>
                    <a:gd name="connsiteX3" fmla="*/ 2558 w 9922"/>
                    <a:gd name="connsiteY3" fmla="*/ 0 h 9890"/>
                    <a:gd name="connsiteX4" fmla="*/ 4574 w 9922"/>
                    <a:gd name="connsiteY4" fmla="*/ 1868 h 9890"/>
                    <a:gd name="connsiteX5" fmla="*/ 6899 w 9922"/>
                    <a:gd name="connsiteY5" fmla="*/ 1429 h 9890"/>
                    <a:gd name="connsiteX6" fmla="*/ 9612 w 9922"/>
                    <a:gd name="connsiteY6" fmla="*/ 4505 h 9890"/>
                    <a:gd name="connsiteX7" fmla="*/ 9225 w 9922"/>
                    <a:gd name="connsiteY7" fmla="*/ 7692 h 9890"/>
                    <a:gd name="connsiteX8" fmla="*/ 9922 w 9922"/>
                    <a:gd name="connsiteY8" fmla="*/ 9121 h 9890"/>
                    <a:gd name="connsiteX9" fmla="*/ 7829 w 9922"/>
                    <a:gd name="connsiteY9" fmla="*/ 9890 h 9890"/>
                    <a:gd name="connsiteX10" fmla="*/ 6822 w 9922"/>
                    <a:gd name="connsiteY10" fmla="*/ 7033 h 9890"/>
                    <a:gd name="connsiteX11" fmla="*/ 5969 w 9922"/>
                    <a:gd name="connsiteY11" fmla="*/ 8242 h 9890"/>
                    <a:gd name="connsiteX12" fmla="*/ 2558 w 9922"/>
                    <a:gd name="connsiteY12" fmla="*/ 5604 h 9890"/>
                    <a:gd name="connsiteX13" fmla="*/ 930 w 9922"/>
                    <a:gd name="connsiteY13" fmla="*/ 2747 h 9890"/>
                    <a:gd name="connsiteX14" fmla="*/ 78 w 9922"/>
                    <a:gd name="connsiteY14" fmla="*/ 3407 h 9890"/>
                    <a:gd name="connsiteX15" fmla="*/ 0 w 9922"/>
                    <a:gd name="connsiteY15" fmla="*/ 2308 h 9890"/>
                    <a:gd name="connsiteX16" fmla="*/ 0 w 9922"/>
                    <a:gd name="connsiteY16" fmla="*/ 2308 h 9890"/>
                    <a:gd name="connsiteX0" fmla="*/ 0 w 10000"/>
                    <a:gd name="connsiteY0" fmla="*/ 2334 h 10000"/>
                    <a:gd name="connsiteX1" fmla="*/ 0 w 10000"/>
                    <a:gd name="connsiteY1" fmla="*/ 2334 h 10000"/>
                    <a:gd name="connsiteX2" fmla="*/ 2578 w 10000"/>
                    <a:gd name="connsiteY2" fmla="*/ 0 h 10000"/>
                    <a:gd name="connsiteX3" fmla="*/ 4610 w 10000"/>
                    <a:gd name="connsiteY3" fmla="*/ 1889 h 10000"/>
                    <a:gd name="connsiteX4" fmla="*/ 6953 w 10000"/>
                    <a:gd name="connsiteY4" fmla="*/ 1445 h 10000"/>
                    <a:gd name="connsiteX5" fmla="*/ 9688 w 10000"/>
                    <a:gd name="connsiteY5" fmla="*/ 4555 h 10000"/>
                    <a:gd name="connsiteX6" fmla="*/ 9298 w 10000"/>
                    <a:gd name="connsiteY6" fmla="*/ 7778 h 10000"/>
                    <a:gd name="connsiteX7" fmla="*/ 10000 w 10000"/>
                    <a:gd name="connsiteY7" fmla="*/ 9222 h 10000"/>
                    <a:gd name="connsiteX8" fmla="*/ 7891 w 10000"/>
                    <a:gd name="connsiteY8" fmla="*/ 10000 h 10000"/>
                    <a:gd name="connsiteX9" fmla="*/ 6876 w 10000"/>
                    <a:gd name="connsiteY9" fmla="*/ 7111 h 10000"/>
                    <a:gd name="connsiteX10" fmla="*/ 6016 w 10000"/>
                    <a:gd name="connsiteY10" fmla="*/ 8334 h 10000"/>
                    <a:gd name="connsiteX11" fmla="*/ 2578 w 10000"/>
                    <a:gd name="connsiteY11" fmla="*/ 5666 h 10000"/>
                    <a:gd name="connsiteX12" fmla="*/ 937 w 10000"/>
                    <a:gd name="connsiteY12" fmla="*/ 2778 h 10000"/>
                    <a:gd name="connsiteX13" fmla="*/ 79 w 10000"/>
                    <a:gd name="connsiteY13" fmla="*/ 3445 h 10000"/>
                    <a:gd name="connsiteX14" fmla="*/ 0 w 10000"/>
                    <a:gd name="connsiteY14" fmla="*/ 2334 h 10000"/>
                    <a:gd name="connsiteX15" fmla="*/ 0 w 10000"/>
                    <a:gd name="connsiteY15" fmla="*/ 2334 h 10000"/>
                    <a:gd name="connsiteX0" fmla="*/ 0 w 10000"/>
                    <a:gd name="connsiteY0" fmla="*/ 2334 h 10000"/>
                    <a:gd name="connsiteX1" fmla="*/ 0 w 10000"/>
                    <a:gd name="connsiteY1" fmla="*/ 2334 h 10000"/>
                    <a:gd name="connsiteX2" fmla="*/ 2578 w 10000"/>
                    <a:gd name="connsiteY2" fmla="*/ 0 h 10000"/>
                    <a:gd name="connsiteX3" fmla="*/ 4066 w 10000"/>
                    <a:gd name="connsiteY3" fmla="*/ 1425 h 10000"/>
                    <a:gd name="connsiteX4" fmla="*/ 4610 w 10000"/>
                    <a:gd name="connsiteY4" fmla="*/ 1889 h 10000"/>
                    <a:gd name="connsiteX5" fmla="*/ 6953 w 10000"/>
                    <a:gd name="connsiteY5" fmla="*/ 1445 h 10000"/>
                    <a:gd name="connsiteX6" fmla="*/ 9688 w 10000"/>
                    <a:gd name="connsiteY6" fmla="*/ 4555 h 10000"/>
                    <a:gd name="connsiteX7" fmla="*/ 9298 w 10000"/>
                    <a:gd name="connsiteY7" fmla="*/ 7778 h 10000"/>
                    <a:gd name="connsiteX8" fmla="*/ 10000 w 10000"/>
                    <a:gd name="connsiteY8" fmla="*/ 9222 h 10000"/>
                    <a:gd name="connsiteX9" fmla="*/ 7891 w 10000"/>
                    <a:gd name="connsiteY9" fmla="*/ 10000 h 10000"/>
                    <a:gd name="connsiteX10" fmla="*/ 6876 w 10000"/>
                    <a:gd name="connsiteY10" fmla="*/ 7111 h 10000"/>
                    <a:gd name="connsiteX11" fmla="*/ 6016 w 10000"/>
                    <a:gd name="connsiteY11" fmla="*/ 8334 h 10000"/>
                    <a:gd name="connsiteX12" fmla="*/ 2578 w 10000"/>
                    <a:gd name="connsiteY12" fmla="*/ 5666 h 10000"/>
                    <a:gd name="connsiteX13" fmla="*/ 937 w 10000"/>
                    <a:gd name="connsiteY13" fmla="*/ 2778 h 10000"/>
                    <a:gd name="connsiteX14" fmla="*/ 79 w 10000"/>
                    <a:gd name="connsiteY14" fmla="*/ 3445 h 10000"/>
                    <a:gd name="connsiteX15" fmla="*/ 0 w 10000"/>
                    <a:gd name="connsiteY15" fmla="*/ 2334 h 10000"/>
                    <a:gd name="connsiteX16" fmla="*/ 0 w 10000"/>
                    <a:gd name="connsiteY16" fmla="*/ 2334 h 10000"/>
                    <a:gd name="connsiteX0" fmla="*/ 0 w 10000"/>
                    <a:gd name="connsiteY0" fmla="*/ 909 h 8575"/>
                    <a:gd name="connsiteX1" fmla="*/ 0 w 10000"/>
                    <a:gd name="connsiteY1" fmla="*/ 909 h 8575"/>
                    <a:gd name="connsiteX2" fmla="*/ 4066 w 10000"/>
                    <a:gd name="connsiteY2" fmla="*/ 0 h 8575"/>
                    <a:gd name="connsiteX3" fmla="*/ 4610 w 10000"/>
                    <a:gd name="connsiteY3" fmla="*/ 464 h 8575"/>
                    <a:gd name="connsiteX4" fmla="*/ 6953 w 10000"/>
                    <a:gd name="connsiteY4" fmla="*/ 20 h 8575"/>
                    <a:gd name="connsiteX5" fmla="*/ 9688 w 10000"/>
                    <a:gd name="connsiteY5" fmla="*/ 3130 h 8575"/>
                    <a:gd name="connsiteX6" fmla="*/ 9298 w 10000"/>
                    <a:gd name="connsiteY6" fmla="*/ 6353 h 8575"/>
                    <a:gd name="connsiteX7" fmla="*/ 10000 w 10000"/>
                    <a:gd name="connsiteY7" fmla="*/ 7797 h 8575"/>
                    <a:gd name="connsiteX8" fmla="*/ 7891 w 10000"/>
                    <a:gd name="connsiteY8" fmla="*/ 8575 h 8575"/>
                    <a:gd name="connsiteX9" fmla="*/ 6876 w 10000"/>
                    <a:gd name="connsiteY9" fmla="*/ 5686 h 8575"/>
                    <a:gd name="connsiteX10" fmla="*/ 6016 w 10000"/>
                    <a:gd name="connsiteY10" fmla="*/ 6909 h 8575"/>
                    <a:gd name="connsiteX11" fmla="*/ 2578 w 10000"/>
                    <a:gd name="connsiteY11" fmla="*/ 4241 h 8575"/>
                    <a:gd name="connsiteX12" fmla="*/ 937 w 10000"/>
                    <a:gd name="connsiteY12" fmla="*/ 1353 h 8575"/>
                    <a:gd name="connsiteX13" fmla="*/ 79 w 10000"/>
                    <a:gd name="connsiteY13" fmla="*/ 2020 h 8575"/>
                    <a:gd name="connsiteX14" fmla="*/ 0 w 10000"/>
                    <a:gd name="connsiteY14" fmla="*/ 909 h 8575"/>
                    <a:gd name="connsiteX15" fmla="*/ 0 w 10000"/>
                    <a:gd name="connsiteY15" fmla="*/ 909 h 8575"/>
                    <a:gd name="connsiteX0" fmla="*/ 0 w 10000"/>
                    <a:gd name="connsiteY0" fmla="*/ 1060 h 10000"/>
                    <a:gd name="connsiteX1" fmla="*/ 0 w 10000"/>
                    <a:gd name="connsiteY1" fmla="*/ 1060 h 10000"/>
                    <a:gd name="connsiteX2" fmla="*/ 3215 w 10000"/>
                    <a:gd name="connsiteY2" fmla="*/ 166 h 10000"/>
                    <a:gd name="connsiteX3" fmla="*/ 4066 w 10000"/>
                    <a:gd name="connsiteY3" fmla="*/ 0 h 10000"/>
                    <a:gd name="connsiteX4" fmla="*/ 4610 w 10000"/>
                    <a:gd name="connsiteY4" fmla="*/ 541 h 10000"/>
                    <a:gd name="connsiteX5" fmla="*/ 6953 w 10000"/>
                    <a:gd name="connsiteY5" fmla="*/ 23 h 10000"/>
                    <a:gd name="connsiteX6" fmla="*/ 9688 w 10000"/>
                    <a:gd name="connsiteY6" fmla="*/ 3650 h 10000"/>
                    <a:gd name="connsiteX7" fmla="*/ 9298 w 10000"/>
                    <a:gd name="connsiteY7" fmla="*/ 7409 h 10000"/>
                    <a:gd name="connsiteX8" fmla="*/ 10000 w 10000"/>
                    <a:gd name="connsiteY8" fmla="*/ 9093 h 10000"/>
                    <a:gd name="connsiteX9" fmla="*/ 7891 w 10000"/>
                    <a:gd name="connsiteY9" fmla="*/ 10000 h 10000"/>
                    <a:gd name="connsiteX10" fmla="*/ 6876 w 10000"/>
                    <a:gd name="connsiteY10" fmla="*/ 6631 h 10000"/>
                    <a:gd name="connsiteX11" fmla="*/ 6016 w 10000"/>
                    <a:gd name="connsiteY11" fmla="*/ 8057 h 10000"/>
                    <a:gd name="connsiteX12" fmla="*/ 2578 w 10000"/>
                    <a:gd name="connsiteY12" fmla="*/ 4946 h 10000"/>
                    <a:gd name="connsiteX13" fmla="*/ 937 w 10000"/>
                    <a:gd name="connsiteY13" fmla="*/ 1578 h 10000"/>
                    <a:gd name="connsiteX14" fmla="*/ 79 w 10000"/>
                    <a:gd name="connsiteY14" fmla="*/ 2356 h 10000"/>
                    <a:gd name="connsiteX15" fmla="*/ 0 w 10000"/>
                    <a:gd name="connsiteY15" fmla="*/ 1060 h 10000"/>
                    <a:gd name="connsiteX16" fmla="*/ 0 w 10000"/>
                    <a:gd name="connsiteY16" fmla="*/ 1060 h 10000"/>
                    <a:gd name="connsiteX0" fmla="*/ 0 w 10000"/>
                    <a:gd name="connsiteY0" fmla="*/ 1060 h 10000"/>
                    <a:gd name="connsiteX1" fmla="*/ 0 w 10000"/>
                    <a:gd name="connsiteY1" fmla="*/ 1060 h 10000"/>
                    <a:gd name="connsiteX2" fmla="*/ 3315 w 10000"/>
                    <a:gd name="connsiteY2" fmla="*/ 1534 h 10000"/>
                    <a:gd name="connsiteX3" fmla="*/ 4066 w 10000"/>
                    <a:gd name="connsiteY3" fmla="*/ 0 h 10000"/>
                    <a:gd name="connsiteX4" fmla="*/ 4610 w 10000"/>
                    <a:gd name="connsiteY4" fmla="*/ 541 h 10000"/>
                    <a:gd name="connsiteX5" fmla="*/ 6953 w 10000"/>
                    <a:gd name="connsiteY5" fmla="*/ 23 h 10000"/>
                    <a:gd name="connsiteX6" fmla="*/ 9688 w 10000"/>
                    <a:gd name="connsiteY6" fmla="*/ 3650 h 10000"/>
                    <a:gd name="connsiteX7" fmla="*/ 9298 w 10000"/>
                    <a:gd name="connsiteY7" fmla="*/ 7409 h 10000"/>
                    <a:gd name="connsiteX8" fmla="*/ 10000 w 10000"/>
                    <a:gd name="connsiteY8" fmla="*/ 9093 h 10000"/>
                    <a:gd name="connsiteX9" fmla="*/ 7891 w 10000"/>
                    <a:gd name="connsiteY9" fmla="*/ 10000 h 10000"/>
                    <a:gd name="connsiteX10" fmla="*/ 6876 w 10000"/>
                    <a:gd name="connsiteY10" fmla="*/ 6631 h 10000"/>
                    <a:gd name="connsiteX11" fmla="*/ 6016 w 10000"/>
                    <a:gd name="connsiteY11" fmla="*/ 8057 h 10000"/>
                    <a:gd name="connsiteX12" fmla="*/ 2578 w 10000"/>
                    <a:gd name="connsiteY12" fmla="*/ 4946 h 10000"/>
                    <a:gd name="connsiteX13" fmla="*/ 937 w 10000"/>
                    <a:gd name="connsiteY13" fmla="*/ 1578 h 10000"/>
                    <a:gd name="connsiteX14" fmla="*/ 79 w 10000"/>
                    <a:gd name="connsiteY14" fmla="*/ 2356 h 10000"/>
                    <a:gd name="connsiteX15" fmla="*/ 0 w 10000"/>
                    <a:gd name="connsiteY15" fmla="*/ 1060 h 10000"/>
                    <a:gd name="connsiteX16" fmla="*/ 0 w 10000"/>
                    <a:gd name="connsiteY16" fmla="*/ 1060 h 10000"/>
                    <a:gd name="connsiteX0" fmla="*/ 0 w 10000"/>
                    <a:gd name="connsiteY0" fmla="*/ 1060 h 10000"/>
                    <a:gd name="connsiteX1" fmla="*/ 0 w 10000"/>
                    <a:gd name="connsiteY1" fmla="*/ 1060 h 10000"/>
                    <a:gd name="connsiteX2" fmla="*/ 1980 w 10000"/>
                    <a:gd name="connsiteY2" fmla="*/ 1347 h 10000"/>
                    <a:gd name="connsiteX3" fmla="*/ 3315 w 10000"/>
                    <a:gd name="connsiteY3" fmla="*/ 1534 h 10000"/>
                    <a:gd name="connsiteX4" fmla="*/ 4066 w 10000"/>
                    <a:gd name="connsiteY4" fmla="*/ 0 h 10000"/>
                    <a:gd name="connsiteX5" fmla="*/ 4610 w 10000"/>
                    <a:gd name="connsiteY5" fmla="*/ 541 h 10000"/>
                    <a:gd name="connsiteX6" fmla="*/ 6953 w 10000"/>
                    <a:gd name="connsiteY6" fmla="*/ 23 h 10000"/>
                    <a:gd name="connsiteX7" fmla="*/ 9688 w 10000"/>
                    <a:gd name="connsiteY7" fmla="*/ 3650 h 10000"/>
                    <a:gd name="connsiteX8" fmla="*/ 9298 w 10000"/>
                    <a:gd name="connsiteY8" fmla="*/ 7409 h 10000"/>
                    <a:gd name="connsiteX9" fmla="*/ 10000 w 10000"/>
                    <a:gd name="connsiteY9" fmla="*/ 9093 h 10000"/>
                    <a:gd name="connsiteX10" fmla="*/ 7891 w 10000"/>
                    <a:gd name="connsiteY10" fmla="*/ 10000 h 10000"/>
                    <a:gd name="connsiteX11" fmla="*/ 6876 w 10000"/>
                    <a:gd name="connsiteY11" fmla="*/ 6631 h 10000"/>
                    <a:gd name="connsiteX12" fmla="*/ 6016 w 10000"/>
                    <a:gd name="connsiteY12" fmla="*/ 8057 h 10000"/>
                    <a:gd name="connsiteX13" fmla="*/ 2578 w 10000"/>
                    <a:gd name="connsiteY13" fmla="*/ 4946 h 10000"/>
                    <a:gd name="connsiteX14" fmla="*/ 937 w 10000"/>
                    <a:gd name="connsiteY14" fmla="*/ 1578 h 10000"/>
                    <a:gd name="connsiteX15" fmla="*/ 79 w 10000"/>
                    <a:gd name="connsiteY15" fmla="*/ 2356 h 10000"/>
                    <a:gd name="connsiteX16" fmla="*/ 0 w 10000"/>
                    <a:gd name="connsiteY16" fmla="*/ 1060 h 10000"/>
                    <a:gd name="connsiteX17" fmla="*/ 0 w 10000"/>
                    <a:gd name="connsiteY17" fmla="*/ 1060 h 10000"/>
                    <a:gd name="connsiteX0" fmla="*/ 0 w 10000"/>
                    <a:gd name="connsiteY0" fmla="*/ 1060 h 10000"/>
                    <a:gd name="connsiteX1" fmla="*/ 0 w 10000"/>
                    <a:gd name="connsiteY1" fmla="*/ 1060 h 10000"/>
                    <a:gd name="connsiteX2" fmla="*/ 2197 w 10000"/>
                    <a:gd name="connsiteY2" fmla="*/ 1927 h 10000"/>
                    <a:gd name="connsiteX3" fmla="*/ 3315 w 10000"/>
                    <a:gd name="connsiteY3" fmla="*/ 1534 h 10000"/>
                    <a:gd name="connsiteX4" fmla="*/ 4066 w 10000"/>
                    <a:gd name="connsiteY4" fmla="*/ 0 h 10000"/>
                    <a:gd name="connsiteX5" fmla="*/ 4610 w 10000"/>
                    <a:gd name="connsiteY5" fmla="*/ 541 h 10000"/>
                    <a:gd name="connsiteX6" fmla="*/ 6953 w 10000"/>
                    <a:gd name="connsiteY6" fmla="*/ 23 h 10000"/>
                    <a:gd name="connsiteX7" fmla="*/ 9688 w 10000"/>
                    <a:gd name="connsiteY7" fmla="*/ 3650 h 10000"/>
                    <a:gd name="connsiteX8" fmla="*/ 9298 w 10000"/>
                    <a:gd name="connsiteY8" fmla="*/ 7409 h 10000"/>
                    <a:gd name="connsiteX9" fmla="*/ 10000 w 10000"/>
                    <a:gd name="connsiteY9" fmla="*/ 9093 h 10000"/>
                    <a:gd name="connsiteX10" fmla="*/ 7891 w 10000"/>
                    <a:gd name="connsiteY10" fmla="*/ 10000 h 10000"/>
                    <a:gd name="connsiteX11" fmla="*/ 6876 w 10000"/>
                    <a:gd name="connsiteY11" fmla="*/ 6631 h 10000"/>
                    <a:gd name="connsiteX12" fmla="*/ 6016 w 10000"/>
                    <a:gd name="connsiteY12" fmla="*/ 8057 h 10000"/>
                    <a:gd name="connsiteX13" fmla="*/ 2578 w 10000"/>
                    <a:gd name="connsiteY13" fmla="*/ 4946 h 10000"/>
                    <a:gd name="connsiteX14" fmla="*/ 937 w 10000"/>
                    <a:gd name="connsiteY14" fmla="*/ 1578 h 10000"/>
                    <a:gd name="connsiteX15" fmla="*/ 79 w 10000"/>
                    <a:gd name="connsiteY15" fmla="*/ 2356 h 10000"/>
                    <a:gd name="connsiteX16" fmla="*/ 0 w 10000"/>
                    <a:gd name="connsiteY16" fmla="*/ 1060 h 10000"/>
                    <a:gd name="connsiteX17" fmla="*/ 0 w 10000"/>
                    <a:gd name="connsiteY17" fmla="*/ 1060 h 10000"/>
                    <a:gd name="connsiteX0" fmla="*/ 0 w 10000"/>
                    <a:gd name="connsiteY0" fmla="*/ 1060 h 10000"/>
                    <a:gd name="connsiteX1" fmla="*/ 0 w 10000"/>
                    <a:gd name="connsiteY1" fmla="*/ 1060 h 10000"/>
                    <a:gd name="connsiteX2" fmla="*/ 1730 w 10000"/>
                    <a:gd name="connsiteY2" fmla="*/ 1720 h 10000"/>
                    <a:gd name="connsiteX3" fmla="*/ 2197 w 10000"/>
                    <a:gd name="connsiteY3" fmla="*/ 1927 h 10000"/>
                    <a:gd name="connsiteX4" fmla="*/ 3315 w 10000"/>
                    <a:gd name="connsiteY4" fmla="*/ 1534 h 10000"/>
                    <a:gd name="connsiteX5" fmla="*/ 4066 w 10000"/>
                    <a:gd name="connsiteY5" fmla="*/ 0 h 10000"/>
                    <a:gd name="connsiteX6" fmla="*/ 4610 w 10000"/>
                    <a:gd name="connsiteY6" fmla="*/ 541 h 10000"/>
                    <a:gd name="connsiteX7" fmla="*/ 6953 w 10000"/>
                    <a:gd name="connsiteY7" fmla="*/ 23 h 10000"/>
                    <a:gd name="connsiteX8" fmla="*/ 9688 w 10000"/>
                    <a:gd name="connsiteY8" fmla="*/ 3650 h 10000"/>
                    <a:gd name="connsiteX9" fmla="*/ 9298 w 10000"/>
                    <a:gd name="connsiteY9" fmla="*/ 7409 h 10000"/>
                    <a:gd name="connsiteX10" fmla="*/ 10000 w 10000"/>
                    <a:gd name="connsiteY10" fmla="*/ 9093 h 10000"/>
                    <a:gd name="connsiteX11" fmla="*/ 7891 w 10000"/>
                    <a:gd name="connsiteY11" fmla="*/ 10000 h 10000"/>
                    <a:gd name="connsiteX12" fmla="*/ 6876 w 10000"/>
                    <a:gd name="connsiteY12" fmla="*/ 6631 h 10000"/>
                    <a:gd name="connsiteX13" fmla="*/ 6016 w 10000"/>
                    <a:gd name="connsiteY13" fmla="*/ 8057 h 10000"/>
                    <a:gd name="connsiteX14" fmla="*/ 2578 w 10000"/>
                    <a:gd name="connsiteY14" fmla="*/ 4946 h 10000"/>
                    <a:gd name="connsiteX15" fmla="*/ 937 w 10000"/>
                    <a:gd name="connsiteY15" fmla="*/ 1578 h 10000"/>
                    <a:gd name="connsiteX16" fmla="*/ 79 w 10000"/>
                    <a:gd name="connsiteY16" fmla="*/ 2356 h 10000"/>
                    <a:gd name="connsiteX17" fmla="*/ 0 w 10000"/>
                    <a:gd name="connsiteY17" fmla="*/ 1060 h 10000"/>
                    <a:gd name="connsiteX18" fmla="*/ 0 w 10000"/>
                    <a:gd name="connsiteY18" fmla="*/ 1060 h 10000"/>
                    <a:gd name="connsiteX0" fmla="*/ 0 w 10000"/>
                    <a:gd name="connsiteY0" fmla="*/ 1060 h 10000"/>
                    <a:gd name="connsiteX1" fmla="*/ 0 w 10000"/>
                    <a:gd name="connsiteY1" fmla="*/ 1060 h 10000"/>
                    <a:gd name="connsiteX2" fmla="*/ 1513 w 10000"/>
                    <a:gd name="connsiteY2" fmla="*/ 1057 h 10000"/>
                    <a:gd name="connsiteX3" fmla="*/ 2197 w 10000"/>
                    <a:gd name="connsiteY3" fmla="*/ 1927 h 10000"/>
                    <a:gd name="connsiteX4" fmla="*/ 3315 w 10000"/>
                    <a:gd name="connsiteY4" fmla="*/ 1534 h 10000"/>
                    <a:gd name="connsiteX5" fmla="*/ 4066 w 10000"/>
                    <a:gd name="connsiteY5" fmla="*/ 0 h 10000"/>
                    <a:gd name="connsiteX6" fmla="*/ 4610 w 10000"/>
                    <a:gd name="connsiteY6" fmla="*/ 541 h 10000"/>
                    <a:gd name="connsiteX7" fmla="*/ 6953 w 10000"/>
                    <a:gd name="connsiteY7" fmla="*/ 23 h 10000"/>
                    <a:gd name="connsiteX8" fmla="*/ 9688 w 10000"/>
                    <a:gd name="connsiteY8" fmla="*/ 3650 h 10000"/>
                    <a:gd name="connsiteX9" fmla="*/ 9298 w 10000"/>
                    <a:gd name="connsiteY9" fmla="*/ 7409 h 10000"/>
                    <a:gd name="connsiteX10" fmla="*/ 10000 w 10000"/>
                    <a:gd name="connsiteY10" fmla="*/ 9093 h 10000"/>
                    <a:gd name="connsiteX11" fmla="*/ 7891 w 10000"/>
                    <a:gd name="connsiteY11" fmla="*/ 10000 h 10000"/>
                    <a:gd name="connsiteX12" fmla="*/ 6876 w 10000"/>
                    <a:gd name="connsiteY12" fmla="*/ 6631 h 10000"/>
                    <a:gd name="connsiteX13" fmla="*/ 6016 w 10000"/>
                    <a:gd name="connsiteY13" fmla="*/ 8057 h 10000"/>
                    <a:gd name="connsiteX14" fmla="*/ 2578 w 10000"/>
                    <a:gd name="connsiteY14" fmla="*/ 4946 h 10000"/>
                    <a:gd name="connsiteX15" fmla="*/ 937 w 10000"/>
                    <a:gd name="connsiteY15" fmla="*/ 1578 h 10000"/>
                    <a:gd name="connsiteX16" fmla="*/ 79 w 10000"/>
                    <a:gd name="connsiteY16" fmla="*/ 2356 h 10000"/>
                    <a:gd name="connsiteX17" fmla="*/ 0 w 10000"/>
                    <a:gd name="connsiteY17" fmla="*/ 1060 h 10000"/>
                    <a:gd name="connsiteX18" fmla="*/ 0 w 10000"/>
                    <a:gd name="connsiteY18" fmla="*/ 1060 h 10000"/>
                    <a:gd name="connsiteX0" fmla="*/ 0 w 10000"/>
                    <a:gd name="connsiteY0" fmla="*/ 1060 h 10000"/>
                    <a:gd name="connsiteX1" fmla="*/ 0 w 10000"/>
                    <a:gd name="connsiteY1" fmla="*/ 1060 h 10000"/>
                    <a:gd name="connsiteX2" fmla="*/ 1513 w 10000"/>
                    <a:gd name="connsiteY2" fmla="*/ 1057 h 10000"/>
                    <a:gd name="connsiteX3" fmla="*/ 2147 w 10000"/>
                    <a:gd name="connsiteY3" fmla="*/ 1906 h 10000"/>
                    <a:gd name="connsiteX4" fmla="*/ 3315 w 10000"/>
                    <a:gd name="connsiteY4" fmla="*/ 1534 h 10000"/>
                    <a:gd name="connsiteX5" fmla="*/ 4066 w 10000"/>
                    <a:gd name="connsiteY5" fmla="*/ 0 h 10000"/>
                    <a:gd name="connsiteX6" fmla="*/ 4610 w 10000"/>
                    <a:gd name="connsiteY6" fmla="*/ 541 h 10000"/>
                    <a:gd name="connsiteX7" fmla="*/ 6953 w 10000"/>
                    <a:gd name="connsiteY7" fmla="*/ 23 h 10000"/>
                    <a:gd name="connsiteX8" fmla="*/ 9688 w 10000"/>
                    <a:gd name="connsiteY8" fmla="*/ 3650 h 10000"/>
                    <a:gd name="connsiteX9" fmla="*/ 9298 w 10000"/>
                    <a:gd name="connsiteY9" fmla="*/ 7409 h 10000"/>
                    <a:gd name="connsiteX10" fmla="*/ 10000 w 10000"/>
                    <a:gd name="connsiteY10" fmla="*/ 9093 h 10000"/>
                    <a:gd name="connsiteX11" fmla="*/ 7891 w 10000"/>
                    <a:gd name="connsiteY11" fmla="*/ 10000 h 10000"/>
                    <a:gd name="connsiteX12" fmla="*/ 6876 w 10000"/>
                    <a:gd name="connsiteY12" fmla="*/ 6631 h 10000"/>
                    <a:gd name="connsiteX13" fmla="*/ 6016 w 10000"/>
                    <a:gd name="connsiteY13" fmla="*/ 8057 h 10000"/>
                    <a:gd name="connsiteX14" fmla="*/ 2578 w 10000"/>
                    <a:gd name="connsiteY14" fmla="*/ 4946 h 10000"/>
                    <a:gd name="connsiteX15" fmla="*/ 937 w 10000"/>
                    <a:gd name="connsiteY15" fmla="*/ 1578 h 10000"/>
                    <a:gd name="connsiteX16" fmla="*/ 79 w 10000"/>
                    <a:gd name="connsiteY16" fmla="*/ 2356 h 10000"/>
                    <a:gd name="connsiteX17" fmla="*/ 0 w 10000"/>
                    <a:gd name="connsiteY17" fmla="*/ 1060 h 10000"/>
                    <a:gd name="connsiteX18" fmla="*/ 0 w 10000"/>
                    <a:gd name="connsiteY18" fmla="*/ 1060 h 10000"/>
                    <a:gd name="connsiteX0" fmla="*/ 0 w 10000"/>
                    <a:gd name="connsiteY0" fmla="*/ 1060 h 10000"/>
                    <a:gd name="connsiteX1" fmla="*/ 0 w 10000"/>
                    <a:gd name="connsiteY1" fmla="*/ 1060 h 10000"/>
                    <a:gd name="connsiteX2" fmla="*/ 846 w 10000"/>
                    <a:gd name="connsiteY2" fmla="*/ 1037 h 10000"/>
                    <a:gd name="connsiteX3" fmla="*/ 1513 w 10000"/>
                    <a:gd name="connsiteY3" fmla="*/ 1057 h 10000"/>
                    <a:gd name="connsiteX4" fmla="*/ 2147 w 10000"/>
                    <a:gd name="connsiteY4" fmla="*/ 1906 h 10000"/>
                    <a:gd name="connsiteX5" fmla="*/ 3315 w 10000"/>
                    <a:gd name="connsiteY5" fmla="*/ 1534 h 10000"/>
                    <a:gd name="connsiteX6" fmla="*/ 4066 w 10000"/>
                    <a:gd name="connsiteY6" fmla="*/ 0 h 10000"/>
                    <a:gd name="connsiteX7" fmla="*/ 4610 w 10000"/>
                    <a:gd name="connsiteY7" fmla="*/ 541 h 10000"/>
                    <a:gd name="connsiteX8" fmla="*/ 6953 w 10000"/>
                    <a:gd name="connsiteY8" fmla="*/ 23 h 10000"/>
                    <a:gd name="connsiteX9" fmla="*/ 9688 w 10000"/>
                    <a:gd name="connsiteY9" fmla="*/ 3650 h 10000"/>
                    <a:gd name="connsiteX10" fmla="*/ 9298 w 10000"/>
                    <a:gd name="connsiteY10" fmla="*/ 7409 h 10000"/>
                    <a:gd name="connsiteX11" fmla="*/ 10000 w 10000"/>
                    <a:gd name="connsiteY11" fmla="*/ 9093 h 10000"/>
                    <a:gd name="connsiteX12" fmla="*/ 7891 w 10000"/>
                    <a:gd name="connsiteY12" fmla="*/ 10000 h 10000"/>
                    <a:gd name="connsiteX13" fmla="*/ 6876 w 10000"/>
                    <a:gd name="connsiteY13" fmla="*/ 6631 h 10000"/>
                    <a:gd name="connsiteX14" fmla="*/ 6016 w 10000"/>
                    <a:gd name="connsiteY14" fmla="*/ 8057 h 10000"/>
                    <a:gd name="connsiteX15" fmla="*/ 2578 w 10000"/>
                    <a:gd name="connsiteY15" fmla="*/ 4946 h 10000"/>
                    <a:gd name="connsiteX16" fmla="*/ 937 w 10000"/>
                    <a:gd name="connsiteY16" fmla="*/ 1578 h 10000"/>
                    <a:gd name="connsiteX17" fmla="*/ 79 w 10000"/>
                    <a:gd name="connsiteY17" fmla="*/ 2356 h 10000"/>
                    <a:gd name="connsiteX18" fmla="*/ 0 w 10000"/>
                    <a:gd name="connsiteY18" fmla="*/ 1060 h 10000"/>
                    <a:gd name="connsiteX19" fmla="*/ 0 w 10000"/>
                    <a:gd name="connsiteY19" fmla="*/ 1060 h 10000"/>
                    <a:gd name="connsiteX0" fmla="*/ 0 w 10000"/>
                    <a:gd name="connsiteY0" fmla="*/ 1060 h 10000"/>
                    <a:gd name="connsiteX1" fmla="*/ 0 w 10000"/>
                    <a:gd name="connsiteY1" fmla="*/ 1060 h 10000"/>
                    <a:gd name="connsiteX2" fmla="*/ 1313 w 10000"/>
                    <a:gd name="connsiteY2" fmla="*/ 1493 h 10000"/>
                    <a:gd name="connsiteX3" fmla="*/ 1513 w 10000"/>
                    <a:gd name="connsiteY3" fmla="*/ 1057 h 10000"/>
                    <a:gd name="connsiteX4" fmla="*/ 2147 w 10000"/>
                    <a:gd name="connsiteY4" fmla="*/ 1906 h 10000"/>
                    <a:gd name="connsiteX5" fmla="*/ 3315 w 10000"/>
                    <a:gd name="connsiteY5" fmla="*/ 1534 h 10000"/>
                    <a:gd name="connsiteX6" fmla="*/ 4066 w 10000"/>
                    <a:gd name="connsiteY6" fmla="*/ 0 h 10000"/>
                    <a:gd name="connsiteX7" fmla="*/ 4610 w 10000"/>
                    <a:gd name="connsiteY7" fmla="*/ 541 h 10000"/>
                    <a:gd name="connsiteX8" fmla="*/ 6953 w 10000"/>
                    <a:gd name="connsiteY8" fmla="*/ 23 h 10000"/>
                    <a:gd name="connsiteX9" fmla="*/ 9688 w 10000"/>
                    <a:gd name="connsiteY9" fmla="*/ 3650 h 10000"/>
                    <a:gd name="connsiteX10" fmla="*/ 9298 w 10000"/>
                    <a:gd name="connsiteY10" fmla="*/ 7409 h 10000"/>
                    <a:gd name="connsiteX11" fmla="*/ 10000 w 10000"/>
                    <a:gd name="connsiteY11" fmla="*/ 9093 h 10000"/>
                    <a:gd name="connsiteX12" fmla="*/ 7891 w 10000"/>
                    <a:gd name="connsiteY12" fmla="*/ 10000 h 10000"/>
                    <a:gd name="connsiteX13" fmla="*/ 6876 w 10000"/>
                    <a:gd name="connsiteY13" fmla="*/ 6631 h 10000"/>
                    <a:gd name="connsiteX14" fmla="*/ 6016 w 10000"/>
                    <a:gd name="connsiteY14" fmla="*/ 8057 h 10000"/>
                    <a:gd name="connsiteX15" fmla="*/ 2578 w 10000"/>
                    <a:gd name="connsiteY15" fmla="*/ 4946 h 10000"/>
                    <a:gd name="connsiteX16" fmla="*/ 937 w 10000"/>
                    <a:gd name="connsiteY16" fmla="*/ 1578 h 10000"/>
                    <a:gd name="connsiteX17" fmla="*/ 79 w 10000"/>
                    <a:gd name="connsiteY17" fmla="*/ 2356 h 10000"/>
                    <a:gd name="connsiteX18" fmla="*/ 0 w 10000"/>
                    <a:gd name="connsiteY18" fmla="*/ 1060 h 10000"/>
                    <a:gd name="connsiteX19" fmla="*/ 0 w 10000"/>
                    <a:gd name="connsiteY19" fmla="*/ 1060 h 10000"/>
                    <a:gd name="connsiteX0" fmla="*/ 0 w 10000"/>
                    <a:gd name="connsiteY0" fmla="*/ 1060 h 10000"/>
                    <a:gd name="connsiteX1" fmla="*/ 0 w 10000"/>
                    <a:gd name="connsiteY1" fmla="*/ 1060 h 10000"/>
                    <a:gd name="connsiteX2" fmla="*/ 462 w 10000"/>
                    <a:gd name="connsiteY2" fmla="*/ 1223 h 10000"/>
                    <a:gd name="connsiteX3" fmla="*/ 1313 w 10000"/>
                    <a:gd name="connsiteY3" fmla="*/ 1493 h 10000"/>
                    <a:gd name="connsiteX4" fmla="*/ 1513 w 10000"/>
                    <a:gd name="connsiteY4" fmla="*/ 1057 h 10000"/>
                    <a:gd name="connsiteX5" fmla="*/ 2147 w 10000"/>
                    <a:gd name="connsiteY5" fmla="*/ 1906 h 10000"/>
                    <a:gd name="connsiteX6" fmla="*/ 3315 w 10000"/>
                    <a:gd name="connsiteY6" fmla="*/ 1534 h 10000"/>
                    <a:gd name="connsiteX7" fmla="*/ 4066 w 10000"/>
                    <a:gd name="connsiteY7" fmla="*/ 0 h 10000"/>
                    <a:gd name="connsiteX8" fmla="*/ 4610 w 10000"/>
                    <a:gd name="connsiteY8" fmla="*/ 541 h 10000"/>
                    <a:gd name="connsiteX9" fmla="*/ 6953 w 10000"/>
                    <a:gd name="connsiteY9" fmla="*/ 23 h 10000"/>
                    <a:gd name="connsiteX10" fmla="*/ 9688 w 10000"/>
                    <a:gd name="connsiteY10" fmla="*/ 3650 h 10000"/>
                    <a:gd name="connsiteX11" fmla="*/ 9298 w 10000"/>
                    <a:gd name="connsiteY11" fmla="*/ 7409 h 10000"/>
                    <a:gd name="connsiteX12" fmla="*/ 10000 w 10000"/>
                    <a:gd name="connsiteY12" fmla="*/ 9093 h 10000"/>
                    <a:gd name="connsiteX13" fmla="*/ 7891 w 10000"/>
                    <a:gd name="connsiteY13" fmla="*/ 10000 h 10000"/>
                    <a:gd name="connsiteX14" fmla="*/ 6876 w 10000"/>
                    <a:gd name="connsiteY14" fmla="*/ 6631 h 10000"/>
                    <a:gd name="connsiteX15" fmla="*/ 6016 w 10000"/>
                    <a:gd name="connsiteY15" fmla="*/ 8057 h 10000"/>
                    <a:gd name="connsiteX16" fmla="*/ 2578 w 10000"/>
                    <a:gd name="connsiteY16" fmla="*/ 4946 h 10000"/>
                    <a:gd name="connsiteX17" fmla="*/ 937 w 10000"/>
                    <a:gd name="connsiteY17" fmla="*/ 1578 h 10000"/>
                    <a:gd name="connsiteX18" fmla="*/ 79 w 10000"/>
                    <a:gd name="connsiteY18" fmla="*/ 2356 h 10000"/>
                    <a:gd name="connsiteX19" fmla="*/ 0 w 10000"/>
                    <a:gd name="connsiteY19" fmla="*/ 1060 h 10000"/>
                    <a:gd name="connsiteX20" fmla="*/ 0 w 10000"/>
                    <a:gd name="connsiteY20" fmla="*/ 1060 h 10000"/>
                    <a:gd name="connsiteX0" fmla="*/ 0 w 10000"/>
                    <a:gd name="connsiteY0" fmla="*/ 1060 h 10000"/>
                    <a:gd name="connsiteX1" fmla="*/ 0 w 10000"/>
                    <a:gd name="connsiteY1" fmla="*/ 1060 h 10000"/>
                    <a:gd name="connsiteX2" fmla="*/ 112 w 10000"/>
                    <a:gd name="connsiteY2" fmla="*/ 1555 h 10000"/>
                    <a:gd name="connsiteX3" fmla="*/ 1313 w 10000"/>
                    <a:gd name="connsiteY3" fmla="*/ 1493 h 10000"/>
                    <a:gd name="connsiteX4" fmla="*/ 1513 w 10000"/>
                    <a:gd name="connsiteY4" fmla="*/ 1057 h 10000"/>
                    <a:gd name="connsiteX5" fmla="*/ 2147 w 10000"/>
                    <a:gd name="connsiteY5" fmla="*/ 1906 h 10000"/>
                    <a:gd name="connsiteX6" fmla="*/ 3315 w 10000"/>
                    <a:gd name="connsiteY6" fmla="*/ 1534 h 10000"/>
                    <a:gd name="connsiteX7" fmla="*/ 4066 w 10000"/>
                    <a:gd name="connsiteY7" fmla="*/ 0 h 10000"/>
                    <a:gd name="connsiteX8" fmla="*/ 4610 w 10000"/>
                    <a:gd name="connsiteY8" fmla="*/ 541 h 10000"/>
                    <a:gd name="connsiteX9" fmla="*/ 6953 w 10000"/>
                    <a:gd name="connsiteY9" fmla="*/ 23 h 10000"/>
                    <a:gd name="connsiteX10" fmla="*/ 9688 w 10000"/>
                    <a:gd name="connsiteY10" fmla="*/ 3650 h 10000"/>
                    <a:gd name="connsiteX11" fmla="*/ 9298 w 10000"/>
                    <a:gd name="connsiteY11" fmla="*/ 7409 h 10000"/>
                    <a:gd name="connsiteX12" fmla="*/ 10000 w 10000"/>
                    <a:gd name="connsiteY12" fmla="*/ 9093 h 10000"/>
                    <a:gd name="connsiteX13" fmla="*/ 7891 w 10000"/>
                    <a:gd name="connsiteY13" fmla="*/ 10000 h 10000"/>
                    <a:gd name="connsiteX14" fmla="*/ 6876 w 10000"/>
                    <a:gd name="connsiteY14" fmla="*/ 6631 h 10000"/>
                    <a:gd name="connsiteX15" fmla="*/ 6016 w 10000"/>
                    <a:gd name="connsiteY15" fmla="*/ 8057 h 10000"/>
                    <a:gd name="connsiteX16" fmla="*/ 2578 w 10000"/>
                    <a:gd name="connsiteY16" fmla="*/ 4946 h 10000"/>
                    <a:gd name="connsiteX17" fmla="*/ 937 w 10000"/>
                    <a:gd name="connsiteY17" fmla="*/ 1578 h 10000"/>
                    <a:gd name="connsiteX18" fmla="*/ 79 w 10000"/>
                    <a:gd name="connsiteY18" fmla="*/ 2356 h 10000"/>
                    <a:gd name="connsiteX19" fmla="*/ 0 w 10000"/>
                    <a:gd name="connsiteY19" fmla="*/ 1060 h 10000"/>
                    <a:gd name="connsiteX20" fmla="*/ 0 w 10000"/>
                    <a:gd name="connsiteY20" fmla="*/ 1060 h 10000"/>
                    <a:gd name="connsiteX0" fmla="*/ 0 w 10000"/>
                    <a:gd name="connsiteY0" fmla="*/ 1060 h 10000"/>
                    <a:gd name="connsiteX1" fmla="*/ 0 w 10000"/>
                    <a:gd name="connsiteY1" fmla="*/ 1060 h 10000"/>
                    <a:gd name="connsiteX2" fmla="*/ 112 w 10000"/>
                    <a:gd name="connsiteY2" fmla="*/ 1555 h 10000"/>
                    <a:gd name="connsiteX3" fmla="*/ 1280 w 10000"/>
                    <a:gd name="connsiteY3" fmla="*/ 1389 h 10000"/>
                    <a:gd name="connsiteX4" fmla="*/ 1513 w 10000"/>
                    <a:gd name="connsiteY4" fmla="*/ 1057 h 10000"/>
                    <a:gd name="connsiteX5" fmla="*/ 2147 w 10000"/>
                    <a:gd name="connsiteY5" fmla="*/ 1906 h 10000"/>
                    <a:gd name="connsiteX6" fmla="*/ 3315 w 10000"/>
                    <a:gd name="connsiteY6" fmla="*/ 1534 h 10000"/>
                    <a:gd name="connsiteX7" fmla="*/ 4066 w 10000"/>
                    <a:gd name="connsiteY7" fmla="*/ 0 h 10000"/>
                    <a:gd name="connsiteX8" fmla="*/ 4610 w 10000"/>
                    <a:gd name="connsiteY8" fmla="*/ 541 h 10000"/>
                    <a:gd name="connsiteX9" fmla="*/ 6953 w 10000"/>
                    <a:gd name="connsiteY9" fmla="*/ 23 h 10000"/>
                    <a:gd name="connsiteX10" fmla="*/ 9688 w 10000"/>
                    <a:gd name="connsiteY10" fmla="*/ 3650 h 10000"/>
                    <a:gd name="connsiteX11" fmla="*/ 9298 w 10000"/>
                    <a:gd name="connsiteY11" fmla="*/ 7409 h 10000"/>
                    <a:gd name="connsiteX12" fmla="*/ 10000 w 10000"/>
                    <a:gd name="connsiteY12" fmla="*/ 9093 h 10000"/>
                    <a:gd name="connsiteX13" fmla="*/ 7891 w 10000"/>
                    <a:gd name="connsiteY13" fmla="*/ 10000 h 10000"/>
                    <a:gd name="connsiteX14" fmla="*/ 6876 w 10000"/>
                    <a:gd name="connsiteY14" fmla="*/ 6631 h 10000"/>
                    <a:gd name="connsiteX15" fmla="*/ 6016 w 10000"/>
                    <a:gd name="connsiteY15" fmla="*/ 8057 h 10000"/>
                    <a:gd name="connsiteX16" fmla="*/ 2578 w 10000"/>
                    <a:gd name="connsiteY16" fmla="*/ 4946 h 10000"/>
                    <a:gd name="connsiteX17" fmla="*/ 937 w 10000"/>
                    <a:gd name="connsiteY17" fmla="*/ 1578 h 10000"/>
                    <a:gd name="connsiteX18" fmla="*/ 79 w 10000"/>
                    <a:gd name="connsiteY18" fmla="*/ 2356 h 10000"/>
                    <a:gd name="connsiteX19" fmla="*/ 0 w 10000"/>
                    <a:gd name="connsiteY19" fmla="*/ 1060 h 10000"/>
                    <a:gd name="connsiteX20" fmla="*/ 0 w 10000"/>
                    <a:gd name="connsiteY20" fmla="*/ 1060 h 10000"/>
                    <a:gd name="connsiteX0" fmla="*/ 0 w 10000"/>
                    <a:gd name="connsiteY0" fmla="*/ 1060 h 10000"/>
                    <a:gd name="connsiteX1" fmla="*/ 0 w 10000"/>
                    <a:gd name="connsiteY1" fmla="*/ 1060 h 10000"/>
                    <a:gd name="connsiteX2" fmla="*/ 112 w 10000"/>
                    <a:gd name="connsiteY2" fmla="*/ 1555 h 10000"/>
                    <a:gd name="connsiteX3" fmla="*/ 1280 w 10000"/>
                    <a:gd name="connsiteY3" fmla="*/ 1389 h 10000"/>
                    <a:gd name="connsiteX4" fmla="*/ 1513 w 10000"/>
                    <a:gd name="connsiteY4" fmla="*/ 1057 h 10000"/>
                    <a:gd name="connsiteX5" fmla="*/ 2214 w 10000"/>
                    <a:gd name="connsiteY5" fmla="*/ 1968 h 10000"/>
                    <a:gd name="connsiteX6" fmla="*/ 3315 w 10000"/>
                    <a:gd name="connsiteY6" fmla="*/ 1534 h 10000"/>
                    <a:gd name="connsiteX7" fmla="*/ 4066 w 10000"/>
                    <a:gd name="connsiteY7" fmla="*/ 0 h 10000"/>
                    <a:gd name="connsiteX8" fmla="*/ 4610 w 10000"/>
                    <a:gd name="connsiteY8" fmla="*/ 541 h 10000"/>
                    <a:gd name="connsiteX9" fmla="*/ 6953 w 10000"/>
                    <a:gd name="connsiteY9" fmla="*/ 23 h 10000"/>
                    <a:gd name="connsiteX10" fmla="*/ 9688 w 10000"/>
                    <a:gd name="connsiteY10" fmla="*/ 3650 h 10000"/>
                    <a:gd name="connsiteX11" fmla="*/ 9298 w 10000"/>
                    <a:gd name="connsiteY11" fmla="*/ 7409 h 10000"/>
                    <a:gd name="connsiteX12" fmla="*/ 10000 w 10000"/>
                    <a:gd name="connsiteY12" fmla="*/ 9093 h 10000"/>
                    <a:gd name="connsiteX13" fmla="*/ 7891 w 10000"/>
                    <a:gd name="connsiteY13" fmla="*/ 10000 h 10000"/>
                    <a:gd name="connsiteX14" fmla="*/ 6876 w 10000"/>
                    <a:gd name="connsiteY14" fmla="*/ 6631 h 10000"/>
                    <a:gd name="connsiteX15" fmla="*/ 6016 w 10000"/>
                    <a:gd name="connsiteY15" fmla="*/ 8057 h 10000"/>
                    <a:gd name="connsiteX16" fmla="*/ 2578 w 10000"/>
                    <a:gd name="connsiteY16" fmla="*/ 4946 h 10000"/>
                    <a:gd name="connsiteX17" fmla="*/ 937 w 10000"/>
                    <a:gd name="connsiteY17" fmla="*/ 1578 h 10000"/>
                    <a:gd name="connsiteX18" fmla="*/ 79 w 10000"/>
                    <a:gd name="connsiteY18" fmla="*/ 2356 h 10000"/>
                    <a:gd name="connsiteX19" fmla="*/ 0 w 10000"/>
                    <a:gd name="connsiteY19" fmla="*/ 1060 h 10000"/>
                    <a:gd name="connsiteX20" fmla="*/ 0 w 10000"/>
                    <a:gd name="connsiteY20" fmla="*/ 1060 h 10000"/>
                    <a:gd name="connsiteX0" fmla="*/ 0 w 10000"/>
                    <a:gd name="connsiteY0" fmla="*/ 1060 h 10000"/>
                    <a:gd name="connsiteX1" fmla="*/ 0 w 10000"/>
                    <a:gd name="connsiteY1" fmla="*/ 1060 h 10000"/>
                    <a:gd name="connsiteX2" fmla="*/ 62 w 10000"/>
                    <a:gd name="connsiteY2" fmla="*/ 1555 h 10000"/>
                    <a:gd name="connsiteX3" fmla="*/ 1280 w 10000"/>
                    <a:gd name="connsiteY3" fmla="*/ 1389 h 10000"/>
                    <a:gd name="connsiteX4" fmla="*/ 1513 w 10000"/>
                    <a:gd name="connsiteY4" fmla="*/ 1057 h 10000"/>
                    <a:gd name="connsiteX5" fmla="*/ 2214 w 10000"/>
                    <a:gd name="connsiteY5" fmla="*/ 1968 h 10000"/>
                    <a:gd name="connsiteX6" fmla="*/ 3315 w 10000"/>
                    <a:gd name="connsiteY6" fmla="*/ 1534 h 10000"/>
                    <a:gd name="connsiteX7" fmla="*/ 4066 w 10000"/>
                    <a:gd name="connsiteY7" fmla="*/ 0 h 10000"/>
                    <a:gd name="connsiteX8" fmla="*/ 4610 w 10000"/>
                    <a:gd name="connsiteY8" fmla="*/ 541 h 10000"/>
                    <a:gd name="connsiteX9" fmla="*/ 6953 w 10000"/>
                    <a:gd name="connsiteY9" fmla="*/ 23 h 10000"/>
                    <a:gd name="connsiteX10" fmla="*/ 9688 w 10000"/>
                    <a:gd name="connsiteY10" fmla="*/ 3650 h 10000"/>
                    <a:gd name="connsiteX11" fmla="*/ 9298 w 10000"/>
                    <a:gd name="connsiteY11" fmla="*/ 7409 h 10000"/>
                    <a:gd name="connsiteX12" fmla="*/ 10000 w 10000"/>
                    <a:gd name="connsiteY12" fmla="*/ 9093 h 10000"/>
                    <a:gd name="connsiteX13" fmla="*/ 7891 w 10000"/>
                    <a:gd name="connsiteY13" fmla="*/ 10000 h 10000"/>
                    <a:gd name="connsiteX14" fmla="*/ 6876 w 10000"/>
                    <a:gd name="connsiteY14" fmla="*/ 6631 h 10000"/>
                    <a:gd name="connsiteX15" fmla="*/ 6016 w 10000"/>
                    <a:gd name="connsiteY15" fmla="*/ 8057 h 10000"/>
                    <a:gd name="connsiteX16" fmla="*/ 2578 w 10000"/>
                    <a:gd name="connsiteY16" fmla="*/ 4946 h 10000"/>
                    <a:gd name="connsiteX17" fmla="*/ 937 w 10000"/>
                    <a:gd name="connsiteY17" fmla="*/ 1578 h 10000"/>
                    <a:gd name="connsiteX18" fmla="*/ 79 w 10000"/>
                    <a:gd name="connsiteY18" fmla="*/ 2356 h 10000"/>
                    <a:gd name="connsiteX19" fmla="*/ 0 w 10000"/>
                    <a:gd name="connsiteY19" fmla="*/ 1060 h 10000"/>
                    <a:gd name="connsiteX20" fmla="*/ 0 w 10000"/>
                    <a:gd name="connsiteY20" fmla="*/ 1060 h 10000"/>
                    <a:gd name="connsiteX0" fmla="*/ 0 w 10000"/>
                    <a:gd name="connsiteY0" fmla="*/ 1060 h 10000"/>
                    <a:gd name="connsiteX1" fmla="*/ 0 w 10000"/>
                    <a:gd name="connsiteY1" fmla="*/ 1060 h 10000"/>
                    <a:gd name="connsiteX2" fmla="*/ 62 w 10000"/>
                    <a:gd name="connsiteY2" fmla="*/ 1555 h 10000"/>
                    <a:gd name="connsiteX3" fmla="*/ 1280 w 10000"/>
                    <a:gd name="connsiteY3" fmla="*/ 1389 h 10000"/>
                    <a:gd name="connsiteX4" fmla="*/ 1480 w 10000"/>
                    <a:gd name="connsiteY4" fmla="*/ 1057 h 10000"/>
                    <a:gd name="connsiteX5" fmla="*/ 2214 w 10000"/>
                    <a:gd name="connsiteY5" fmla="*/ 1968 h 10000"/>
                    <a:gd name="connsiteX6" fmla="*/ 3315 w 10000"/>
                    <a:gd name="connsiteY6" fmla="*/ 1534 h 10000"/>
                    <a:gd name="connsiteX7" fmla="*/ 4066 w 10000"/>
                    <a:gd name="connsiteY7" fmla="*/ 0 h 10000"/>
                    <a:gd name="connsiteX8" fmla="*/ 4610 w 10000"/>
                    <a:gd name="connsiteY8" fmla="*/ 541 h 10000"/>
                    <a:gd name="connsiteX9" fmla="*/ 6953 w 10000"/>
                    <a:gd name="connsiteY9" fmla="*/ 23 h 10000"/>
                    <a:gd name="connsiteX10" fmla="*/ 9688 w 10000"/>
                    <a:gd name="connsiteY10" fmla="*/ 3650 h 10000"/>
                    <a:gd name="connsiteX11" fmla="*/ 9298 w 10000"/>
                    <a:gd name="connsiteY11" fmla="*/ 7409 h 10000"/>
                    <a:gd name="connsiteX12" fmla="*/ 10000 w 10000"/>
                    <a:gd name="connsiteY12" fmla="*/ 9093 h 10000"/>
                    <a:gd name="connsiteX13" fmla="*/ 7891 w 10000"/>
                    <a:gd name="connsiteY13" fmla="*/ 10000 h 10000"/>
                    <a:gd name="connsiteX14" fmla="*/ 6876 w 10000"/>
                    <a:gd name="connsiteY14" fmla="*/ 6631 h 10000"/>
                    <a:gd name="connsiteX15" fmla="*/ 6016 w 10000"/>
                    <a:gd name="connsiteY15" fmla="*/ 8057 h 10000"/>
                    <a:gd name="connsiteX16" fmla="*/ 2578 w 10000"/>
                    <a:gd name="connsiteY16" fmla="*/ 4946 h 10000"/>
                    <a:gd name="connsiteX17" fmla="*/ 937 w 10000"/>
                    <a:gd name="connsiteY17" fmla="*/ 1578 h 10000"/>
                    <a:gd name="connsiteX18" fmla="*/ 79 w 10000"/>
                    <a:gd name="connsiteY18" fmla="*/ 2356 h 10000"/>
                    <a:gd name="connsiteX19" fmla="*/ 0 w 10000"/>
                    <a:gd name="connsiteY19" fmla="*/ 1060 h 10000"/>
                    <a:gd name="connsiteX20" fmla="*/ 0 w 10000"/>
                    <a:gd name="connsiteY20" fmla="*/ 1060 h 10000"/>
                    <a:gd name="connsiteX0" fmla="*/ 0 w 10000"/>
                    <a:gd name="connsiteY0" fmla="*/ 1060 h 10000"/>
                    <a:gd name="connsiteX1" fmla="*/ 0 w 10000"/>
                    <a:gd name="connsiteY1" fmla="*/ 1060 h 10000"/>
                    <a:gd name="connsiteX2" fmla="*/ 62 w 10000"/>
                    <a:gd name="connsiteY2" fmla="*/ 1555 h 10000"/>
                    <a:gd name="connsiteX3" fmla="*/ 1313 w 10000"/>
                    <a:gd name="connsiteY3" fmla="*/ 1368 h 10000"/>
                    <a:gd name="connsiteX4" fmla="*/ 1480 w 10000"/>
                    <a:gd name="connsiteY4" fmla="*/ 1057 h 10000"/>
                    <a:gd name="connsiteX5" fmla="*/ 2214 w 10000"/>
                    <a:gd name="connsiteY5" fmla="*/ 1968 h 10000"/>
                    <a:gd name="connsiteX6" fmla="*/ 3315 w 10000"/>
                    <a:gd name="connsiteY6" fmla="*/ 1534 h 10000"/>
                    <a:gd name="connsiteX7" fmla="*/ 4066 w 10000"/>
                    <a:gd name="connsiteY7" fmla="*/ 0 h 10000"/>
                    <a:gd name="connsiteX8" fmla="*/ 4610 w 10000"/>
                    <a:gd name="connsiteY8" fmla="*/ 541 h 10000"/>
                    <a:gd name="connsiteX9" fmla="*/ 6953 w 10000"/>
                    <a:gd name="connsiteY9" fmla="*/ 23 h 10000"/>
                    <a:gd name="connsiteX10" fmla="*/ 9688 w 10000"/>
                    <a:gd name="connsiteY10" fmla="*/ 3650 h 10000"/>
                    <a:gd name="connsiteX11" fmla="*/ 9298 w 10000"/>
                    <a:gd name="connsiteY11" fmla="*/ 7409 h 10000"/>
                    <a:gd name="connsiteX12" fmla="*/ 10000 w 10000"/>
                    <a:gd name="connsiteY12" fmla="*/ 9093 h 10000"/>
                    <a:gd name="connsiteX13" fmla="*/ 7891 w 10000"/>
                    <a:gd name="connsiteY13" fmla="*/ 10000 h 10000"/>
                    <a:gd name="connsiteX14" fmla="*/ 6876 w 10000"/>
                    <a:gd name="connsiteY14" fmla="*/ 6631 h 10000"/>
                    <a:gd name="connsiteX15" fmla="*/ 6016 w 10000"/>
                    <a:gd name="connsiteY15" fmla="*/ 8057 h 10000"/>
                    <a:gd name="connsiteX16" fmla="*/ 2578 w 10000"/>
                    <a:gd name="connsiteY16" fmla="*/ 4946 h 10000"/>
                    <a:gd name="connsiteX17" fmla="*/ 937 w 10000"/>
                    <a:gd name="connsiteY17" fmla="*/ 1578 h 10000"/>
                    <a:gd name="connsiteX18" fmla="*/ 79 w 10000"/>
                    <a:gd name="connsiteY18" fmla="*/ 2356 h 10000"/>
                    <a:gd name="connsiteX19" fmla="*/ 0 w 10000"/>
                    <a:gd name="connsiteY19" fmla="*/ 1060 h 10000"/>
                    <a:gd name="connsiteX20" fmla="*/ 0 w 10000"/>
                    <a:gd name="connsiteY20" fmla="*/ 1060 h 10000"/>
                    <a:gd name="connsiteX0" fmla="*/ 601 w 10601"/>
                    <a:gd name="connsiteY0" fmla="*/ 1060 h 10000"/>
                    <a:gd name="connsiteX1" fmla="*/ 601 w 10601"/>
                    <a:gd name="connsiteY1" fmla="*/ 1060 h 10000"/>
                    <a:gd name="connsiteX2" fmla="*/ 663 w 10601"/>
                    <a:gd name="connsiteY2" fmla="*/ 1555 h 10000"/>
                    <a:gd name="connsiteX3" fmla="*/ 1914 w 10601"/>
                    <a:gd name="connsiteY3" fmla="*/ 1368 h 10000"/>
                    <a:gd name="connsiteX4" fmla="*/ 2081 w 10601"/>
                    <a:gd name="connsiteY4" fmla="*/ 1057 h 10000"/>
                    <a:gd name="connsiteX5" fmla="*/ 2815 w 10601"/>
                    <a:gd name="connsiteY5" fmla="*/ 1968 h 10000"/>
                    <a:gd name="connsiteX6" fmla="*/ 3916 w 10601"/>
                    <a:gd name="connsiteY6" fmla="*/ 1534 h 10000"/>
                    <a:gd name="connsiteX7" fmla="*/ 4667 w 10601"/>
                    <a:gd name="connsiteY7" fmla="*/ 0 h 10000"/>
                    <a:gd name="connsiteX8" fmla="*/ 5211 w 10601"/>
                    <a:gd name="connsiteY8" fmla="*/ 541 h 10000"/>
                    <a:gd name="connsiteX9" fmla="*/ 7554 w 10601"/>
                    <a:gd name="connsiteY9" fmla="*/ 23 h 10000"/>
                    <a:gd name="connsiteX10" fmla="*/ 10289 w 10601"/>
                    <a:gd name="connsiteY10" fmla="*/ 3650 h 10000"/>
                    <a:gd name="connsiteX11" fmla="*/ 9899 w 10601"/>
                    <a:gd name="connsiteY11" fmla="*/ 7409 h 10000"/>
                    <a:gd name="connsiteX12" fmla="*/ 10601 w 10601"/>
                    <a:gd name="connsiteY12" fmla="*/ 9093 h 10000"/>
                    <a:gd name="connsiteX13" fmla="*/ 8492 w 10601"/>
                    <a:gd name="connsiteY13" fmla="*/ 10000 h 10000"/>
                    <a:gd name="connsiteX14" fmla="*/ 7477 w 10601"/>
                    <a:gd name="connsiteY14" fmla="*/ 6631 h 10000"/>
                    <a:gd name="connsiteX15" fmla="*/ 6617 w 10601"/>
                    <a:gd name="connsiteY15" fmla="*/ 8057 h 10000"/>
                    <a:gd name="connsiteX16" fmla="*/ 3179 w 10601"/>
                    <a:gd name="connsiteY16" fmla="*/ 4946 h 10000"/>
                    <a:gd name="connsiteX17" fmla="*/ 1538 w 10601"/>
                    <a:gd name="connsiteY17" fmla="*/ 1578 h 10000"/>
                    <a:gd name="connsiteX18" fmla="*/ 680 w 10601"/>
                    <a:gd name="connsiteY18" fmla="*/ 2356 h 10000"/>
                    <a:gd name="connsiteX19" fmla="*/ 601 w 10601"/>
                    <a:gd name="connsiteY19" fmla="*/ 1060 h 10000"/>
                    <a:gd name="connsiteX20" fmla="*/ 0 w 10601"/>
                    <a:gd name="connsiteY20" fmla="*/ 1164 h 10000"/>
                    <a:gd name="connsiteX0" fmla="*/ 0 w 10000"/>
                    <a:gd name="connsiteY0" fmla="*/ 1060 h 10000"/>
                    <a:gd name="connsiteX1" fmla="*/ 0 w 10000"/>
                    <a:gd name="connsiteY1" fmla="*/ 1060 h 10000"/>
                    <a:gd name="connsiteX2" fmla="*/ 62 w 10000"/>
                    <a:gd name="connsiteY2" fmla="*/ 1555 h 10000"/>
                    <a:gd name="connsiteX3" fmla="*/ 1313 w 10000"/>
                    <a:gd name="connsiteY3" fmla="*/ 1368 h 10000"/>
                    <a:gd name="connsiteX4" fmla="*/ 1480 w 10000"/>
                    <a:gd name="connsiteY4" fmla="*/ 1057 h 10000"/>
                    <a:gd name="connsiteX5" fmla="*/ 2214 w 10000"/>
                    <a:gd name="connsiteY5" fmla="*/ 1968 h 10000"/>
                    <a:gd name="connsiteX6" fmla="*/ 3315 w 10000"/>
                    <a:gd name="connsiteY6" fmla="*/ 1534 h 10000"/>
                    <a:gd name="connsiteX7" fmla="*/ 4066 w 10000"/>
                    <a:gd name="connsiteY7" fmla="*/ 0 h 10000"/>
                    <a:gd name="connsiteX8" fmla="*/ 4610 w 10000"/>
                    <a:gd name="connsiteY8" fmla="*/ 541 h 10000"/>
                    <a:gd name="connsiteX9" fmla="*/ 6953 w 10000"/>
                    <a:gd name="connsiteY9" fmla="*/ 23 h 10000"/>
                    <a:gd name="connsiteX10" fmla="*/ 9688 w 10000"/>
                    <a:gd name="connsiteY10" fmla="*/ 3650 h 10000"/>
                    <a:gd name="connsiteX11" fmla="*/ 9298 w 10000"/>
                    <a:gd name="connsiteY11" fmla="*/ 7409 h 10000"/>
                    <a:gd name="connsiteX12" fmla="*/ 10000 w 10000"/>
                    <a:gd name="connsiteY12" fmla="*/ 9093 h 10000"/>
                    <a:gd name="connsiteX13" fmla="*/ 7891 w 10000"/>
                    <a:gd name="connsiteY13" fmla="*/ 10000 h 10000"/>
                    <a:gd name="connsiteX14" fmla="*/ 6876 w 10000"/>
                    <a:gd name="connsiteY14" fmla="*/ 6631 h 10000"/>
                    <a:gd name="connsiteX15" fmla="*/ 6016 w 10000"/>
                    <a:gd name="connsiteY15" fmla="*/ 8057 h 10000"/>
                    <a:gd name="connsiteX16" fmla="*/ 2578 w 10000"/>
                    <a:gd name="connsiteY16" fmla="*/ 4946 h 10000"/>
                    <a:gd name="connsiteX17" fmla="*/ 937 w 10000"/>
                    <a:gd name="connsiteY17" fmla="*/ 1578 h 10000"/>
                    <a:gd name="connsiteX18" fmla="*/ 79 w 10000"/>
                    <a:gd name="connsiteY18" fmla="*/ 2356 h 10000"/>
                    <a:gd name="connsiteX19" fmla="*/ 0 w 10000"/>
                    <a:gd name="connsiteY19" fmla="*/ 1060 h 10000"/>
                    <a:gd name="connsiteX0" fmla="*/ 0 w 10000"/>
                    <a:gd name="connsiteY0" fmla="*/ 1060 h 10000"/>
                    <a:gd name="connsiteX1" fmla="*/ 0 w 10000"/>
                    <a:gd name="connsiteY1" fmla="*/ 1060 h 10000"/>
                    <a:gd name="connsiteX2" fmla="*/ 62 w 10000"/>
                    <a:gd name="connsiteY2" fmla="*/ 1555 h 10000"/>
                    <a:gd name="connsiteX3" fmla="*/ 1313 w 10000"/>
                    <a:gd name="connsiteY3" fmla="*/ 1368 h 10000"/>
                    <a:gd name="connsiteX4" fmla="*/ 1480 w 10000"/>
                    <a:gd name="connsiteY4" fmla="*/ 1057 h 10000"/>
                    <a:gd name="connsiteX5" fmla="*/ 2214 w 10000"/>
                    <a:gd name="connsiteY5" fmla="*/ 1968 h 10000"/>
                    <a:gd name="connsiteX6" fmla="*/ 3315 w 10000"/>
                    <a:gd name="connsiteY6" fmla="*/ 1534 h 10000"/>
                    <a:gd name="connsiteX7" fmla="*/ 4066 w 10000"/>
                    <a:gd name="connsiteY7" fmla="*/ 0 h 10000"/>
                    <a:gd name="connsiteX8" fmla="*/ 4610 w 10000"/>
                    <a:gd name="connsiteY8" fmla="*/ 541 h 10000"/>
                    <a:gd name="connsiteX9" fmla="*/ 6953 w 10000"/>
                    <a:gd name="connsiteY9" fmla="*/ 23 h 10000"/>
                    <a:gd name="connsiteX10" fmla="*/ 9688 w 10000"/>
                    <a:gd name="connsiteY10" fmla="*/ 3650 h 10000"/>
                    <a:gd name="connsiteX11" fmla="*/ 9298 w 10000"/>
                    <a:gd name="connsiteY11" fmla="*/ 7409 h 10000"/>
                    <a:gd name="connsiteX12" fmla="*/ 10000 w 10000"/>
                    <a:gd name="connsiteY12" fmla="*/ 9093 h 10000"/>
                    <a:gd name="connsiteX13" fmla="*/ 7891 w 10000"/>
                    <a:gd name="connsiteY13" fmla="*/ 10000 h 10000"/>
                    <a:gd name="connsiteX14" fmla="*/ 6876 w 10000"/>
                    <a:gd name="connsiteY14" fmla="*/ 6631 h 10000"/>
                    <a:gd name="connsiteX15" fmla="*/ 6016 w 10000"/>
                    <a:gd name="connsiteY15" fmla="*/ 8057 h 10000"/>
                    <a:gd name="connsiteX16" fmla="*/ 2578 w 10000"/>
                    <a:gd name="connsiteY16" fmla="*/ 4946 h 10000"/>
                    <a:gd name="connsiteX17" fmla="*/ 937 w 10000"/>
                    <a:gd name="connsiteY17" fmla="*/ 1578 h 10000"/>
                    <a:gd name="connsiteX18" fmla="*/ 79 w 10000"/>
                    <a:gd name="connsiteY18" fmla="*/ 2356 h 10000"/>
                    <a:gd name="connsiteX19" fmla="*/ 0 w 10000"/>
                    <a:gd name="connsiteY19" fmla="*/ 1060 h 10000"/>
                    <a:gd name="connsiteX20" fmla="*/ 0 w 10000"/>
                    <a:gd name="connsiteY20" fmla="*/ 1060 h 10000"/>
                    <a:gd name="connsiteX0" fmla="*/ 0 w 10901"/>
                    <a:gd name="connsiteY0" fmla="*/ 1226 h 10000"/>
                    <a:gd name="connsiteX1" fmla="*/ 901 w 10901"/>
                    <a:gd name="connsiteY1" fmla="*/ 1060 h 10000"/>
                    <a:gd name="connsiteX2" fmla="*/ 963 w 10901"/>
                    <a:gd name="connsiteY2" fmla="*/ 1555 h 10000"/>
                    <a:gd name="connsiteX3" fmla="*/ 2214 w 10901"/>
                    <a:gd name="connsiteY3" fmla="*/ 1368 h 10000"/>
                    <a:gd name="connsiteX4" fmla="*/ 2381 w 10901"/>
                    <a:gd name="connsiteY4" fmla="*/ 1057 h 10000"/>
                    <a:gd name="connsiteX5" fmla="*/ 3115 w 10901"/>
                    <a:gd name="connsiteY5" fmla="*/ 1968 h 10000"/>
                    <a:gd name="connsiteX6" fmla="*/ 4216 w 10901"/>
                    <a:gd name="connsiteY6" fmla="*/ 1534 h 10000"/>
                    <a:gd name="connsiteX7" fmla="*/ 4967 w 10901"/>
                    <a:gd name="connsiteY7" fmla="*/ 0 h 10000"/>
                    <a:gd name="connsiteX8" fmla="*/ 5511 w 10901"/>
                    <a:gd name="connsiteY8" fmla="*/ 541 h 10000"/>
                    <a:gd name="connsiteX9" fmla="*/ 7854 w 10901"/>
                    <a:gd name="connsiteY9" fmla="*/ 23 h 10000"/>
                    <a:gd name="connsiteX10" fmla="*/ 10589 w 10901"/>
                    <a:gd name="connsiteY10" fmla="*/ 3650 h 10000"/>
                    <a:gd name="connsiteX11" fmla="*/ 10199 w 10901"/>
                    <a:gd name="connsiteY11" fmla="*/ 7409 h 10000"/>
                    <a:gd name="connsiteX12" fmla="*/ 10901 w 10901"/>
                    <a:gd name="connsiteY12" fmla="*/ 9093 h 10000"/>
                    <a:gd name="connsiteX13" fmla="*/ 8792 w 10901"/>
                    <a:gd name="connsiteY13" fmla="*/ 10000 h 10000"/>
                    <a:gd name="connsiteX14" fmla="*/ 7777 w 10901"/>
                    <a:gd name="connsiteY14" fmla="*/ 6631 h 10000"/>
                    <a:gd name="connsiteX15" fmla="*/ 6917 w 10901"/>
                    <a:gd name="connsiteY15" fmla="*/ 8057 h 10000"/>
                    <a:gd name="connsiteX16" fmla="*/ 3479 w 10901"/>
                    <a:gd name="connsiteY16" fmla="*/ 4946 h 10000"/>
                    <a:gd name="connsiteX17" fmla="*/ 1838 w 10901"/>
                    <a:gd name="connsiteY17" fmla="*/ 1578 h 10000"/>
                    <a:gd name="connsiteX18" fmla="*/ 980 w 10901"/>
                    <a:gd name="connsiteY18" fmla="*/ 2356 h 10000"/>
                    <a:gd name="connsiteX19" fmla="*/ 901 w 10901"/>
                    <a:gd name="connsiteY19" fmla="*/ 1060 h 10000"/>
                    <a:gd name="connsiteX20" fmla="*/ 0 w 10901"/>
                    <a:gd name="connsiteY20" fmla="*/ 1226 h 10000"/>
                    <a:gd name="connsiteX0" fmla="*/ 0 w 10000"/>
                    <a:gd name="connsiteY0" fmla="*/ 1060 h 10000"/>
                    <a:gd name="connsiteX1" fmla="*/ 0 w 10000"/>
                    <a:gd name="connsiteY1" fmla="*/ 1060 h 10000"/>
                    <a:gd name="connsiteX2" fmla="*/ 62 w 10000"/>
                    <a:gd name="connsiteY2" fmla="*/ 1555 h 10000"/>
                    <a:gd name="connsiteX3" fmla="*/ 1313 w 10000"/>
                    <a:gd name="connsiteY3" fmla="*/ 1368 h 10000"/>
                    <a:gd name="connsiteX4" fmla="*/ 1480 w 10000"/>
                    <a:gd name="connsiteY4" fmla="*/ 1057 h 10000"/>
                    <a:gd name="connsiteX5" fmla="*/ 2214 w 10000"/>
                    <a:gd name="connsiteY5" fmla="*/ 1968 h 10000"/>
                    <a:gd name="connsiteX6" fmla="*/ 3315 w 10000"/>
                    <a:gd name="connsiteY6" fmla="*/ 1534 h 10000"/>
                    <a:gd name="connsiteX7" fmla="*/ 4066 w 10000"/>
                    <a:gd name="connsiteY7" fmla="*/ 0 h 10000"/>
                    <a:gd name="connsiteX8" fmla="*/ 4610 w 10000"/>
                    <a:gd name="connsiteY8" fmla="*/ 541 h 10000"/>
                    <a:gd name="connsiteX9" fmla="*/ 6953 w 10000"/>
                    <a:gd name="connsiteY9" fmla="*/ 23 h 10000"/>
                    <a:gd name="connsiteX10" fmla="*/ 9688 w 10000"/>
                    <a:gd name="connsiteY10" fmla="*/ 3650 h 10000"/>
                    <a:gd name="connsiteX11" fmla="*/ 9298 w 10000"/>
                    <a:gd name="connsiteY11" fmla="*/ 7409 h 10000"/>
                    <a:gd name="connsiteX12" fmla="*/ 10000 w 10000"/>
                    <a:gd name="connsiteY12" fmla="*/ 9093 h 10000"/>
                    <a:gd name="connsiteX13" fmla="*/ 7891 w 10000"/>
                    <a:gd name="connsiteY13" fmla="*/ 10000 h 10000"/>
                    <a:gd name="connsiteX14" fmla="*/ 6876 w 10000"/>
                    <a:gd name="connsiteY14" fmla="*/ 6631 h 10000"/>
                    <a:gd name="connsiteX15" fmla="*/ 6016 w 10000"/>
                    <a:gd name="connsiteY15" fmla="*/ 8057 h 10000"/>
                    <a:gd name="connsiteX16" fmla="*/ 2578 w 10000"/>
                    <a:gd name="connsiteY16" fmla="*/ 4946 h 10000"/>
                    <a:gd name="connsiteX17" fmla="*/ 937 w 10000"/>
                    <a:gd name="connsiteY17" fmla="*/ 1578 h 10000"/>
                    <a:gd name="connsiteX18" fmla="*/ 79 w 10000"/>
                    <a:gd name="connsiteY18" fmla="*/ 2356 h 10000"/>
                    <a:gd name="connsiteX19" fmla="*/ 0 w 10000"/>
                    <a:gd name="connsiteY19" fmla="*/ 1060 h 10000"/>
                    <a:gd name="connsiteX0" fmla="*/ 96 w 10017"/>
                    <a:gd name="connsiteY0" fmla="*/ 2356 h 10000"/>
                    <a:gd name="connsiteX1" fmla="*/ 17 w 10017"/>
                    <a:gd name="connsiteY1" fmla="*/ 1060 h 10000"/>
                    <a:gd name="connsiteX2" fmla="*/ 79 w 10017"/>
                    <a:gd name="connsiteY2" fmla="*/ 1555 h 10000"/>
                    <a:gd name="connsiteX3" fmla="*/ 1330 w 10017"/>
                    <a:gd name="connsiteY3" fmla="*/ 1368 h 10000"/>
                    <a:gd name="connsiteX4" fmla="*/ 1497 w 10017"/>
                    <a:gd name="connsiteY4" fmla="*/ 1057 h 10000"/>
                    <a:gd name="connsiteX5" fmla="*/ 2231 w 10017"/>
                    <a:gd name="connsiteY5" fmla="*/ 1968 h 10000"/>
                    <a:gd name="connsiteX6" fmla="*/ 3332 w 10017"/>
                    <a:gd name="connsiteY6" fmla="*/ 1534 h 10000"/>
                    <a:gd name="connsiteX7" fmla="*/ 4083 w 10017"/>
                    <a:gd name="connsiteY7" fmla="*/ 0 h 10000"/>
                    <a:gd name="connsiteX8" fmla="*/ 4627 w 10017"/>
                    <a:gd name="connsiteY8" fmla="*/ 541 h 10000"/>
                    <a:gd name="connsiteX9" fmla="*/ 6970 w 10017"/>
                    <a:gd name="connsiteY9" fmla="*/ 23 h 10000"/>
                    <a:gd name="connsiteX10" fmla="*/ 9705 w 10017"/>
                    <a:gd name="connsiteY10" fmla="*/ 3650 h 10000"/>
                    <a:gd name="connsiteX11" fmla="*/ 9315 w 10017"/>
                    <a:gd name="connsiteY11" fmla="*/ 7409 h 10000"/>
                    <a:gd name="connsiteX12" fmla="*/ 10017 w 10017"/>
                    <a:gd name="connsiteY12" fmla="*/ 9093 h 10000"/>
                    <a:gd name="connsiteX13" fmla="*/ 7908 w 10017"/>
                    <a:gd name="connsiteY13" fmla="*/ 10000 h 10000"/>
                    <a:gd name="connsiteX14" fmla="*/ 6893 w 10017"/>
                    <a:gd name="connsiteY14" fmla="*/ 6631 h 10000"/>
                    <a:gd name="connsiteX15" fmla="*/ 6033 w 10017"/>
                    <a:gd name="connsiteY15" fmla="*/ 8057 h 10000"/>
                    <a:gd name="connsiteX16" fmla="*/ 2595 w 10017"/>
                    <a:gd name="connsiteY16" fmla="*/ 4946 h 10000"/>
                    <a:gd name="connsiteX17" fmla="*/ 954 w 10017"/>
                    <a:gd name="connsiteY17" fmla="*/ 1578 h 10000"/>
                    <a:gd name="connsiteX18" fmla="*/ 96 w 10017"/>
                    <a:gd name="connsiteY18" fmla="*/ 2356 h 10000"/>
                    <a:gd name="connsiteX0" fmla="*/ 142 w 10063"/>
                    <a:gd name="connsiteY0" fmla="*/ 2356 h 10000"/>
                    <a:gd name="connsiteX1" fmla="*/ 125 w 10063"/>
                    <a:gd name="connsiteY1" fmla="*/ 1555 h 10000"/>
                    <a:gd name="connsiteX2" fmla="*/ 1376 w 10063"/>
                    <a:gd name="connsiteY2" fmla="*/ 1368 h 10000"/>
                    <a:gd name="connsiteX3" fmla="*/ 1543 w 10063"/>
                    <a:gd name="connsiteY3" fmla="*/ 1057 h 10000"/>
                    <a:gd name="connsiteX4" fmla="*/ 2277 w 10063"/>
                    <a:gd name="connsiteY4" fmla="*/ 1968 h 10000"/>
                    <a:gd name="connsiteX5" fmla="*/ 3378 w 10063"/>
                    <a:gd name="connsiteY5" fmla="*/ 1534 h 10000"/>
                    <a:gd name="connsiteX6" fmla="*/ 4129 w 10063"/>
                    <a:gd name="connsiteY6" fmla="*/ 0 h 10000"/>
                    <a:gd name="connsiteX7" fmla="*/ 4673 w 10063"/>
                    <a:gd name="connsiteY7" fmla="*/ 541 h 10000"/>
                    <a:gd name="connsiteX8" fmla="*/ 7016 w 10063"/>
                    <a:gd name="connsiteY8" fmla="*/ 23 h 10000"/>
                    <a:gd name="connsiteX9" fmla="*/ 9751 w 10063"/>
                    <a:gd name="connsiteY9" fmla="*/ 3650 h 10000"/>
                    <a:gd name="connsiteX10" fmla="*/ 9361 w 10063"/>
                    <a:gd name="connsiteY10" fmla="*/ 7409 h 10000"/>
                    <a:gd name="connsiteX11" fmla="*/ 10063 w 10063"/>
                    <a:gd name="connsiteY11" fmla="*/ 9093 h 10000"/>
                    <a:gd name="connsiteX12" fmla="*/ 7954 w 10063"/>
                    <a:gd name="connsiteY12" fmla="*/ 10000 h 10000"/>
                    <a:gd name="connsiteX13" fmla="*/ 6939 w 10063"/>
                    <a:gd name="connsiteY13" fmla="*/ 6631 h 10000"/>
                    <a:gd name="connsiteX14" fmla="*/ 6079 w 10063"/>
                    <a:gd name="connsiteY14" fmla="*/ 8057 h 10000"/>
                    <a:gd name="connsiteX15" fmla="*/ 2641 w 10063"/>
                    <a:gd name="connsiteY15" fmla="*/ 4946 h 10000"/>
                    <a:gd name="connsiteX16" fmla="*/ 1000 w 10063"/>
                    <a:gd name="connsiteY16" fmla="*/ 1578 h 10000"/>
                    <a:gd name="connsiteX17" fmla="*/ 142 w 10063"/>
                    <a:gd name="connsiteY17" fmla="*/ 2356 h 10000"/>
                    <a:gd name="connsiteX0" fmla="*/ 165 w 10086"/>
                    <a:gd name="connsiteY0" fmla="*/ 2356 h 10000"/>
                    <a:gd name="connsiteX1" fmla="*/ 148 w 10086"/>
                    <a:gd name="connsiteY1" fmla="*/ 1555 h 10000"/>
                    <a:gd name="connsiteX2" fmla="*/ 1399 w 10086"/>
                    <a:gd name="connsiteY2" fmla="*/ 1368 h 10000"/>
                    <a:gd name="connsiteX3" fmla="*/ 1566 w 10086"/>
                    <a:gd name="connsiteY3" fmla="*/ 1057 h 10000"/>
                    <a:gd name="connsiteX4" fmla="*/ 2300 w 10086"/>
                    <a:gd name="connsiteY4" fmla="*/ 1968 h 10000"/>
                    <a:gd name="connsiteX5" fmla="*/ 3401 w 10086"/>
                    <a:gd name="connsiteY5" fmla="*/ 1534 h 10000"/>
                    <a:gd name="connsiteX6" fmla="*/ 4152 w 10086"/>
                    <a:gd name="connsiteY6" fmla="*/ 0 h 10000"/>
                    <a:gd name="connsiteX7" fmla="*/ 4696 w 10086"/>
                    <a:gd name="connsiteY7" fmla="*/ 541 h 10000"/>
                    <a:gd name="connsiteX8" fmla="*/ 7039 w 10086"/>
                    <a:gd name="connsiteY8" fmla="*/ 23 h 10000"/>
                    <a:gd name="connsiteX9" fmla="*/ 9774 w 10086"/>
                    <a:gd name="connsiteY9" fmla="*/ 3650 h 10000"/>
                    <a:gd name="connsiteX10" fmla="*/ 9384 w 10086"/>
                    <a:gd name="connsiteY10" fmla="*/ 7409 h 10000"/>
                    <a:gd name="connsiteX11" fmla="*/ 10086 w 10086"/>
                    <a:gd name="connsiteY11" fmla="*/ 9093 h 10000"/>
                    <a:gd name="connsiteX12" fmla="*/ 7977 w 10086"/>
                    <a:gd name="connsiteY12" fmla="*/ 10000 h 10000"/>
                    <a:gd name="connsiteX13" fmla="*/ 6962 w 10086"/>
                    <a:gd name="connsiteY13" fmla="*/ 6631 h 10000"/>
                    <a:gd name="connsiteX14" fmla="*/ 6102 w 10086"/>
                    <a:gd name="connsiteY14" fmla="*/ 8057 h 10000"/>
                    <a:gd name="connsiteX15" fmla="*/ 2664 w 10086"/>
                    <a:gd name="connsiteY15" fmla="*/ 4946 h 10000"/>
                    <a:gd name="connsiteX16" fmla="*/ 1023 w 10086"/>
                    <a:gd name="connsiteY16" fmla="*/ 1578 h 10000"/>
                    <a:gd name="connsiteX17" fmla="*/ 165 w 10086"/>
                    <a:gd name="connsiteY17" fmla="*/ 2356 h 10000"/>
                    <a:gd name="connsiteX0" fmla="*/ 165 w 10086"/>
                    <a:gd name="connsiteY0" fmla="*/ 2356 h 10000"/>
                    <a:gd name="connsiteX1" fmla="*/ 148 w 10086"/>
                    <a:gd name="connsiteY1" fmla="*/ 1555 h 10000"/>
                    <a:gd name="connsiteX2" fmla="*/ 1399 w 10086"/>
                    <a:gd name="connsiteY2" fmla="*/ 1368 h 10000"/>
                    <a:gd name="connsiteX3" fmla="*/ 1566 w 10086"/>
                    <a:gd name="connsiteY3" fmla="*/ 1057 h 10000"/>
                    <a:gd name="connsiteX4" fmla="*/ 2300 w 10086"/>
                    <a:gd name="connsiteY4" fmla="*/ 1968 h 10000"/>
                    <a:gd name="connsiteX5" fmla="*/ 3401 w 10086"/>
                    <a:gd name="connsiteY5" fmla="*/ 1534 h 10000"/>
                    <a:gd name="connsiteX6" fmla="*/ 4152 w 10086"/>
                    <a:gd name="connsiteY6" fmla="*/ 0 h 10000"/>
                    <a:gd name="connsiteX7" fmla="*/ 4696 w 10086"/>
                    <a:gd name="connsiteY7" fmla="*/ 541 h 10000"/>
                    <a:gd name="connsiteX8" fmla="*/ 7039 w 10086"/>
                    <a:gd name="connsiteY8" fmla="*/ 23 h 10000"/>
                    <a:gd name="connsiteX9" fmla="*/ 9774 w 10086"/>
                    <a:gd name="connsiteY9" fmla="*/ 3650 h 10000"/>
                    <a:gd name="connsiteX10" fmla="*/ 9384 w 10086"/>
                    <a:gd name="connsiteY10" fmla="*/ 7409 h 10000"/>
                    <a:gd name="connsiteX11" fmla="*/ 10086 w 10086"/>
                    <a:gd name="connsiteY11" fmla="*/ 9093 h 10000"/>
                    <a:gd name="connsiteX12" fmla="*/ 7977 w 10086"/>
                    <a:gd name="connsiteY12" fmla="*/ 10000 h 10000"/>
                    <a:gd name="connsiteX13" fmla="*/ 6962 w 10086"/>
                    <a:gd name="connsiteY13" fmla="*/ 6631 h 10000"/>
                    <a:gd name="connsiteX14" fmla="*/ 6102 w 10086"/>
                    <a:gd name="connsiteY14" fmla="*/ 8057 h 10000"/>
                    <a:gd name="connsiteX15" fmla="*/ 2664 w 10086"/>
                    <a:gd name="connsiteY15" fmla="*/ 4946 h 10000"/>
                    <a:gd name="connsiteX16" fmla="*/ 1023 w 10086"/>
                    <a:gd name="connsiteY16" fmla="*/ 1578 h 10000"/>
                    <a:gd name="connsiteX17" fmla="*/ 165 w 10086"/>
                    <a:gd name="connsiteY17" fmla="*/ 2356 h 10000"/>
                    <a:gd name="connsiteX0" fmla="*/ 68 w 9989"/>
                    <a:gd name="connsiteY0" fmla="*/ 2356 h 10000"/>
                    <a:gd name="connsiteX1" fmla="*/ 51 w 9989"/>
                    <a:gd name="connsiteY1" fmla="*/ 1555 h 10000"/>
                    <a:gd name="connsiteX2" fmla="*/ 1302 w 9989"/>
                    <a:gd name="connsiteY2" fmla="*/ 1368 h 10000"/>
                    <a:gd name="connsiteX3" fmla="*/ 1469 w 9989"/>
                    <a:gd name="connsiteY3" fmla="*/ 1057 h 10000"/>
                    <a:gd name="connsiteX4" fmla="*/ 2203 w 9989"/>
                    <a:gd name="connsiteY4" fmla="*/ 1968 h 10000"/>
                    <a:gd name="connsiteX5" fmla="*/ 3304 w 9989"/>
                    <a:gd name="connsiteY5" fmla="*/ 1534 h 10000"/>
                    <a:gd name="connsiteX6" fmla="*/ 4055 w 9989"/>
                    <a:gd name="connsiteY6" fmla="*/ 0 h 10000"/>
                    <a:gd name="connsiteX7" fmla="*/ 4599 w 9989"/>
                    <a:gd name="connsiteY7" fmla="*/ 541 h 10000"/>
                    <a:gd name="connsiteX8" fmla="*/ 6942 w 9989"/>
                    <a:gd name="connsiteY8" fmla="*/ 23 h 10000"/>
                    <a:gd name="connsiteX9" fmla="*/ 9677 w 9989"/>
                    <a:gd name="connsiteY9" fmla="*/ 3650 h 10000"/>
                    <a:gd name="connsiteX10" fmla="*/ 9287 w 9989"/>
                    <a:gd name="connsiteY10" fmla="*/ 7409 h 10000"/>
                    <a:gd name="connsiteX11" fmla="*/ 9989 w 9989"/>
                    <a:gd name="connsiteY11" fmla="*/ 9093 h 10000"/>
                    <a:gd name="connsiteX12" fmla="*/ 7880 w 9989"/>
                    <a:gd name="connsiteY12" fmla="*/ 10000 h 10000"/>
                    <a:gd name="connsiteX13" fmla="*/ 6865 w 9989"/>
                    <a:gd name="connsiteY13" fmla="*/ 6631 h 10000"/>
                    <a:gd name="connsiteX14" fmla="*/ 6005 w 9989"/>
                    <a:gd name="connsiteY14" fmla="*/ 8057 h 10000"/>
                    <a:gd name="connsiteX15" fmla="*/ 2567 w 9989"/>
                    <a:gd name="connsiteY15" fmla="*/ 4946 h 10000"/>
                    <a:gd name="connsiteX16" fmla="*/ 926 w 9989"/>
                    <a:gd name="connsiteY16" fmla="*/ 1578 h 10000"/>
                    <a:gd name="connsiteX17" fmla="*/ 68 w 9989"/>
                    <a:gd name="connsiteY17" fmla="*/ 2356 h 10000"/>
                    <a:gd name="connsiteX0" fmla="*/ 68 w 10000"/>
                    <a:gd name="connsiteY0" fmla="*/ 2356 h 10000"/>
                    <a:gd name="connsiteX1" fmla="*/ 51 w 10000"/>
                    <a:gd name="connsiteY1" fmla="*/ 1555 h 10000"/>
                    <a:gd name="connsiteX2" fmla="*/ 1303 w 10000"/>
                    <a:gd name="connsiteY2" fmla="*/ 1368 h 10000"/>
                    <a:gd name="connsiteX3" fmla="*/ 1471 w 10000"/>
                    <a:gd name="connsiteY3" fmla="*/ 1057 h 10000"/>
                    <a:gd name="connsiteX4" fmla="*/ 2205 w 10000"/>
                    <a:gd name="connsiteY4" fmla="*/ 1968 h 10000"/>
                    <a:gd name="connsiteX5" fmla="*/ 3308 w 10000"/>
                    <a:gd name="connsiteY5" fmla="*/ 1534 h 10000"/>
                    <a:gd name="connsiteX6" fmla="*/ 4059 w 10000"/>
                    <a:gd name="connsiteY6" fmla="*/ 0 h 10000"/>
                    <a:gd name="connsiteX7" fmla="*/ 4604 w 10000"/>
                    <a:gd name="connsiteY7" fmla="*/ 541 h 10000"/>
                    <a:gd name="connsiteX8" fmla="*/ 6950 w 10000"/>
                    <a:gd name="connsiteY8" fmla="*/ 23 h 10000"/>
                    <a:gd name="connsiteX9" fmla="*/ 9688 w 10000"/>
                    <a:gd name="connsiteY9" fmla="*/ 3650 h 10000"/>
                    <a:gd name="connsiteX10" fmla="*/ 9297 w 10000"/>
                    <a:gd name="connsiteY10" fmla="*/ 7409 h 10000"/>
                    <a:gd name="connsiteX11" fmla="*/ 10000 w 10000"/>
                    <a:gd name="connsiteY11" fmla="*/ 9093 h 10000"/>
                    <a:gd name="connsiteX12" fmla="*/ 7889 w 10000"/>
                    <a:gd name="connsiteY12" fmla="*/ 10000 h 10000"/>
                    <a:gd name="connsiteX13" fmla="*/ 6873 w 10000"/>
                    <a:gd name="connsiteY13" fmla="*/ 6631 h 10000"/>
                    <a:gd name="connsiteX14" fmla="*/ 6012 w 10000"/>
                    <a:gd name="connsiteY14" fmla="*/ 8057 h 10000"/>
                    <a:gd name="connsiteX15" fmla="*/ 2570 w 10000"/>
                    <a:gd name="connsiteY15" fmla="*/ 4946 h 10000"/>
                    <a:gd name="connsiteX16" fmla="*/ 927 w 10000"/>
                    <a:gd name="connsiteY16" fmla="*/ 1578 h 10000"/>
                    <a:gd name="connsiteX17" fmla="*/ 68 w 10000"/>
                    <a:gd name="connsiteY17" fmla="*/ 2356 h 10000"/>
                    <a:gd name="connsiteX0" fmla="*/ 68 w 10000"/>
                    <a:gd name="connsiteY0" fmla="*/ 2356 h 10000"/>
                    <a:gd name="connsiteX1" fmla="*/ 51 w 10000"/>
                    <a:gd name="connsiteY1" fmla="*/ 1555 h 10000"/>
                    <a:gd name="connsiteX2" fmla="*/ 1303 w 10000"/>
                    <a:gd name="connsiteY2" fmla="*/ 1368 h 10000"/>
                    <a:gd name="connsiteX3" fmla="*/ 1471 w 10000"/>
                    <a:gd name="connsiteY3" fmla="*/ 1057 h 10000"/>
                    <a:gd name="connsiteX4" fmla="*/ 2205 w 10000"/>
                    <a:gd name="connsiteY4" fmla="*/ 1968 h 10000"/>
                    <a:gd name="connsiteX5" fmla="*/ 3308 w 10000"/>
                    <a:gd name="connsiteY5" fmla="*/ 1534 h 10000"/>
                    <a:gd name="connsiteX6" fmla="*/ 4059 w 10000"/>
                    <a:gd name="connsiteY6" fmla="*/ 0 h 10000"/>
                    <a:gd name="connsiteX7" fmla="*/ 4604 w 10000"/>
                    <a:gd name="connsiteY7" fmla="*/ 541 h 10000"/>
                    <a:gd name="connsiteX8" fmla="*/ 6950 w 10000"/>
                    <a:gd name="connsiteY8" fmla="*/ 23 h 10000"/>
                    <a:gd name="connsiteX9" fmla="*/ 9688 w 10000"/>
                    <a:gd name="connsiteY9" fmla="*/ 3650 h 10000"/>
                    <a:gd name="connsiteX10" fmla="*/ 9297 w 10000"/>
                    <a:gd name="connsiteY10" fmla="*/ 7409 h 10000"/>
                    <a:gd name="connsiteX11" fmla="*/ 10000 w 10000"/>
                    <a:gd name="connsiteY11" fmla="*/ 9093 h 10000"/>
                    <a:gd name="connsiteX12" fmla="*/ 7889 w 10000"/>
                    <a:gd name="connsiteY12" fmla="*/ 10000 h 10000"/>
                    <a:gd name="connsiteX13" fmla="*/ 6873 w 10000"/>
                    <a:gd name="connsiteY13" fmla="*/ 6631 h 10000"/>
                    <a:gd name="connsiteX14" fmla="*/ 6012 w 10000"/>
                    <a:gd name="connsiteY14" fmla="*/ 8057 h 10000"/>
                    <a:gd name="connsiteX15" fmla="*/ 2570 w 10000"/>
                    <a:gd name="connsiteY15" fmla="*/ 4946 h 10000"/>
                    <a:gd name="connsiteX16" fmla="*/ 927 w 10000"/>
                    <a:gd name="connsiteY16" fmla="*/ 1578 h 10000"/>
                    <a:gd name="connsiteX17" fmla="*/ 68 w 10000"/>
                    <a:gd name="connsiteY17" fmla="*/ 2356 h 10000"/>
                    <a:gd name="connsiteX0" fmla="*/ 17 w 9949"/>
                    <a:gd name="connsiteY0" fmla="*/ 2356 h 10000"/>
                    <a:gd name="connsiteX1" fmla="*/ 0 w 9949"/>
                    <a:gd name="connsiteY1" fmla="*/ 1555 h 10000"/>
                    <a:gd name="connsiteX2" fmla="*/ 1252 w 9949"/>
                    <a:gd name="connsiteY2" fmla="*/ 1368 h 10000"/>
                    <a:gd name="connsiteX3" fmla="*/ 1420 w 9949"/>
                    <a:gd name="connsiteY3" fmla="*/ 1057 h 10000"/>
                    <a:gd name="connsiteX4" fmla="*/ 2154 w 9949"/>
                    <a:gd name="connsiteY4" fmla="*/ 1968 h 10000"/>
                    <a:gd name="connsiteX5" fmla="*/ 3257 w 9949"/>
                    <a:gd name="connsiteY5" fmla="*/ 1534 h 10000"/>
                    <a:gd name="connsiteX6" fmla="*/ 4008 w 9949"/>
                    <a:gd name="connsiteY6" fmla="*/ 0 h 10000"/>
                    <a:gd name="connsiteX7" fmla="*/ 4553 w 9949"/>
                    <a:gd name="connsiteY7" fmla="*/ 541 h 10000"/>
                    <a:gd name="connsiteX8" fmla="*/ 6899 w 9949"/>
                    <a:gd name="connsiteY8" fmla="*/ 23 h 10000"/>
                    <a:gd name="connsiteX9" fmla="*/ 9637 w 9949"/>
                    <a:gd name="connsiteY9" fmla="*/ 3650 h 10000"/>
                    <a:gd name="connsiteX10" fmla="*/ 9246 w 9949"/>
                    <a:gd name="connsiteY10" fmla="*/ 7409 h 10000"/>
                    <a:gd name="connsiteX11" fmla="*/ 9949 w 9949"/>
                    <a:gd name="connsiteY11" fmla="*/ 9093 h 10000"/>
                    <a:gd name="connsiteX12" fmla="*/ 7838 w 9949"/>
                    <a:gd name="connsiteY12" fmla="*/ 10000 h 10000"/>
                    <a:gd name="connsiteX13" fmla="*/ 6822 w 9949"/>
                    <a:gd name="connsiteY13" fmla="*/ 6631 h 10000"/>
                    <a:gd name="connsiteX14" fmla="*/ 5961 w 9949"/>
                    <a:gd name="connsiteY14" fmla="*/ 8057 h 10000"/>
                    <a:gd name="connsiteX15" fmla="*/ 2519 w 9949"/>
                    <a:gd name="connsiteY15" fmla="*/ 4946 h 10000"/>
                    <a:gd name="connsiteX16" fmla="*/ 876 w 9949"/>
                    <a:gd name="connsiteY16" fmla="*/ 1578 h 10000"/>
                    <a:gd name="connsiteX17" fmla="*/ 17 w 9949"/>
                    <a:gd name="connsiteY17" fmla="*/ 2356 h 10000"/>
                    <a:gd name="connsiteX0" fmla="*/ 12 w 9995"/>
                    <a:gd name="connsiteY0" fmla="*/ 2356 h 10000"/>
                    <a:gd name="connsiteX1" fmla="*/ 12 w 9995"/>
                    <a:gd name="connsiteY1" fmla="*/ 1534 h 10000"/>
                    <a:gd name="connsiteX2" fmla="*/ 1253 w 9995"/>
                    <a:gd name="connsiteY2" fmla="*/ 1368 h 10000"/>
                    <a:gd name="connsiteX3" fmla="*/ 1422 w 9995"/>
                    <a:gd name="connsiteY3" fmla="*/ 1057 h 10000"/>
                    <a:gd name="connsiteX4" fmla="*/ 2160 w 9995"/>
                    <a:gd name="connsiteY4" fmla="*/ 1968 h 10000"/>
                    <a:gd name="connsiteX5" fmla="*/ 3269 w 9995"/>
                    <a:gd name="connsiteY5" fmla="*/ 1534 h 10000"/>
                    <a:gd name="connsiteX6" fmla="*/ 4024 w 9995"/>
                    <a:gd name="connsiteY6" fmla="*/ 0 h 10000"/>
                    <a:gd name="connsiteX7" fmla="*/ 4571 w 9995"/>
                    <a:gd name="connsiteY7" fmla="*/ 541 h 10000"/>
                    <a:gd name="connsiteX8" fmla="*/ 6929 w 9995"/>
                    <a:gd name="connsiteY8" fmla="*/ 23 h 10000"/>
                    <a:gd name="connsiteX9" fmla="*/ 9681 w 9995"/>
                    <a:gd name="connsiteY9" fmla="*/ 3650 h 10000"/>
                    <a:gd name="connsiteX10" fmla="*/ 9288 w 9995"/>
                    <a:gd name="connsiteY10" fmla="*/ 7409 h 10000"/>
                    <a:gd name="connsiteX11" fmla="*/ 9995 w 9995"/>
                    <a:gd name="connsiteY11" fmla="*/ 9093 h 10000"/>
                    <a:gd name="connsiteX12" fmla="*/ 7873 w 9995"/>
                    <a:gd name="connsiteY12" fmla="*/ 10000 h 10000"/>
                    <a:gd name="connsiteX13" fmla="*/ 6852 w 9995"/>
                    <a:gd name="connsiteY13" fmla="*/ 6631 h 10000"/>
                    <a:gd name="connsiteX14" fmla="*/ 5987 w 9995"/>
                    <a:gd name="connsiteY14" fmla="*/ 8057 h 10000"/>
                    <a:gd name="connsiteX15" fmla="*/ 2527 w 9995"/>
                    <a:gd name="connsiteY15" fmla="*/ 4946 h 10000"/>
                    <a:gd name="connsiteX16" fmla="*/ 875 w 9995"/>
                    <a:gd name="connsiteY16" fmla="*/ 1578 h 10000"/>
                    <a:gd name="connsiteX17" fmla="*/ 12 w 9995"/>
                    <a:gd name="connsiteY17" fmla="*/ 2356 h 10000"/>
                    <a:gd name="connsiteX0" fmla="*/ 34 w 10022"/>
                    <a:gd name="connsiteY0" fmla="*/ 2356 h 10000"/>
                    <a:gd name="connsiteX1" fmla="*/ 0 w 10022"/>
                    <a:gd name="connsiteY1" fmla="*/ 1534 h 10000"/>
                    <a:gd name="connsiteX2" fmla="*/ 1276 w 10022"/>
                    <a:gd name="connsiteY2" fmla="*/ 1368 h 10000"/>
                    <a:gd name="connsiteX3" fmla="*/ 1445 w 10022"/>
                    <a:gd name="connsiteY3" fmla="*/ 1057 h 10000"/>
                    <a:gd name="connsiteX4" fmla="*/ 2183 w 10022"/>
                    <a:gd name="connsiteY4" fmla="*/ 1968 h 10000"/>
                    <a:gd name="connsiteX5" fmla="*/ 3293 w 10022"/>
                    <a:gd name="connsiteY5" fmla="*/ 1534 h 10000"/>
                    <a:gd name="connsiteX6" fmla="*/ 4048 w 10022"/>
                    <a:gd name="connsiteY6" fmla="*/ 0 h 10000"/>
                    <a:gd name="connsiteX7" fmla="*/ 4595 w 10022"/>
                    <a:gd name="connsiteY7" fmla="*/ 541 h 10000"/>
                    <a:gd name="connsiteX8" fmla="*/ 6954 w 10022"/>
                    <a:gd name="connsiteY8" fmla="*/ 23 h 10000"/>
                    <a:gd name="connsiteX9" fmla="*/ 9708 w 10022"/>
                    <a:gd name="connsiteY9" fmla="*/ 3650 h 10000"/>
                    <a:gd name="connsiteX10" fmla="*/ 9315 w 10022"/>
                    <a:gd name="connsiteY10" fmla="*/ 7409 h 10000"/>
                    <a:gd name="connsiteX11" fmla="*/ 10022 w 10022"/>
                    <a:gd name="connsiteY11" fmla="*/ 9093 h 10000"/>
                    <a:gd name="connsiteX12" fmla="*/ 7899 w 10022"/>
                    <a:gd name="connsiteY12" fmla="*/ 10000 h 10000"/>
                    <a:gd name="connsiteX13" fmla="*/ 6877 w 10022"/>
                    <a:gd name="connsiteY13" fmla="*/ 6631 h 10000"/>
                    <a:gd name="connsiteX14" fmla="*/ 6012 w 10022"/>
                    <a:gd name="connsiteY14" fmla="*/ 8057 h 10000"/>
                    <a:gd name="connsiteX15" fmla="*/ 2550 w 10022"/>
                    <a:gd name="connsiteY15" fmla="*/ 4946 h 10000"/>
                    <a:gd name="connsiteX16" fmla="*/ 897 w 10022"/>
                    <a:gd name="connsiteY16" fmla="*/ 1578 h 10000"/>
                    <a:gd name="connsiteX17" fmla="*/ 34 w 10022"/>
                    <a:gd name="connsiteY17" fmla="*/ 2356 h 10000"/>
                    <a:gd name="connsiteX0" fmla="*/ 34 w 10022"/>
                    <a:gd name="connsiteY0" fmla="*/ 2356 h 10041"/>
                    <a:gd name="connsiteX1" fmla="*/ 0 w 10022"/>
                    <a:gd name="connsiteY1" fmla="*/ 1534 h 10041"/>
                    <a:gd name="connsiteX2" fmla="*/ 1276 w 10022"/>
                    <a:gd name="connsiteY2" fmla="*/ 1368 h 10041"/>
                    <a:gd name="connsiteX3" fmla="*/ 1445 w 10022"/>
                    <a:gd name="connsiteY3" fmla="*/ 1057 h 10041"/>
                    <a:gd name="connsiteX4" fmla="*/ 2183 w 10022"/>
                    <a:gd name="connsiteY4" fmla="*/ 1968 h 10041"/>
                    <a:gd name="connsiteX5" fmla="*/ 3293 w 10022"/>
                    <a:gd name="connsiteY5" fmla="*/ 1534 h 10041"/>
                    <a:gd name="connsiteX6" fmla="*/ 4048 w 10022"/>
                    <a:gd name="connsiteY6" fmla="*/ 0 h 10041"/>
                    <a:gd name="connsiteX7" fmla="*/ 4595 w 10022"/>
                    <a:gd name="connsiteY7" fmla="*/ 541 h 10041"/>
                    <a:gd name="connsiteX8" fmla="*/ 6954 w 10022"/>
                    <a:gd name="connsiteY8" fmla="*/ 23 h 10041"/>
                    <a:gd name="connsiteX9" fmla="*/ 9708 w 10022"/>
                    <a:gd name="connsiteY9" fmla="*/ 3650 h 10041"/>
                    <a:gd name="connsiteX10" fmla="*/ 9315 w 10022"/>
                    <a:gd name="connsiteY10" fmla="*/ 7409 h 10041"/>
                    <a:gd name="connsiteX11" fmla="*/ 10022 w 10022"/>
                    <a:gd name="connsiteY11" fmla="*/ 9093 h 10041"/>
                    <a:gd name="connsiteX12" fmla="*/ 7949 w 10022"/>
                    <a:gd name="connsiteY12" fmla="*/ 10041 h 10041"/>
                    <a:gd name="connsiteX13" fmla="*/ 6877 w 10022"/>
                    <a:gd name="connsiteY13" fmla="*/ 6631 h 10041"/>
                    <a:gd name="connsiteX14" fmla="*/ 6012 w 10022"/>
                    <a:gd name="connsiteY14" fmla="*/ 8057 h 10041"/>
                    <a:gd name="connsiteX15" fmla="*/ 2550 w 10022"/>
                    <a:gd name="connsiteY15" fmla="*/ 4946 h 10041"/>
                    <a:gd name="connsiteX16" fmla="*/ 897 w 10022"/>
                    <a:gd name="connsiteY16" fmla="*/ 1578 h 10041"/>
                    <a:gd name="connsiteX17" fmla="*/ 34 w 10022"/>
                    <a:gd name="connsiteY17" fmla="*/ 2356 h 10041"/>
                    <a:gd name="connsiteX0" fmla="*/ 34 w 10022"/>
                    <a:gd name="connsiteY0" fmla="*/ 2356 h 9093"/>
                    <a:gd name="connsiteX1" fmla="*/ 0 w 10022"/>
                    <a:gd name="connsiteY1" fmla="*/ 1534 h 9093"/>
                    <a:gd name="connsiteX2" fmla="*/ 1276 w 10022"/>
                    <a:gd name="connsiteY2" fmla="*/ 1368 h 9093"/>
                    <a:gd name="connsiteX3" fmla="*/ 1445 w 10022"/>
                    <a:gd name="connsiteY3" fmla="*/ 1057 h 9093"/>
                    <a:gd name="connsiteX4" fmla="*/ 2183 w 10022"/>
                    <a:gd name="connsiteY4" fmla="*/ 1968 h 9093"/>
                    <a:gd name="connsiteX5" fmla="*/ 3293 w 10022"/>
                    <a:gd name="connsiteY5" fmla="*/ 1534 h 9093"/>
                    <a:gd name="connsiteX6" fmla="*/ 4048 w 10022"/>
                    <a:gd name="connsiteY6" fmla="*/ 0 h 9093"/>
                    <a:gd name="connsiteX7" fmla="*/ 4595 w 10022"/>
                    <a:gd name="connsiteY7" fmla="*/ 541 h 9093"/>
                    <a:gd name="connsiteX8" fmla="*/ 6954 w 10022"/>
                    <a:gd name="connsiteY8" fmla="*/ 23 h 9093"/>
                    <a:gd name="connsiteX9" fmla="*/ 9708 w 10022"/>
                    <a:gd name="connsiteY9" fmla="*/ 3650 h 9093"/>
                    <a:gd name="connsiteX10" fmla="*/ 9315 w 10022"/>
                    <a:gd name="connsiteY10" fmla="*/ 7409 h 9093"/>
                    <a:gd name="connsiteX11" fmla="*/ 10022 w 10022"/>
                    <a:gd name="connsiteY11" fmla="*/ 9093 h 9093"/>
                    <a:gd name="connsiteX12" fmla="*/ 6877 w 10022"/>
                    <a:gd name="connsiteY12" fmla="*/ 6631 h 9093"/>
                    <a:gd name="connsiteX13" fmla="*/ 6012 w 10022"/>
                    <a:gd name="connsiteY13" fmla="*/ 8057 h 9093"/>
                    <a:gd name="connsiteX14" fmla="*/ 2550 w 10022"/>
                    <a:gd name="connsiteY14" fmla="*/ 4946 h 9093"/>
                    <a:gd name="connsiteX15" fmla="*/ 897 w 10022"/>
                    <a:gd name="connsiteY15" fmla="*/ 1578 h 9093"/>
                    <a:gd name="connsiteX16" fmla="*/ 34 w 10022"/>
                    <a:gd name="connsiteY16" fmla="*/ 2356 h 9093"/>
                    <a:gd name="connsiteX0" fmla="*/ 34 w 9687"/>
                    <a:gd name="connsiteY0" fmla="*/ 2591 h 8861"/>
                    <a:gd name="connsiteX1" fmla="*/ 0 w 9687"/>
                    <a:gd name="connsiteY1" fmla="*/ 1687 h 8861"/>
                    <a:gd name="connsiteX2" fmla="*/ 1273 w 9687"/>
                    <a:gd name="connsiteY2" fmla="*/ 1504 h 8861"/>
                    <a:gd name="connsiteX3" fmla="*/ 1442 w 9687"/>
                    <a:gd name="connsiteY3" fmla="*/ 1162 h 8861"/>
                    <a:gd name="connsiteX4" fmla="*/ 2178 w 9687"/>
                    <a:gd name="connsiteY4" fmla="*/ 2164 h 8861"/>
                    <a:gd name="connsiteX5" fmla="*/ 3286 w 9687"/>
                    <a:gd name="connsiteY5" fmla="*/ 1687 h 8861"/>
                    <a:gd name="connsiteX6" fmla="*/ 4039 w 9687"/>
                    <a:gd name="connsiteY6" fmla="*/ 0 h 8861"/>
                    <a:gd name="connsiteX7" fmla="*/ 4585 w 9687"/>
                    <a:gd name="connsiteY7" fmla="*/ 595 h 8861"/>
                    <a:gd name="connsiteX8" fmla="*/ 6939 w 9687"/>
                    <a:gd name="connsiteY8" fmla="*/ 25 h 8861"/>
                    <a:gd name="connsiteX9" fmla="*/ 9687 w 9687"/>
                    <a:gd name="connsiteY9" fmla="*/ 4014 h 8861"/>
                    <a:gd name="connsiteX10" fmla="*/ 9295 w 9687"/>
                    <a:gd name="connsiteY10" fmla="*/ 8148 h 8861"/>
                    <a:gd name="connsiteX11" fmla="*/ 6862 w 9687"/>
                    <a:gd name="connsiteY11" fmla="*/ 7292 h 8861"/>
                    <a:gd name="connsiteX12" fmla="*/ 5999 w 9687"/>
                    <a:gd name="connsiteY12" fmla="*/ 8861 h 8861"/>
                    <a:gd name="connsiteX13" fmla="*/ 2544 w 9687"/>
                    <a:gd name="connsiteY13" fmla="*/ 5439 h 8861"/>
                    <a:gd name="connsiteX14" fmla="*/ 895 w 9687"/>
                    <a:gd name="connsiteY14" fmla="*/ 1735 h 8861"/>
                    <a:gd name="connsiteX15" fmla="*/ 34 w 9687"/>
                    <a:gd name="connsiteY15" fmla="*/ 2591 h 8861"/>
                    <a:gd name="connsiteX0" fmla="*/ 35 w 10000"/>
                    <a:gd name="connsiteY0" fmla="*/ 2924 h 10000"/>
                    <a:gd name="connsiteX1" fmla="*/ 0 w 10000"/>
                    <a:gd name="connsiteY1" fmla="*/ 1904 h 10000"/>
                    <a:gd name="connsiteX2" fmla="*/ 1314 w 10000"/>
                    <a:gd name="connsiteY2" fmla="*/ 1697 h 10000"/>
                    <a:gd name="connsiteX3" fmla="*/ 1489 w 10000"/>
                    <a:gd name="connsiteY3" fmla="*/ 1311 h 10000"/>
                    <a:gd name="connsiteX4" fmla="*/ 2248 w 10000"/>
                    <a:gd name="connsiteY4" fmla="*/ 2442 h 10000"/>
                    <a:gd name="connsiteX5" fmla="*/ 3392 w 10000"/>
                    <a:gd name="connsiteY5" fmla="*/ 1904 h 10000"/>
                    <a:gd name="connsiteX6" fmla="*/ 4170 w 10000"/>
                    <a:gd name="connsiteY6" fmla="*/ 0 h 10000"/>
                    <a:gd name="connsiteX7" fmla="*/ 4733 w 10000"/>
                    <a:gd name="connsiteY7" fmla="*/ 671 h 10000"/>
                    <a:gd name="connsiteX8" fmla="*/ 7163 w 10000"/>
                    <a:gd name="connsiteY8" fmla="*/ 28 h 10000"/>
                    <a:gd name="connsiteX9" fmla="*/ 10000 w 10000"/>
                    <a:gd name="connsiteY9" fmla="*/ 4530 h 10000"/>
                    <a:gd name="connsiteX10" fmla="*/ 7084 w 10000"/>
                    <a:gd name="connsiteY10" fmla="*/ 8229 h 10000"/>
                    <a:gd name="connsiteX11" fmla="*/ 6193 w 10000"/>
                    <a:gd name="connsiteY11" fmla="*/ 10000 h 10000"/>
                    <a:gd name="connsiteX12" fmla="*/ 2626 w 10000"/>
                    <a:gd name="connsiteY12" fmla="*/ 6138 h 10000"/>
                    <a:gd name="connsiteX13" fmla="*/ 924 w 10000"/>
                    <a:gd name="connsiteY13" fmla="*/ 1958 h 10000"/>
                    <a:gd name="connsiteX14" fmla="*/ 35 w 10000"/>
                    <a:gd name="connsiteY14" fmla="*/ 2924 h 10000"/>
                    <a:gd name="connsiteX0" fmla="*/ 35 w 7374"/>
                    <a:gd name="connsiteY0" fmla="*/ 2924 h 10000"/>
                    <a:gd name="connsiteX1" fmla="*/ 0 w 7374"/>
                    <a:gd name="connsiteY1" fmla="*/ 1904 h 10000"/>
                    <a:gd name="connsiteX2" fmla="*/ 1314 w 7374"/>
                    <a:gd name="connsiteY2" fmla="*/ 1697 h 10000"/>
                    <a:gd name="connsiteX3" fmla="*/ 1489 w 7374"/>
                    <a:gd name="connsiteY3" fmla="*/ 1311 h 10000"/>
                    <a:gd name="connsiteX4" fmla="*/ 2248 w 7374"/>
                    <a:gd name="connsiteY4" fmla="*/ 2442 h 10000"/>
                    <a:gd name="connsiteX5" fmla="*/ 3392 w 7374"/>
                    <a:gd name="connsiteY5" fmla="*/ 1904 h 10000"/>
                    <a:gd name="connsiteX6" fmla="*/ 4170 w 7374"/>
                    <a:gd name="connsiteY6" fmla="*/ 0 h 10000"/>
                    <a:gd name="connsiteX7" fmla="*/ 4733 w 7374"/>
                    <a:gd name="connsiteY7" fmla="*/ 671 h 10000"/>
                    <a:gd name="connsiteX8" fmla="*/ 7163 w 7374"/>
                    <a:gd name="connsiteY8" fmla="*/ 28 h 10000"/>
                    <a:gd name="connsiteX9" fmla="*/ 7128 w 7374"/>
                    <a:gd name="connsiteY9" fmla="*/ 2086 h 10000"/>
                    <a:gd name="connsiteX10" fmla="*/ 7084 w 7374"/>
                    <a:gd name="connsiteY10" fmla="*/ 8229 h 10000"/>
                    <a:gd name="connsiteX11" fmla="*/ 6193 w 7374"/>
                    <a:gd name="connsiteY11" fmla="*/ 10000 h 10000"/>
                    <a:gd name="connsiteX12" fmla="*/ 2626 w 7374"/>
                    <a:gd name="connsiteY12" fmla="*/ 6138 h 10000"/>
                    <a:gd name="connsiteX13" fmla="*/ 924 w 7374"/>
                    <a:gd name="connsiteY13" fmla="*/ 1958 h 10000"/>
                    <a:gd name="connsiteX14" fmla="*/ 35 w 7374"/>
                    <a:gd name="connsiteY14" fmla="*/ 2924 h 10000"/>
                    <a:gd name="connsiteX0" fmla="*/ 47 w 10001"/>
                    <a:gd name="connsiteY0" fmla="*/ 2924 h 10000"/>
                    <a:gd name="connsiteX1" fmla="*/ 0 w 10001"/>
                    <a:gd name="connsiteY1" fmla="*/ 1904 h 10000"/>
                    <a:gd name="connsiteX2" fmla="*/ 1782 w 10001"/>
                    <a:gd name="connsiteY2" fmla="*/ 1697 h 10000"/>
                    <a:gd name="connsiteX3" fmla="*/ 2019 w 10001"/>
                    <a:gd name="connsiteY3" fmla="*/ 1311 h 10000"/>
                    <a:gd name="connsiteX4" fmla="*/ 3049 w 10001"/>
                    <a:gd name="connsiteY4" fmla="*/ 2442 h 10000"/>
                    <a:gd name="connsiteX5" fmla="*/ 4600 w 10001"/>
                    <a:gd name="connsiteY5" fmla="*/ 1904 h 10000"/>
                    <a:gd name="connsiteX6" fmla="*/ 5655 w 10001"/>
                    <a:gd name="connsiteY6" fmla="*/ 0 h 10000"/>
                    <a:gd name="connsiteX7" fmla="*/ 6418 w 10001"/>
                    <a:gd name="connsiteY7" fmla="*/ 671 h 10000"/>
                    <a:gd name="connsiteX8" fmla="*/ 9714 w 10001"/>
                    <a:gd name="connsiteY8" fmla="*/ 28 h 10000"/>
                    <a:gd name="connsiteX9" fmla="*/ 9666 w 10001"/>
                    <a:gd name="connsiteY9" fmla="*/ 2086 h 10000"/>
                    <a:gd name="connsiteX10" fmla="*/ 9607 w 10001"/>
                    <a:gd name="connsiteY10" fmla="*/ 8229 h 10000"/>
                    <a:gd name="connsiteX11" fmla="*/ 8398 w 10001"/>
                    <a:gd name="connsiteY11" fmla="*/ 10000 h 10000"/>
                    <a:gd name="connsiteX12" fmla="*/ 3561 w 10001"/>
                    <a:gd name="connsiteY12" fmla="*/ 6138 h 10000"/>
                    <a:gd name="connsiteX13" fmla="*/ 1253 w 10001"/>
                    <a:gd name="connsiteY13" fmla="*/ 1958 h 10000"/>
                    <a:gd name="connsiteX14" fmla="*/ 47 w 10001"/>
                    <a:gd name="connsiteY14" fmla="*/ 2924 h 10000"/>
                    <a:gd name="connsiteX0" fmla="*/ 47 w 10001"/>
                    <a:gd name="connsiteY0" fmla="*/ 2924 h 10000"/>
                    <a:gd name="connsiteX1" fmla="*/ 0 w 10001"/>
                    <a:gd name="connsiteY1" fmla="*/ 1904 h 10000"/>
                    <a:gd name="connsiteX2" fmla="*/ 1782 w 10001"/>
                    <a:gd name="connsiteY2" fmla="*/ 1697 h 10000"/>
                    <a:gd name="connsiteX3" fmla="*/ 2019 w 10001"/>
                    <a:gd name="connsiteY3" fmla="*/ 1311 h 10000"/>
                    <a:gd name="connsiteX4" fmla="*/ 3049 w 10001"/>
                    <a:gd name="connsiteY4" fmla="*/ 2442 h 10000"/>
                    <a:gd name="connsiteX5" fmla="*/ 4600 w 10001"/>
                    <a:gd name="connsiteY5" fmla="*/ 1904 h 10000"/>
                    <a:gd name="connsiteX6" fmla="*/ 5655 w 10001"/>
                    <a:gd name="connsiteY6" fmla="*/ 0 h 10000"/>
                    <a:gd name="connsiteX7" fmla="*/ 6418 w 10001"/>
                    <a:gd name="connsiteY7" fmla="*/ 671 h 10000"/>
                    <a:gd name="connsiteX8" fmla="*/ 9714 w 10001"/>
                    <a:gd name="connsiteY8" fmla="*/ 28 h 10000"/>
                    <a:gd name="connsiteX9" fmla="*/ 9666 w 10001"/>
                    <a:gd name="connsiteY9" fmla="*/ 2086 h 10000"/>
                    <a:gd name="connsiteX10" fmla="*/ 9607 w 10001"/>
                    <a:gd name="connsiteY10" fmla="*/ 8229 h 10000"/>
                    <a:gd name="connsiteX11" fmla="*/ 8398 w 10001"/>
                    <a:gd name="connsiteY11" fmla="*/ 10000 h 10000"/>
                    <a:gd name="connsiteX12" fmla="*/ 3561 w 10001"/>
                    <a:gd name="connsiteY12" fmla="*/ 6138 h 10000"/>
                    <a:gd name="connsiteX13" fmla="*/ 1253 w 10001"/>
                    <a:gd name="connsiteY13" fmla="*/ 1958 h 10000"/>
                    <a:gd name="connsiteX14" fmla="*/ 47 w 10001"/>
                    <a:gd name="connsiteY14" fmla="*/ 2924 h 10000"/>
                    <a:gd name="connsiteX0" fmla="*/ 47 w 9947"/>
                    <a:gd name="connsiteY0" fmla="*/ 2924 h 10000"/>
                    <a:gd name="connsiteX1" fmla="*/ 0 w 9947"/>
                    <a:gd name="connsiteY1" fmla="*/ 1904 h 10000"/>
                    <a:gd name="connsiteX2" fmla="*/ 1782 w 9947"/>
                    <a:gd name="connsiteY2" fmla="*/ 1697 h 10000"/>
                    <a:gd name="connsiteX3" fmla="*/ 2019 w 9947"/>
                    <a:gd name="connsiteY3" fmla="*/ 1311 h 10000"/>
                    <a:gd name="connsiteX4" fmla="*/ 3049 w 9947"/>
                    <a:gd name="connsiteY4" fmla="*/ 2442 h 10000"/>
                    <a:gd name="connsiteX5" fmla="*/ 4600 w 9947"/>
                    <a:gd name="connsiteY5" fmla="*/ 1904 h 10000"/>
                    <a:gd name="connsiteX6" fmla="*/ 5655 w 9947"/>
                    <a:gd name="connsiteY6" fmla="*/ 0 h 10000"/>
                    <a:gd name="connsiteX7" fmla="*/ 6418 w 9947"/>
                    <a:gd name="connsiteY7" fmla="*/ 671 h 10000"/>
                    <a:gd name="connsiteX8" fmla="*/ 9714 w 9947"/>
                    <a:gd name="connsiteY8" fmla="*/ 28 h 10000"/>
                    <a:gd name="connsiteX9" fmla="*/ 9666 w 9947"/>
                    <a:gd name="connsiteY9" fmla="*/ 2086 h 10000"/>
                    <a:gd name="connsiteX10" fmla="*/ 5243 w 9947"/>
                    <a:gd name="connsiteY10" fmla="*/ 2365 h 10000"/>
                    <a:gd name="connsiteX11" fmla="*/ 8398 w 9947"/>
                    <a:gd name="connsiteY11" fmla="*/ 10000 h 10000"/>
                    <a:gd name="connsiteX12" fmla="*/ 3561 w 9947"/>
                    <a:gd name="connsiteY12" fmla="*/ 6138 h 10000"/>
                    <a:gd name="connsiteX13" fmla="*/ 1253 w 9947"/>
                    <a:gd name="connsiteY13" fmla="*/ 1958 h 10000"/>
                    <a:gd name="connsiteX14" fmla="*/ 47 w 9947"/>
                    <a:gd name="connsiteY14" fmla="*/ 2924 h 10000"/>
                    <a:gd name="connsiteX0" fmla="*/ 47 w 10000"/>
                    <a:gd name="connsiteY0" fmla="*/ 2924 h 10000"/>
                    <a:gd name="connsiteX1" fmla="*/ 0 w 10000"/>
                    <a:gd name="connsiteY1" fmla="*/ 1904 h 10000"/>
                    <a:gd name="connsiteX2" fmla="*/ 1791 w 10000"/>
                    <a:gd name="connsiteY2" fmla="*/ 1697 h 10000"/>
                    <a:gd name="connsiteX3" fmla="*/ 2030 w 10000"/>
                    <a:gd name="connsiteY3" fmla="*/ 1311 h 10000"/>
                    <a:gd name="connsiteX4" fmla="*/ 3065 w 10000"/>
                    <a:gd name="connsiteY4" fmla="*/ 2442 h 10000"/>
                    <a:gd name="connsiteX5" fmla="*/ 4625 w 10000"/>
                    <a:gd name="connsiteY5" fmla="*/ 1904 h 10000"/>
                    <a:gd name="connsiteX6" fmla="*/ 5685 w 10000"/>
                    <a:gd name="connsiteY6" fmla="*/ 0 h 10000"/>
                    <a:gd name="connsiteX7" fmla="*/ 6452 w 10000"/>
                    <a:gd name="connsiteY7" fmla="*/ 671 h 10000"/>
                    <a:gd name="connsiteX8" fmla="*/ 9766 w 10000"/>
                    <a:gd name="connsiteY8" fmla="*/ 28 h 10000"/>
                    <a:gd name="connsiteX9" fmla="*/ 9718 w 10000"/>
                    <a:gd name="connsiteY9" fmla="*/ 2086 h 10000"/>
                    <a:gd name="connsiteX10" fmla="*/ 5271 w 10000"/>
                    <a:gd name="connsiteY10" fmla="*/ 2365 h 10000"/>
                    <a:gd name="connsiteX11" fmla="*/ 8443 w 10000"/>
                    <a:gd name="connsiteY11" fmla="*/ 10000 h 10000"/>
                    <a:gd name="connsiteX12" fmla="*/ 3580 w 10000"/>
                    <a:gd name="connsiteY12" fmla="*/ 6138 h 10000"/>
                    <a:gd name="connsiteX13" fmla="*/ 1260 w 10000"/>
                    <a:gd name="connsiteY13" fmla="*/ 1958 h 10000"/>
                    <a:gd name="connsiteX14" fmla="*/ 47 w 10000"/>
                    <a:gd name="connsiteY14" fmla="*/ 2924 h 10000"/>
                    <a:gd name="connsiteX0" fmla="*/ 47 w 10000"/>
                    <a:gd name="connsiteY0" fmla="*/ 2924 h 6138"/>
                    <a:gd name="connsiteX1" fmla="*/ 0 w 10000"/>
                    <a:gd name="connsiteY1" fmla="*/ 1904 h 6138"/>
                    <a:gd name="connsiteX2" fmla="*/ 1791 w 10000"/>
                    <a:gd name="connsiteY2" fmla="*/ 1697 h 6138"/>
                    <a:gd name="connsiteX3" fmla="*/ 2030 w 10000"/>
                    <a:gd name="connsiteY3" fmla="*/ 1311 h 6138"/>
                    <a:gd name="connsiteX4" fmla="*/ 3065 w 10000"/>
                    <a:gd name="connsiteY4" fmla="*/ 2442 h 6138"/>
                    <a:gd name="connsiteX5" fmla="*/ 4625 w 10000"/>
                    <a:gd name="connsiteY5" fmla="*/ 1904 h 6138"/>
                    <a:gd name="connsiteX6" fmla="*/ 5685 w 10000"/>
                    <a:gd name="connsiteY6" fmla="*/ 0 h 6138"/>
                    <a:gd name="connsiteX7" fmla="*/ 6452 w 10000"/>
                    <a:gd name="connsiteY7" fmla="*/ 671 h 6138"/>
                    <a:gd name="connsiteX8" fmla="*/ 9766 w 10000"/>
                    <a:gd name="connsiteY8" fmla="*/ 28 h 6138"/>
                    <a:gd name="connsiteX9" fmla="*/ 9718 w 10000"/>
                    <a:gd name="connsiteY9" fmla="*/ 2086 h 6138"/>
                    <a:gd name="connsiteX10" fmla="*/ 5271 w 10000"/>
                    <a:gd name="connsiteY10" fmla="*/ 2365 h 6138"/>
                    <a:gd name="connsiteX11" fmla="*/ 4055 w 10000"/>
                    <a:gd name="connsiteY11" fmla="*/ 2361 h 6138"/>
                    <a:gd name="connsiteX12" fmla="*/ 3580 w 10000"/>
                    <a:gd name="connsiteY12" fmla="*/ 6138 h 6138"/>
                    <a:gd name="connsiteX13" fmla="*/ 1260 w 10000"/>
                    <a:gd name="connsiteY13" fmla="*/ 1958 h 6138"/>
                    <a:gd name="connsiteX14" fmla="*/ 47 w 10000"/>
                    <a:gd name="connsiteY14" fmla="*/ 2924 h 6138"/>
                    <a:gd name="connsiteX0" fmla="*/ 47 w 10000"/>
                    <a:gd name="connsiteY0" fmla="*/ 4764 h 10000"/>
                    <a:gd name="connsiteX1" fmla="*/ 0 w 10000"/>
                    <a:gd name="connsiteY1" fmla="*/ 3102 h 10000"/>
                    <a:gd name="connsiteX2" fmla="*/ 1791 w 10000"/>
                    <a:gd name="connsiteY2" fmla="*/ 2765 h 10000"/>
                    <a:gd name="connsiteX3" fmla="*/ 2030 w 10000"/>
                    <a:gd name="connsiteY3" fmla="*/ 2136 h 10000"/>
                    <a:gd name="connsiteX4" fmla="*/ 3065 w 10000"/>
                    <a:gd name="connsiteY4" fmla="*/ 3978 h 10000"/>
                    <a:gd name="connsiteX5" fmla="*/ 4625 w 10000"/>
                    <a:gd name="connsiteY5" fmla="*/ 3102 h 10000"/>
                    <a:gd name="connsiteX6" fmla="*/ 5685 w 10000"/>
                    <a:gd name="connsiteY6" fmla="*/ 0 h 10000"/>
                    <a:gd name="connsiteX7" fmla="*/ 6452 w 10000"/>
                    <a:gd name="connsiteY7" fmla="*/ 1093 h 10000"/>
                    <a:gd name="connsiteX8" fmla="*/ 9766 w 10000"/>
                    <a:gd name="connsiteY8" fmla="*/ 46 h 10000"/>
                    <a:gd name="connsiteX9" fmla="*/ 9718 w 10000"/>
                    <a:gd name="connsiteY9" fmla="*/ 3399 h 10000"/>
                    <a:gd name="connsiteX10" fmla="*/ 5271 w 10000"/>
                    <a:gd name="connsiteY10" fmla="*/ 3853 h 10000"/>
                    <a:gd name="connsiteX11" fmla="*/ 4055 w 10000"/>
                    <a:gd name="connsiteY11" fmla="*/ 3847 h 10000"/>
                    <a:gd name="connsiteX12" fmla="*/ 3580 w 10000"/>
                    <a:gd name="connsiteY12" fmla="*/ 10000 h 10000"/>
                    <a:gd name="connsiteX13" fmla="*/ 1260 w 10000"/>
                    <a:gd name="connsiteY13" fmla="*/ 3190 h 10000"/>
                    <a:gd name="connsiteX14" fmla="*/ 47 w 10000"/>
                    <a:gd name="connsiteY14" fmla="*/ 4764 h 10000"/>
                    <a:gd name="connsiteX0" fmla="*/ 47 w 10000"/>
                    <a:gd name="connsiteY0" fmla="*/ 4764 h 10000"/>
                    <a:gd name="connsiteX1" fmla="*/ 0 w 10000"/>
                    <a:gd name="connsiteY1" fmla="*/ 3102 h 10000"/>
                    <a:gd name="connsiteX2" fmla="*/ 1791 w 10000"/>
                    <a:gd name="connsiteY2" fmla="*/ 2765 h 10000"/>
                    <a:gd name="connsiteX3" fmla="*/ 2030 w 10000"/>
                    <a:gd name="connsiteY3" fmla="*/ 2136 h 10000"/>
                    <a:gd name="connsiteX4" fmla="*/ 3065 w 10000"/>
                    <a:gd name="connsiteY4" fmla="*/ 3978 h 10000"/>
                    <a:gd name="connsiteX5" fmla="*/ 4625 w 10000"/>
                    <a:gd name="connsiteY5" fmla="*/ 3102 h 10000"/>
                    <a:gd name="connsiteX6" fmla="*/ 5685 w 10000"/>
                    <a:gd name="connsiteY6" fmla="*/ 0 h 10000"/>
                    <a:gd name="connsiteX7" fmla="*/ 6452 w 10000"/>
                    <a:gd name="connsiteY7" fmla="*/ 1093 h 10000"/>
                    <a:gd name="connsiteX8" fmla="*/ 9766 w 10000"/>
                    <a:gd name="connsiteY8" fmla="*/ 46 h 10000"/>
                    <a:gd name="connsiteX9" fmla="*/ 9718 w 10000"/>
                    <a:gd name="connsiteY9" fmla="*/ 3399 h 10000"/>
                    <a:gd name="connsiteX10" fmla="*/ 5271 w 10000"/>
                    <a:gd name="connsiteY10" fmla="*/ 3853 h 10000"/>
                    <a:gd name="connsiteX11" fmla="*/ 4055 w 10000"/>
                    <a:gd name="connsiteY11" fmla="*/ 3847 h 10000"/>
                    <a:gd name="connsiteX12" fmla="*/ 3580 w 10000"/>
                    <a:gd name="connsiteY12" fmla="*/ 10000 h 10000"/>
                    <a:gd name="connsiteX13" fmla="*/ 1260 w 10000"/>
                    <a:gd name="connsiteY13" fmla="*/ 3190 h 10000"/>
                    <a:gd name="connsiteX14" fmla="*/ 47 w 10000"/>
                    <a:gd name="connsiteY14" fmla="*/ 4764 h 10000"/>
                    <a:gd name="connsiteX0" fmla="*/ 47 w 10000"/>
                    <a:gd name="connsiteY0" fmla="*/ 4764 h 10000"/>
                    <a:gd name="connsiteX1" fmla="*/ 0 w 10000"/>
                    <a:gd name="connsiteY1" fmla="*/ 3102 h 10000"/>
                    <a:gd name="connsiteX2" fmla="*/ 1791 w 10000"/>
                    <a:gd name="connsiteY2" fmla="*/ 2765 h 10000"/>
                    <a:gd name="connsiteX3" fmla="*/ 2030 w 10000"/>
                    <a:gd name="connsiteY3" fmla="*/ 2136 h 10000"/>
                    <a:gd name="connsiteX4" fmla="*/ 3065 w 10000"/>
                    <a:gd name="connsiteY4" fmla="*/ 3978 h 10000"/>
                    <a:gd name="connsiteX5" fmla="*/ 4625 w 10000"/>
                    <a:gd name="connsiteY5" fmla="*/ 3102 h 10000"/>
                    <a:gd name="connsiteX6" fmla="*/ 5685 w 10000"/>
                    <a:gd name="connsiteY6" fmla="*/ 0 h 10000"/>
                    <a:gd name="connsiteX7" fmla="*/ 6452 w 10000"/>
                    <a:gd name="connsiteY7" fmla="*/ 1093 h 10000"/>
                    <a:gd name="connsiteX8" fmla="*/ 9766 w 10000"/>
                    <a:gd name="connsiteY8" fmla="*/ 46 h 10000"/>
                    <a:gd name="connsiteX9" fmla="*/ 9718 w 10000"/>
                    <a:gd name="connsiteY9" fmla="*/ 3399 h 10000"/>
                    <a:gd name="connsiteX10" fmla="*/ 5271 w 10000"/>
                    <a:gd name="connsiteY10" fmla="*/ 3853 h 10000"/>
                    <a:gd name="connsiteX11" fmla="*/ 4055 w 10000"/>
                    <a:gd name="connsiteY11" fmla="*/ 3847 h 10000"/>
                    <a:gd name="connsiteX12" fmla="*/ 3580 w 10000"/>
                    <a:gd name="connsiteY12" fmla="*/ 10000 h 10000"/>
                    <a:gd name="connsiteX13" fmla="*/ 1260 w 10000"/>
                    <a:gd name="connsiteY13" fmla="*/ 3190 h 10000"/>
                    <a:gd name="connsiteX14" fmla="*/ 47 w 10000"/>
                    <a:gd name="connsiteY14" fmla="*/ 4764 h 10000"/>
                    <a:gd name="connsiteX0" fmla="*/ 47 w 10000"/>
                    <a:gd name="connsiteY0" fmla="*/ 4764 h 10000"/>
                    <a:gd name="connsiteX1" fmla="*/ 0 w 10000"/>
                    <a:gd name="connsiteY1" fmla="*/ 3102 h 10000"/>
                    <a:gd name="connsiteX2" fmla="*/ 1791 w 10000"/>
                    <a:gd name="connsiteY2" fmla="*/ 2765 h 10000"/>
                    <a:gd name="connsiteX3" fmla="*/ 2030 w 10000"/>
                    <a:gd name="connsiteY3" fmla="*/ 2136 h 10000"/>
                    <a:gd name="connsiteX4" fmla="*/ 3065 w 10000"/>
                    <a:gd name="connsiteY4" fmla="*/ 3978 h 10000"/>
                    <a:gd name="connsiteX5" fmla="*/ 4625 w 10000"/>
                    <a:gd name="connsiteY5" fmla="*/ 3102 h 10000"/>
                    <a:gd name="connsiteX6" fmla="*/ 5685 w 10000"/>
                    <a:gd name="connsiteY6" fmla="*/ 0 h 10000"/>
                    <a:gd name="connsiteX7" fmla="*/ 6452 w 10000"/>
                    <a:gd name="connsiteY7" fmla="*/ 1093 h 10000"/>
                    <a:gd name="connsiteX8" fmla="*/ 9766 w 10000"/>
                    <a:gd name="connsiteY8" fmla="*/ 46 h 10000"/>
                    <a:gd name="connsiteX9" fmla="*/ 9718 w 10000"/>
                    <a:gd name="connsiteY9" fmla="*/ 3399 h 10000"/>
                    <a:gd name="connsiteX10" fmla="*/ 5271 w 10000"/>
                    <a:gd name="connsiteY10" fmla="*/ 3853 h 10000"/>
                    <a:gd name="connsiteX11" fmla="*/ 4055 w 10000"/>
                    <a:gd name="connsiteY11" fmla="*/ 3847 h 10000"/>
                    <a:gd name="connsiteX12" fmla="*/ 3580 w 10000"/>
                    <a:gd name="connsiteY12" fmla="*/ 10000 h 10000"/>
                    <a:gd name="connsiteX13" fmla="*/ 1260 w 10000"/>
                    <a:gd name="connsiteY13" fmla="*/ 3190 h 10000"/>
                    <a:gd name="connsiteX14" fmla="*/ 47 w 10000"/>
                    <a:gd name="connsiteY14" fmla="*/ 4764 h 10000"/>
                    <a:gd name="connsiteX0" fmla="*/ 47 w 10000"/>
                    <a:gd name="connsiteY0" fmla="*/ 4764 h 10000"/>
                    <a:gd name="connsiteX1" fmla="*/ 0 w 10000"/>
                    <a:gd name="connsiteY1" fmla="*/ 3102 h 10000"/>
                    <a:gd name="connsiteX2" fmla="*/ 1791 w 10000"/>
                    <a:gd name="connsiteY2" fmla="*/ 2765 h 10000"/>
                    <a:gd name="connsiteX3" fmla="*/ 2030 w 10000"/>
                    <a:gd name="connsiteY3" fmla="*/ 2136 h 10000"/>
                    <a:gd name="connsiteX4" fmla="*/ 3065 w 10000"/>
                    <a:gd name="connsiteY4" fmla="*/ 3978 h 10000"/>
                    <a:gd name="connsiteX5" fmla="*/ 4625 w 10000"/>
                    <a:gd name="connsiteY5" fmla="*/ 3102 h 10000"/>
                    <a:gd name="connsiteX6" fmla="*/ 5685 w 10000"/>
                    <a:gd name="connsiteY6" fmla="*/ 0 h 10000"/>
                    <a:gd name="connsiteX7" fmla="*/ 6452 w 10000"/>
                    <a:gd name="connsiteY7" fmla="*/ 1093 h 10000"/>
                    <a:gd name="connsiteX8" fmla="*/ 9766 w 10000"/>
                    <a:gd name="connsiteY8" fmla="*/ 46 h 10000"/>
                    <a:gd name="connsiteX9" fmla="*/ 9718 w 10000"/>
                    <a:gd name="connsiteY9" fmla="*/ 3399 h 10000"/>
                    <a:gd name="connsiteX10" fmla="*/ 5271 w 10000"/>
                    <a:gd name="connsiteY10" fmla="*/ 3853 h 10000"/>
                    <a:gd name="connsiteX11" fmla="*/ 4055 w 10000"/>
                    <a:gd name="connsiteY11" fmla="*/ 3847 h 10000"/>
                    <a:gd name="connsiteX12" fmla="*/ 3580 w 10000"/>
                    <a:gd name="connsiteY12" fmla="*/ 10000 h 10000"/>
                    <a:gd name="connsiteX13" fmla="*/ 1260 w 10000"/>
                    <a:gd name="connsiteY13" fmla="*/ 3190 h 10000"/>
                    <a:gd name="connsiteX14" fmla="*/ 47 w 10000"/>
                    <a:gd name="connsiteY14" fmla="*/ 4764 h 10000"/>
                    <a:gd name="connsiteX0" fmla="*/ 47 w 10000"/>
                    <a:gd name="connsiteY0" fmla="*/ 4764 h 10000"/>
                    <a:gd name="connsiteX1" fmla="*/ 0 w 10000"/>
                    <a:gd name="connsiteY1" fmla="*/ 3102 h 10000"/>
                    <a:gd name="connsiteX2" fmla="*/ 1791 w 10000"/>
                    <a:gd name="connsiteY2" fmla="*/ 2765 h 10000"/>
                    <a:gd name="connsiteX3" fmla="*/ 2030 w 10000"/>
                    <a:gd name="connsiteY3" fmla="*/ 2136 h 10000"/>
                    <a:gd name="connsiteX4" fmla="*/ 3065 w 10000"/>
                    <a:gd name="connsiteY4" fmla="*/ 3978 h 10000"/>
                    <a:gd name="connsiteX5" fmla="*/ 4625 w 10000"/>
                    <a:gd name="connsiteY5" fmla="*/ 3102 h 10000"/>
                    <a:gd name="connsiteX6" fmla="*/ 5685 w 10000"/>
                    <a:gd name="connsiteY6" fmla="*/ 0 h 10000"/>
                    <a:gd name="connsiteX7" fmla="*/ 6452 w 10000"/>
                    <a:gd name="connsiteY7" fmla="*/ 1093 h 10000"/>
                    <a:gd name="connsiteX8" fmla="*/ 9766 w 10000"/>
                    <a:gd name="connsiteY8" fmla="*/ 46 h 10000"/>
                    <a:gd name="connsiteX9" fmla="*/ 9718 w 10000"/>
                    <a:gd name="connsiteY9" fmla="*/ 3399 h 10000"/>
                    <a:gd name="connsiteX10" fmla="*/ 5271 w 10000"/>
                    <a:gd name="connsiteY10" fmla="*/ 3853 h 10000"/>
                    <a:gd name="connsiteX11" fmla="*/ 4055 w 10000"/>
                    <a:gd name="connsiteY11" fmla="*/ 3847 h 10000"/>
                    <a:gd name="connsiteX12" fmla="*/ 3580 w 10000"/>
                    <a:gd name="connsiteY12" fmla="*/ 10000 h 10000"/>
                    <a:gd name="connsiteX13" fmla="*/ 1260 w 10000"/>
                    <a:gd name="connsiteY13" fmla="*/ 3190 h 10000"/>
                    <a:gd name="connsiteX14" fmla="*/ 47 w 10000"/>
                    <a:gd name="connsiteY14" fmla="*/ 4764 h 10000"/>
                    <a:gd name="connsiteX0" fmla="*/ 47 w 9766"/>
                    <a:gd name="connsiteY0" fmla="*/ 4764 h 10000"/>
                    <a:gd name="connsiteX1" fmla="*/ 0 w 9766"/>
                    <a:gd name="connsiteY1" fmla="*/ 3102 h 10000"/>
                    <a:gd name="connsiteX2" fmla="*/ 1791 w 9766"/>
                    <a:gd name="connsiteY2" fmla="*/ 2765 h 10000"/>
                    <a:gd name="connsiteX3" fmla="*/ 2030 w 9766"/>
                    <a:gd name="connsiteY3" fmla="*/ 2136 h 10000"/>
                    <a:gd name="connsiteX4" fmla="*/ 3065 w 9766"/>
                    <a:gd name="connsiteY4" fmla="*/ 3978 h 10000"/>
                    <a:gd name="connsiteX5" fmla="*/ 4625 w 9766"/>
                    <a:gd name="connsiteY5" fmla="*/ 3102 h 10000"/>
                    <a:gd name="connsiteX6" fmla="*/ 5685 w 9766"/>
                    <a:gd name="connsiteY6" fmla="*/ 0 h 10000"/>
                    <a:gd name="connsiteX7" fmla="*/ 6452 w 9766"/>
                    <a:gd name="connsiteY7" fmla="*/ 1093 h 10000"/>
                    <a:gd name="connsiteX8" fmla="*/ 9766 w 9766"/>
                    <a:gd name="connsiteY8" fmla="*/ 46 h 10000"/>
                    <a:gd name="connsiteX9" fmla="*/ 9718 w 9766"/>
                    <a:gd name="connsiteY9" fmla="*/ 3399 h 10000"/>
                    <a:gd name="connsiteX10" fmla="*/ 5271 w 9766"/>
                    <a:gd name="connsiteY10" fmla="*/ 3853 h 10000"/>
                    <a:gd name="connsiteX11" fmla="*/ 4055 w 9766"/>
                    <a:gd name="connsiteY11" fmla="*/ 3847 h 10000"/>
                    <a:gd name="connsiteX12" fmla="*/ 3580 w 9766"/>
                    <a:gd name="connsiteY12" fmla="*/ 10000 h 10000"/>
                    <a:gd name="connsiteX13" fmla="*/ 1260 w 9766"/>
                    <a:gd name="connsiteY13" fmla="*/ 3190 h 10000"/>
                    <a:gd name="connsiteX14" fmla="*/ 47 w 9766"/>
                    <a:gd name="connsiteY14" fmla="*/ 4764 h 10000"/>
                    <a:gd name="connsiteX0" fmla="*/ 48 w 10000"/>
                    <a:gd name="connsiteY0" fmla="*/ 4764 h 10000"/>
                    <a:gd name="connsiteX1" fmla="*/ 0 w 10000"/>
                    <a:gd name="connsiteY1" fmla="*/ 3102 h 10000"/>
                    <a:gd name="connsiteX2" fmla="*/ 1834 w 10000"/>
                    <a:gd name="connsiteY2" fmla="*/ 2765 h 10000"/>
                    <a:gd name="connsiteX3" fmla="*/ 2079 w 10000"/>
                    <a:gd name="connsiteY3" fmla="*/ 2136 h 10000"/>
                    <a:gd name="connsiteX4" fmla="*/ 3138 w 10000"/>
                    <a:gd name="connsiteY4" fmla="*/ 3978 h 10000"/>
                    <a:gd name="connsiteX5" fmla="*/ 4736 w 10000"/>
                    <a:gd name="connsiteY5" fmla="*/ 3102 h 10000"/>
                    <a:gd name="connsiteX6" fmla="*/ 5821 w 10000"/>
                    <a:gd name="connsiteY6" fmla="*/ 0 h 10000"/>
                    <a:gd name="connsiteX7" fmla="*/ 6607 w 10000"/>
                    <a:gd name="connsiteY7" fmla="*/ 1093 h 10000"/>
                    <a:gd name="connsiteX8" fmla="*/ 10000 w 10000"/>
                    <a:gd name="connsiteY8" fmla="*/ 46 h 10000"/>
                    <a:gd name="connsiteX9" fmla="*/ 9951 w 10000"/>
                    <a:gd name="connsiteY9" fmla="*/ 3399 h 10000"/>
                    <a:gd name="connsiteX10" fmla="*/ 5555 w 10000"/>
                    <a:gd name="connsiteY10" fmla="*/ 4107 h 10000"/>
                    <a:gd name="connsiteX11" fmla="*/ 5397 w 10000"/>
                    <a:gd name="connsiteY11" fmla="*/ 3853 h 10000"/>
                    <a:gd name="connsiteX12" fmla="*/ 4152 w 10000"/>
                    <a:gd name="connsiteY12" fmla="*/ 3847 h 10000"/>
                    <a:gd name="connsiteX13" fmla="*/ 3666 w 10000"/>
                    <a:gd name="connsiteY13" fmla="*/ 10000 h 10000"/>
                    <a:gd name="connsiteX14" fmla="*/ 1290 w 10000"/>
                    <a:gd name="connsiteY14" fmla="*/ 3190 h 10000"/>
                    <a:gd name="connsiteX15" fmla="*/ 48 w 10000"/>
                    <a:gd name="connsiteY15" fmla="*/ 4764 h 10000"/>
                    <a:gd name="connsiteX0" fmla="*/ 48 w 10000"/>
                    <a:gd name="connsiteY0" fmla="*/ 4764 h 10000"/>
                    <a:gd name="connsiteX1" fmla="*/ 0 w 10000"/>
                    <a:gd name="connsiteY1" fmla="*/ 3102 h 10000"/>
                    <a:gd name="connsiteX2" fmla="*/ 1834 w 10000"/>
                    <a:gd name="connsiteY2" fmla="*/ 2765 h 10000"/>
                    <a:gd name="connsiteX3" fmla="*/ 2079 w 10000"/>
                    <a:gd name="connsiteY3" fmla="*/ 2136 h 10000"/>
                    <a:gd name="connsiteX4" fmla="*/ 3138 w 10000"/>
                    <a:gd name="connsiteY4" fmla="*/ 3978 h 10000"/>
                    <a:gd name="connsiteX5" fmla="*/ 4736 w 10000"/>
                    <a:gd name="connsiteY5" fmla="*/ 3102 h 10000"/>
                    <a:gd name="connsiteX6" fmla="*/ 5821 w 10000"/>
                    <a:gd name="connsiteY6" fmla="*/ 0 h 10000"/>
                    <a:gd name="connsiteX7" fmla="*/ 6607 w 10000"/>
                    <a:gd name="connsiteY7" fmla="*/ 1093 h 10000"/>
                    <a:gd name="connsiteX8" fmla="*/ 10000 w 10000"/>
                    <a:gd name="connsiteY8" fmla="*/ 46 h 10000"/>
                    <a:gd name="connsiteX9" fmla="*/ 9951 w 10000"/>
                    <a:gd name="connsiteY9" fmla="*/ 3399 h 10000"/>
                    <a:gd name="connsiteX10" fmla="*/ 5555 w 10000"/>
                    <a:gd name="connsiteY10" fmla="*/ 4107 h 10000"/>
                    <a:gd name="connsiteX11" fmla="*/ 4914 w 10000"/>
                    <a:gd name="connsiteY11" fmla="*/ 5068 h 10000"/>
                    <a:gd name="connsiteX12" fmla="*/ 4152 w 10000"/>
                    <a:gd name="connsiteY12" fmla="*/ 3847 h 10000"/>
                    <a:gd name="connsiteX13" fmla="*/ 3666 w 10000"/>
                    <a:gd name="connsiteY13" fmla="*/ 10000 h 10000"/>
                    <a:gd name="connsiteX14" fmla="*/ 1290 w 10000"/>
                    <a:gd name="connsiteY14" fmla="*/ 3190 h 10000"/>
                    <a:gd name="connsiteX15" fmla="*/ 48 w 10000"/>
                    <a:gd name="connsiteY15" fmla="*/ 4764 h 10000"/>
                    <a:gd name="connsiteX0" fmla="*/ 48 w 10000"/>
                    <a:gd name="connsiteY0" fmla="*/ 4764 h 10000"/>
                    <a:gd name="connsiteX1" fmla="*/ 0 w 10000"/>
                    <a:gd name="connsiteY1" fmla="*/ 3102 h 10000"/>
                    <a:gd name="connsiteX2" fmla="*/ 1834 w 10000"/>
                    <a:gd name="connsiteY2" fmla="*/ 2765 h 10000"/>
                    <a:gd name="connsiteX3" fmla="*/ 2079 w 10000"/>
                    <a:gd name="connsiteY3" fmla="*/ 2136 h 10000"/>
                    <a:gd name="connsiteX4" fmla="*/ 3138 w 10000"/>
                    <a:gd name="connsiteY4" fmla="*/ 3978 h 10000"/>
                    <a:gd name="connsiteX5" fmla="*/ 4736 w 10000"/>
                    <a:gd name="connsiteY5" fmla="*/ 3102 h 10000"/>
                    <a:gd name="connsiteX6" fmla="*/ 5821 w 10000"/>
                    <a:gd name="connsiteY6" fmla="*/ 0 h 10000"/>
                    <a:gd name="connsiteX7" fmla="*/ 6607 w 10000"/>
                    <a:gd name="connsiteY7" fmla="*/ 1093 h 10000"/>
                    <a:gd name="connsiteX8" fmla="*/ 10000 w 10000"/>
                    <a:gd name="connsiteY8" fmla="*/ 46 h 10000"/>
                    <a:gd name="connsiteX9" fmla="*/ 9951 w 10000"/>
                    <a:gd name="connsiteY9" fmla="*/ 3399 h 10000"/>
                    <a:gd name="connsiteX10" fmla="*/ 5555 w 10000"/>
                    <a:gd name="connsiteY10" fmla="*/ 4107 h 10000"/>
                    <a:gd name="connsiteX11" fmla="*/ 4914 w 10000"/>
                    <a:gd name="connsiteY11" fmla="*/ 5068 h 10000"/>
                    <a:gd name="connsiteX12" fmla="*/ 4152 w 10000"/>
                    <a:gd name="connsiteY12" fmla="*/ 3847 h 10000"/>
                    <a:gd name="connsiteX13" fmla="*/ 3666 w 10000"/>
                    <a:gd name="connsiteY13" fmla="*/ 10000 h 10000"/>
                    <a:gd name="connsiteX14" fmla="*/ 1290 w 10000"/>
                    <a:gd name="connsiteY14" fmla="*/ 3190 h 10000"/>
                    <a:gd name="connsiteX15" fmla="*/ 48 w 10000"/>
                    <a:gd name="connsiteY15" fmla="*/ 4764 h 10000"/>
                    <a:gd name="connsiteX0" fmla="*/ 48 w 10000"/>
                    <a:gd name="connsiteY0" fmla="*/ 4764 h 10000"/>
                    <a:gd name="connsiteX1" fmla="*/ 0 w 10000"/>
                    <a:gd name="connsiteY1" fmla="*/ 3102 h 10000"/>
                    <a:gd name="connsiteX2" fmla="*/ 1834 w 10000"/>
                    <a:gd name="connsiteY2" fmla="*/ 2765 h 10000"/>
                    <a:gd name="connsiteX3" fmla="*/ 2079 w 10000"/>
                    <a:gd name="connsiteY3" fmla="*/ 2136 h 10000"/>
                    <a:gd name="connsiteX4" fmla="*/ 3138 w 10000"/>
                    <a:gd name="connsiteY4" fmla="*/ 3978 h 10000"/>
                    <a:gd name="connsiteX5" fmla="*/ 4736 w 10000"/>
                    <a:gd name="connsiteY5" fmla="*/ 3102 h 10000"/>
                    <a:gd name="connsiteX6" fmla="*/ 5821 w 10000"/>
                    <a:gd name="connsiteY6" fmla="*/ 0 h 10000"/>
                    <a:gd name="connsiteX7" fmla="*/ 6607 w 10000"/>
                    <a:gd name="connsiteY7" fmla="*/ 1093 h 10000"/>
                    <a:gd name="connsiteX8" fmla="*/ 10000 w 10000"/>
                    <a:gd name="connsiteY8" fmla="*/ 46 h 10000"/>
                    <a:gd name="connsiteX9" fmla="*/ 9951 w 10000"/>
                    <a:gd name="connsiteY9" fmla="*/ 3399 h 10000"/>
                    <a:gd name="connsiteX10" fmla="*/ 5555 w 10000"/>
                    <a:gd name="connsiteY10" fmla="*/ 4107 h 10000"/>
                    <a:gd name="connsiteX11" fmla="*/ 4914 w 10000"/>
                    <a:gd name="connsiteY11" fmla="*/ 5068 h 10000"/>
                    <a:gd name="connsiteX12" fmla="*/ 4152 w 10000"/>
                    <a:gd name="connsiteY12" fmla="*/ 3847 h 10000"/>
                    <a:gd name="connsiteX13" fmla="*/ 3666 w 10000"/>
                    <a:gd name="connsiteY13" fmla="*/ 10000 h 10000"/>
                    <a:gd name="connsiteX14" fmla="*/ 1290 w 10000"/>
                    <a:gd name="connsiteY14" fmla="*/ 3190 h 10000"/>
                    <a:gd name="connsiteX15" fmla="*/ 48 w 10000"/>
                    <a:gd name="connsiteY15" fmla="*/ 4764 h 10000"/>
                    <a:gd name="connsiteX0" fmla="*/ 48 w 10000"/>
                    <a:gd name="connsiteY0" fmla="*/ 4764 h 10000"/>
                    <a:gd name="connsiteX1" fmla="*/ 0 w 10000"/>
                    <a:gd name="connsiteY1" fmla="*/ 3102 h 10000"/>
                    <a:gd name="connsiteX2" fmla="*/ 1834 w 10000"/>
                    <a:gd name="connsiteY2" fmla="*/ 2765 h 10000"/>
                    <a:gd name="connsiteX3" fmla="*/ 2079 w 10000"/>
                    <a:gd name="connsiteY3" fmla="*/ 2136 h 10000"/>
                    <a:gd name="connsiteX4" fmla="*/ 3138 w 10000"/>
                    <a:gd name="connsiteY4" fmla="*/ 3978 h 10000"/>
                    <a:gd name="connsiteX5" fmla="*/ 4736 w 10000"/>
                    <a:gd name="connsiteY5" fmla="*/ 3102 h 10000"/>
                    <a:gd name="connsiteX6" fmla="*/ 5821 w 10000"/>
                    <a:gd name="connsiteY6" fmla="*/ 0 h 10000"/>
                    <a:gd name="connsiteX7" fmla="*/ 6607 w 10000"/>
                    <a:gd name="connsiteY7" fmla="*/ 1093 h 10000"/>
                    <a:gd name="connsiteX8" fmla="*/ 10000 w 10000"/>
                    <a:gd name="connsiteY8" fmla="*/ 46 h 10000"/>
                    <a:gd name="connsiteX9" fmla="*/ 9951 w 10000"/>
                    <a:gd name="connsiteY9" fmla="*/ 3399 h 10000"/>
                    <a:gd name="connsiteX10" fmla="*/ 5555 w 10000"/>
                    <a:gd name="connsiteY10" fmla="*/ 4107 h 10000"/>
                    <a:gd name="connsiteX11" fmla="*/ 4914 w 10000"/>
                    <a:gd name="connsiteY11" fmla="*/ 5068 h 10000"/>
                    <a:gd name="connsiteX12" fmla="*/ 4152 w 10000"/>
                    <a:gd name="connsiteY12" fmla="*/ 3847 h 10000"/>
                    <a:gd name="connsiteX13" fmla="*/ 3666 w 10000"/>
                    <a:gd name="connsiteY13" fmla="*/ 10000 h 10000"/>
                    <a:gd name="connsiteX14" fmla="*/ 1290 w 10000"/>
                    <a:gd name="connsiteY14" fmla="*/ 3190 h 10000"/>
                    <a:gd name="connsiteX15" fmla="*/ 48 w 10000"/>
                    <a:gd name="connsiteY15" fmla="*/ 4764 h 10000"/>
                    <a:gd name="connsiteX0" fmla="*/ 48 w 10000"/>
                    <a:gd name="connsiteY0" fmla="*/ 4764 h 10000"/>
                    <a:gd name="connsiteX1" fmla="*/ 0 w 10000"/>
                    <a:gd name="connsiteY1" fmla="*/ 3102 h 10000"/>
                    <a:gd name="connsiteX2" fmla="*/ 1834 w 10000"/>
                    <a:gd name="connsiteY2" fmla="*/ 2765 h 10000"/>
                    <a:gd name="connsiteX3" fmla="*/ 2079 w 10000"/>
                    <a:gd name="connsiteY3" fmla="*/ 2136 h 10000"/>
                    <a:gd name="connsiteX4" fmla="*/ 3138 w 10000"/>
                    <a:gd name="connsiteY4" fmla="*/ 3978 h 10000"/>
                    <a:gd name="connsiteX5" fmla="*/ 4736 w 10000"/>
                    <a:gd name="connsiteY5" fmla="*/ 3102 h 10000"/>
                    <a:gd name="connsiteX6" fmla="*/ 5821 w 10000"/>
                    <a:gd name="connsiteY6" fmla="*/ 0 h 10000"/>
                    <a:gd name="connsiteX7" fmla="*/ 6607 w 10000"/>
                    <a:gd name="connsiteY7" fmla="*/ 1093 h 10000"/>
                    <a:gd name="connsiteX8" fmla="*/ 10000 w 10000"/>
                    <a:gd name="connsiteY8" fmla="*/ 46 h 10000"/>
                    <a:gd name="connsiteX9" fmla="*/ 9951 w 10000"/>
                    <a:gd name="connsiteY9" fmla="*/ 3399 h 10000"/>
                    <a:gd name="connsiteX10" fmla="*/ 5555 w 10000"/>
                    <a:gd name="connsiteY10" fmla="*/ 4107 h 10000"/>
                    <a:gd name="connsiteX11" fmla="*/ 4914 w 10000"/>
                    <a:gd name="connsiteY11" fmla="*/ 5068 h 10000"/>
                    <a:gd name="connsiteX12" fmla="*/ 4152 w 10000"/>
                    <a:gd name="connsiteY12" fmla="*/ 3847 h 10000"/>
                    <a:gd name="connsiteX13" fmla="*/ 3666 w 10000"/>
                    <a:gd name="connsiteY13" fmla="*/ 10000 h 10000"/>
                    <a:gd name="connsiteX14" fmla="*/ 1290 w 10000"/>
                    <a:gd name="connsiteY14" fmla="*/ 3190 h 10000"/>
                    <a:gd name="connsiteX15" fmla="*/ 48 w 10000"/>
                    <a:gd name="connsiteY15" fmla="*/ 4764 h 10000"/>
                    <a:gd name="connsiteX0" fmla="*/ 48 w 10000"/>
                    <a:gd name="connsiteY0" fmla="*/ 4764 h 10000"/>
                    <a:gd name="connsiteX1" fmla="*/ 0 w 10000"/>
                    <a:gd name="connsiteY1" fmla="*/ 3102 h 10000"/>
                    <a:gd name="connsiteX2" fmla="*/ 1834 w 10000"/>
                    <a:gd name="connsiteY2" fmla="*/ 2765 h 10000"/>
                    <a:gd name="connsiteX3" fmla="*/ 2079 w 10000"/>
                    <a:gd name="connsiteY3" fmla="*/ 2136 h 10000"/>
                    <a:gd name="connsiteX4" fmla="*/ 3138 w 10000"/>
                    <a:gd name="connsiteY4" fmla="*/ 3978 h 10000"/>
                    <a:gd name="connsiteX5" fmla="*/ 4736 w 10000"/>
                    <a:gd name="connsiteY5" fmla="*/ 3102 h 10000"/>
                    <a:gd name="connsiteX6" fmla="*/ 5821 w 10000"/>
                    <a:gd name="connsiteY6" fmla="*/ 0 h 10000"/>
                    <a:gd name="connsiteX7" fmla="*/ 6607 w 10000"/>
                    <a:gd name="connsiteY7" fmla="*/ 1093 h 10000"/>
                    <a:gd name="connsiteX8" fmla="*/ 10000 w 10000"/>
                    <a:gd name="connsiteY8" fmla="*/ 46 h 10000"/>
                    <a:gd name="connsiteX9" fmla="*/ 9951 w 10000"/>
                    <a:gd name="connsiteY9" fmla="*/ 3399 h 10000"/>
                    <a:gd name="connsiteX10" fmla="*/ 5555 w 10000"/>
                    <a:gd name="connsiteY10" fmla="*/ 4107 h 10000"/>
                    <a:gd name="connsiteX11" fmla="*/ 4914 w 10000"/>
                    <a:gd name="connsiteY11" fmla="*/ 5068 h 10000"/>
                    <a:gd name="connsiteX12" fmla="*/ 4152 w 10000"/>
                    <a:gd name="connsiteY12" fmla="*/ 3847 h 10000"/>
                    <a:gd name="connsiteX13" fmla="*/ 3666 w 10000"/>
                    <a:gd name="connsiteY13" fmla="*/ 10000 h 10000"/>
                    <a:gd name="connsiteX14" fmla="*/ 1290 w 10000"/>
                    <a:gd name="connsiteY14" fmla="*/ 3190 h 10000"/>
                    <a:gd name="connsiteX15" fmla="*/ 48 w 10000"/>
                    <a:gd name="connsiteY15" fmla="*/ 4764 h 10000"/>
                    <a:gd name="connsiteX0" fmla="*/ 48 w 10000"/>
                    <a:gd name="connsiteY0" fmla="*/ 4764 h 10000"/>
                    <a:gd name="connsiteX1" fmla="*/ 0 w 10000"/>
                    <a:gd name="connsiteY1" fmla="*/ 3102 h 10000"/>
                    <a:gd name="connsiteX2" fmla="*/ 1834 w 10000"/>
                    <a:gd name="connsiteY2" fmla="*/ 2765 h 10000"/>
                    <a:gd name="connsiteX3" fmla="*/ 2079 w 10000"/>
                    <a:gd name="connsiteY3" fmla="*/ 2136 h 10000"/>
                    <a:gd name="connsiteX4" fmla="*/ 3138 w 10000"/>
                    <a:gd name="connsiteY4" fmla="*/ 3978 h 10000"/>
                    <a:gd name="connsiteX5" fmla="*/ 4736 w 10000"/>
                    <a:gd name="connsiteY5" fmla="*/ 3102 h 10000"/>
                    <a:gd name="connsiteX6" fmla="*/ 5821 w 10000"/>
                    <a:gd name="connsiteY6" fmla="*/ 0 h 10000"/>
                    <a:gd name="connsiteX7" fmla="*/ 6607 w 10000"/>
                    <a:gd name="connsiteY7" fmla="*/ 1093 h 10000"/>
                    <a:gd name="connsiteX8" fmla="*/ 10000 w 10000"/>
                    <a:gd name="connsiteY8" fmla="*/ 46 h 10000"/>
                    <a:gd name="connsiteX9" fmla="*/ 9951 w 10000"/>
                    <a:gd name="connsiteY9" fmla="*/ 3399 h 10000"/>
                    <a:gd name="connsiteX10" fmla="*/ 5555 w 10000"/>
                    <a:gd name="connsiteY10" fmla="*/ 4107 h 10000"/>
                    <a:gd name="connsiteX11" fmla="*/ 4914 w 10000"/>
                    <a:gd name="connsiteY11" fmla="*/ 5068 h 10000"/>
                    <a:gd name="connsiteX12" fmla="*/ 4152 w 10000"/>
                    <a:gd name="connsiteY12" fmla="*/ 3847 h 10000"/>
                    <a:gd name="connsiteX13" fmla="*/ 3666 w 10000"/>
                    <a:gd name="connsiteY13" fmla="*/ 10000 h 10000"/>
                    <a:gd name="connsiteX14" fmla="*/ 1290 w 10000"/>
                    <a:gd name="connsiteY14" fmla="*/ 3190 h 10000"/>
                    <a:gd name="connsiteX15" fmla="*/ 48 w 10000"/>
                    <a:gd name="connsiteY15" fmla="*/ 4764 h 10000"/>
                    <a:gd name="connsiteX0" fmla="*/ 48 w 10000"/>
                    <a:gd name="connsiteY0" fmla="*/ 4764 h 10000"/>
                    <a:gd name="connsiteX1" fmla="*/ 0 w 10000"/>
                    <a:gd name="connsiteY1" fmla="*/ 3102 h 10000"/>
                    <a:gd name="connsiteX2" fmla="*/ 1834 w 10000"/>
                    <a:gd name="connsiteY2" fmla="*/ 2765 h 10000"/>
                    <a:gd name="connsiteX3" fmla="*/ 2079 w 10000"/>
                    <a:gd name="connsiteY3" fmla="*/ 2136 h 10000"/>
                    <a:gd name="connsiteX4" fmla="*/ 3138 w 10000"/>
                    <a:gd name="connsiteY4" fmla="*/ 3978 h 10000"/>
                    <a:gd name="connsiteX5" fmla="*/ 4736 w 10000"/>
                    <a:gd name="connsiteY5" fmla="*/ 3102 h 10000"/>
                    <a:gd name="connsiteX6" fmla="*/ 5821 w 10000"/>
                    <a:gd name="connsiteY6" fmla="*/ 0 h 10000"/>
                    <a:gd name="connsiteX7" fmla="*/ 6607 w 10000"/>
                    <a:gd name="connsiteY7" fmla="*/ 1093 h 10000"/>
                    <a:gd name="connsiteX8" fmla="*/ 10000 w 10000"/>
                    <a:gd name="connsiteY8" fmla="*/ 46 h 10000"/>
                    <a:gd name="connsiteX9" fmla="*/ 9951 w 10000"/>
                    <a:gd name="connsiteY9" fmla="*/ 3399 h 10000"/>
                    <a:gd name="connsiteX10" fmla="*/ 5555 w 10000"/>
                    <a:gd name="connsiteY10" fmla="*/ 4107 h 10000"/>
                    <a:gd name="connsiteX11" fmla="*/ 4914 w 10000"/>
                    <a:gd name="connsiteY11" fmla="*/ 5068 h 10000"/>
                    <a:gd name="connsiteX12" fmla="*/ 4200 w 10000"/>
                    <a:gd name="connsiteY12" fmla="*/ 4727 h 10000"/>
                    <a:gd name="connsiteX13" fmla="*/ 3666 w 10000"/>
                    <a:gd name="connsiteY13" fmla="*/ 10000 h 10000"/>
                    <a:gd name="connsiteX14" fmla="*/ 1290 w 10000"/>
                    <a:gd name="connsiteY14" fmla="*/ 3190 h 10000"/>
                    <a:gd name="connsiteX15" fmla="*/ 48 w 10000"/>
                    <a:gd name="connsiteY15" fmla="*/ 4764 h 10000"/>
                    <a:gd name="connsiteX0" fmla="*/ 48 w 10000"/>
                    <a:gd name="connsiteY0" fmla="*/ 4764 h 10000"/>
                    <a:gd name="connsiteX1" fmla="*/ 0 w 10000"/>
                    <a:gd name="connsiteY1" fmla="*/ 3102 h 10000"/>
                    <a:gd name="connsiteX2" fmla="*/ 1834 w 10000"/>
                    <a:gd name="connsiteY2" fmla="*/ 2765 h 10000"/>
                    <a:gd name="connsiteX3" fmla="*/ 2079 w 10000"/>
                    <a:gd name="connsiteY3" fmla="*/ 2136 h 10000"/>
                    <a:gd name="connsiteX4" fmla="*/ 3138 w 10000"/>
                    <a:gd name="connsiteY4" fmla="*/ 3978 h 10000"/>
                    <a:gd name="connsiteX5" fmla="*/ 4736 w 10000"/>
                    <a:gd name="connsiteY5" fmla="*/ 3102 h 10000"/>
                    <a:gd name="connsiteX6" fmla="*/ 5821 w 10000"/>
                    <a:gd name="connsiteY6" fmla="*/ 0 h 10000"/>
                    <a:gd name="connsiteX7" fmla="*/ 6607 w 10000"/>
                    <a:gd name="connsiteY7" fmla="*/ 1093 h 10000"/>
                    <a:gd name="connsiteX8" fmla="*/ 10000 w 10000"/>
                    <a:gd name="connsiteY8" fmla="*/ 46 h 10000"/>
                    <a:gd name="connsiteX9" fmla="*/ 9951 w 10000"/>
                    <a:gd name="connsiteY9" fmla="*/ 3399 h 10000"/>
                    <a:gd name="connsiteX10" fmla="*/ 5555 w 10000"/>
                    <a:gd name="connsiteY10" fmla="*/ 4107 h 10000"/>
                    <a:gd name="connsiteX11" fmla="*/ 4914 w 10000"/>
                    <a:gd name="connsiteY11" fmla="*/ 5068 h 10000"/>
                    <a:gd name="connsiteX12" fmla="*/ 4200 w 10000"/>
                    <a:gd name="connsiteY12" fmla="*/ 4727 h 10000"/>
                    <a:gd name="connsiteX13" fmla="*/ 3840 w 10000"/>
                    <a:gd name="connsiteY13" fmla="*/ 8130 h 10000"/>
                    <a:gd name="connsiteX14" fmla="*/ 3666 w 10000"/>
                    <a:gd name="connsiteY14" fmla="*/ 10000 h 10000"/>
                    <a:gd name="connsiteX15" fmla="*/ 1290 w 10000"/>
                    <a:gd name="connsiteY15" fmla="*/ 3190 h 10000"/>
                    <a:gd name="connsiteX16" fmla="*/ 48 w 10000"/>
                    <a:gd name="connsiteY16" fmla="*/ 4764 h 10000"/>
                    <a:gd name="connsiteX0" fmla="*/ 48 w 10000"/>
                    <a:gd name="connsiteY0" fmla="*/ 4764 h 10000"/>
                    <a:gd name="connsiteX1" fmla="*/ 0 w 10000"/>
                    <a:gd name="connsiteY1" fmla="*/ 3102 h 10000"/>
                    <a:gd name="connsiteX2" fmla="*/ 1834 w 10000"/>
                    <a:gd name="connsiteY2" fmla="*/ 2765 h 10000"/>
                    <a:gd name="connsiteX3" fmla="*/ 2079 w 10000"/>
                    <a:gd name="connsiteY3" fmla="*/ 2136 h 10000"/>
                    <a:gd name="connsiteX4" fmla="*/ 3138 w 10000"/>
                    <a:gd name="connsiteY4" fmla="*/ 3978 h 10000"/>
                    <a:gd name="connsiteX5" fmla="*/ 4736 w 10000"/>
                    <a:gd name="connsiteY5" fmla="*/ 3102 h 10000"/>
                    <a:gd name="connsiteX6" fmla="*/ 5821 w 10000"/>
                    <a:gd name="connsiteY6" fmla="*/ 0 h 10000"/>
                    <a:gd name="connsiteX7" fmla="*/ 6607 w 10000"/>
                    <a:gd name="connsiteY7" fmla="*/ 1093 h 10000"/>
                    <a:gd name="connsiteX8" fmla="*/ 10000 w 10000"/>
                    <a:gd name="connsiteY8" fmla="*/ 46 h 10000"/>
                    <a:gd name="connsiteX9" fmla="*/ 9951 w 10000"/>
                    <a:gd name="connsiteY9" fmla="*/ 3399 h 10000"/>
                    <a:gd name="connsiteX10" fmla="*/ 5555 w 10000"/>
                    <a:gd name="connsiteY10" fmla="*/ 4107 h 10000"/>
                    <a:gd name="connsiteX11" fmla="*/ 4914 w 10000"/>
                    <a:gd name="connsiteY11" fmla="*/ 5068 h 10000"/>
                    <a:gd name="connsiteX12" fmla="*/ 4200 w 10000"/>
                    <a:gd name="connsiteY12" fmla="*/ 4727 h 10000"/>
                    <a:gd name="connsiteX13" fmla="*/ 5627 w 10000"/>
                    <a:gd name="connsiteY13" fmla="*/ 9764 h 10000"/>
                    <a:gd name="connsiteX14" fmla="*/ 3666 w 10000"/>
                    <a:gd name="connsiteY14" fmla="*/ 10000 h 10000"/>
                    <a:gd name="connsiteX15" fmla="*/ 1290 w 10000"/>
                    <a:gd name="connsiteY15" fmla="*/ 3190 h 10000"/>
                    <a:gd name="connsiteX16" fmla="*/ 48 w 10000"/>
                    <a:gd name="connsiteY16" fmla="*/ 4764 h 10000"/>
                    <a:gd name="connsiteX0" fmla="*/ 48 w 10000"/>
                    <a:gd name="connsiteY0" fmla="*/ 4764 h 10000"/>
                    <a:gd name="connsiteX1" fmla="*/ 0 w 10000"/>
                    <a:gd name="connsiteY1" fmla="*/ 3102 h 10000"/>
                    <a:gd name="connsiteX2" fmla="*/ 1834 w 10000"/>
                    <a:gd name="connsiteY2" fmla="*/ 2765 h 10000"/>
                    <a:gd name="connsiteX3" fmla="*/ 2079 w 10000"/>
                    <a:gd name="connsiteY3" fmla="*/ 2136 h 10000"/>
                    <a:gd name="connsiteX4" fmla="*/ 3138 w 10000"/>
                    <a:gd name="connsiteY4" fmla="*/ 3978 h 10000"/>
                    <a:gd name="connsiteX5" fmla="*/ 4736 w 10000"/>
                    <a:gd name="connsiteY5" fmla="*/ 3102 h 10000"/>
                    <a:gd name="connsiteX6" fmla="*/ 5821 w 10000"/>
                    <a:gd name="connsiteY6" fmla="*/ 0 h 10000"/>
                    <a:gd name="connsiteX7" fmla="*/ 6607 w 10000"/>
                    <a:gd name="connsiteY7" fmla="*/ 1093 h 10000"/>
                    <a:gd name="connsiteX8" fmla="*/ 10000 w 10000"/>
                    <a:gd name="connsiteY8" fmla="*/ 46 h 10000"/>
                    <a:gd name="connsiteX9" fmla="*/ 9951 w 10000"/>
                    <a:gd name="connsiteY9" fmla="*/ 3399 h 10000"/>
                    <a:gd name="connsiteX10" fmla="*/ 5555 w 10000"/>
                    <a:gd name="connsiteY10" fmla="*/ 4107 h 10000"/>
                    <a:gd name="connsiteX11" fmla="*/ 4914 w 10000"/>
                    <a:gd name="connsiteY11" fmla="*/ 5068 h 10000"/>
                    <a:gd name="connsiteX12" fmla="*/ 4200 w 10000"/>
                    <a:gd name="connsiteY12" fmla="*/ 4727 h 10000"/>
                    <a:gd name="connsiteX13" fmla="*/ 4613 w 10000"/>
                    <a:gd name="connsiteY13" fmla="*/ 6203 h 10000"/>
                    <a:gd name="connsiteX14" fmla="*/ 5627 w 10000"/>
                    <a:gd name="connsiteY14" fmla="*/ 9764 h 10000"/>
                    <a:gd name="connsiteX15" fmla="*/ 3666 w 10000"/>
                    <a:gd name="connsiteY15" fmla="*/ 10000 h 10000"/>
                    <a:gd name="connsiteX16" fmla="*/ 1290 w 10000"/>
                    <a:gd name="connsiteY16" fmla="*/ 3190 h 10000"/>
                    <a:gd name="connsiteX17" fmla="*/ 48 w 10000"/>
                    <a:gd name="connsiteY17" fmla="*/ 4764 h 10000"/>
                    <a:gd name="connsiteX0" fmla="*/ 48 w 10000"/>
                    <a:gd name="connsiteY0" fmla="*/ 4764 h 10000"/>
                    <a:gd name="connsiteX1" fmla="*/ 0 w 10000"/>
                    <a:gd name="connsiteY1" fmla="*/ 3102 h 10000"/>
                    <a:gd name="connsiteX2" fmla="*/ 1834 w 10000"/>
                    <a:gd name="connsiteY2" fmla="*/ 2765 h 10000"/>
                    <a:gd name="connsiteX3" fmla="*/ 2079 w 10000"/>
                    <a:gd name="connsiteY3" fmla="*/ 2136 h 10000"/>
                    <a:gd name="connsiteX4" fmla="*/ 3138 w 10000"/>
                    <a:gd name="connsiteY4" fmla="*/ 3978 h 10000"/>
                    <a:gd name="connsiteX5" fmla="*/ 4736 w 10000"/>
                    <a:gd name="connsiteY5" fmla="*/ 3102 h 10000"/>
                    <a:gd name="connsiteX6" fmla="*/ 5821 w 10000"/>
                    <a:gd name="connsiteY6" fmla="*/ 0 h 10000"/>
                    <a:gd name="connsiteX7" fmla="*/ 6607 w 10000"/>
                    <a:gd name="connsiteY7" fmla="*/ 1093 h 10000"/>
                    <a:gd name="connsiteX8" fmla="*/ 10000 w 10000"/>
                    <a:gd name="connsiteY8" fmla="*/ 46 h 10000"/>
                    <a:gd name="connsiteX9" fmla="*/ 9951 w 10000"/>
                    <a:gd name="connsiteY9" fmla="*/ 3399 h 10000"/>
                    <a:gd name="connsiteX10" fmla="*/ 5555 w 10000"/>
                    <a:gd name="connsiteY10" fmla="*/ 4107 h 10000"/>
                    <a:gd name="connsiteX11" fmla="*/ 4914 w 10000"/>
                    <a:gd name="connsiteY11" fmla="*/ 5068 h 10000"/>
                    <a:gd name="connsiteX12" fmla="*/ 4200 w 10000"/>
                    <a:gd name="connsiteY12" fmla="*/ 4727 h 10000"/>
                    <a:gd name="connsiteX13" fmla="*/ 4154 w 10000"/>
                    <a:gd name="connsiteY13" fmla="*/ 6287 h 10000"/>
                    <a:gd name="connsiteX14" fmla="*/ 5627 w 10000"/>
                    <a:gd name="connsiteY14" fmla="*/ 9764 h 10000"/>
                    <a:gd name="connsiteX15" fmla="*/ 3666 w 10000"/>
                    <a:gd name="connsiteY15" fmla="*/ 10000 h 10000"/>
                    <a:gd name="connsiteX16" fmla="*/ 1290 w 10000"/>
                    <a:gd name="connsiteY16" fmla="*/ 3190 h 10000"/>
                    <a:gd name="connsiteX17" fmla="*/ 48 w 10000"/>
                    <a:gd name="connsiteY17" fmla="*/ 4764 h 10000"/>
                    <a:gd name="connsiteX0" fmla="*/ 48 w 10000"/>
                    <a:gd name="connsiteY0" fmla="*/ 4764 h 14918"/>
                    <a:gd name="connsiteX1" fmla="*/ 0 w 10000"/>
                    <a:gd name="connsiteY1" fmla="*/ 3102 h 14918"/>
                    <a:gd name="connsiteX2" fmla="*/ 1834 w 10000"/>
                    <a:gd name="connsiteY2" fmla="*/ 2765 h 14918"/>
                    <a:gd name="connsiteX3" fmla="*/ 2079 w 10000"/>
                    <a:gd name="connsiteY3" fmla="*/ 2136 h 14918"/>
                    <a:gd name="connsiteX4" fmla="*/ 3138 w 10000"/>
                    <a:gd name="connsiteY4" fmla="*/ 3978 h 14918"/>
                    <a:gd name="connsiteX5" fmla="*/ 4736 w 10000"/>
                    <a:gd name="connsiteY5" fmla="*/ 3102 h 14918"/>
                    <a:gd name="connsiteX6" fmla="*/ 5821 w 10000"/>
                    <a:gd name="connsiteY6" fmla="*/ 0 h 14918"/>
                    <a:gd name="connsiteX7" fmla="*/ 6607 w 10000"/>
                    <a:gd name="connsiteY7" fmla="*/ 1093 h 14918"/>
                    <a:gd name="connsiteX8" fmla="*/ 10000 w 10000"/>
                    <a:gd name="connsiteY8" fmla="*/ 46 h 14918"/>
                    <a:gd name="connsiteX9" fmla="*/ 9951 w 10000"/>
                    <a:gd name="connsiteY9" fmla="*/ 3399 h 14918"/>
                    <a:gd name="connsiteX10" fmla="*/ 5555 w 10000"/>
                    <a:gd name="connsiteY10" fmla="*/ 4107 h 14918"/>
                    <a:gd name="connsiteX11" fmla="*/ 4914 w 10000"/>
                    <a:gd name="connsiteY11" fmla="*/ 5068 h 14918"/>
                    <a:gd name="connsiteX12" fmla="*/ 4200 w 10000"/>
                    <a:gd name="connsiteY12" fmla="*/ 4727 h 14918"/>
                    <a:gd name="connsiteX13" fmla="*/ 4154 w 10000"/>
                    <a:gd name="connsiteY13" fmla="*/ 6287 h 14918"/>
                    <a:gd name="connsiteX14" fmla="*/ 9516 w 10000"/>
                    <a:gd name="connsiteY14" fmla="*/ 14918 h 14918"/>
                    <a:gd name="connsiteX15" fmla="*/ 3666 w 10000"/>
                    <a:gd name="connsiteY15" fmla="*/ 10000 h 14918"/>
                    <a:gd name="connsiteX16" fmla="*/ 1290 w 10000"/>
                    <a:gd name="connsiteY16" fmla="*/ 3190 h 14918"/>
                    <a:gd name="connsiteX17" fmla="*/ 48 w 10000"/>
                    <a:gd name="connsiteY17" fmla="*/ 4764 h 14918"/>
                    <a:gd name="connsiteX0" fmla="*/ 48 w 10000"/>
                    <a:gd name="connsiteY0" fmla="*/ 4764 h 16343"/>
                    <a:gd name="connsiteX1" fmla="*/ 0 w 10000"/>
                    <a:gd name="connsiteY1" fmla="*/ 3102 h 16343"/>
                    <a:gd name="connsiteX2" fmla="*/ 1834 w 10000"/>
                    <a:gd name="connsiteY2" fmla="*/ 2765 h 16343"/>
                    <a:gd name="connsiteX3" fmla="*/ 2079 w 10000"/>
                    <a:gd name="connsiteY3" fmla="*/ 2136 h 16343"/>
                    <a:gd name="connsiteX4" fmla="*/ 3138 w 10000"/>
                    <a:gd name="connsiteY4" fmla="*/ 3978 h 16343"/>
                    <a:gd name="connsiteX5" fmla="*/ 4736 w 10000"/>
                    <a:gd name="connsiteY5" fmla="*/ 3102 h 16343"/>
                    <a:gd name="connsiteX6" fmla="*/ 5821 w 10000"/>
                    <a:gd name="connsiteY6" fmla="*/ 0 h 16343"/>
                    <a:gd name="connsiteX7" fmla="*/ 6607 w 10000"/>
                    <a:gd name="connsiteY7" fmla="*/ 1093 h 16343"/>
                    <a:gd name="connsiteX8" fmla="*/ 10000 w 10000"/>
                    <a:gd name="connsiteY8" fmla="*/ 46 h 16343"/>
                    <a:gd name="connsiteX9" fmla="*/ 9951 w 10000"/>
                    <a:gd name="connsiteY9" fmla="*/ 3399 h 16343"/>
                    <a:gd name="connsiteX10" fmla="*/ 5555 w 10000"/>
                    <a:gd name="connsiteY10" fmla="*/ 4107 h 16343"/>
                    <a:gd name="connsiteX11" fmla="*/ 4914 w 10000"/>
                    <a:gd name="connsiteY11" fmla="*/ 5068 h 16343"/>
                    <a:gd name="connsiteX12" fmla="*/ 4200 w 10000"/>
                    <a:gd name="connsiteY12" fmla="*/ 4727 h 16343"/>
                    <a:gd name="connsiteX13" fmla="*/ 4154 w 10000"/>
                    <a:gd name="connsiteY13" fmla="*/ 6287 h 16343"/>
                    <a:gd name="connsiteX14" fmla="*/ 8622 w 10000"/>
                    <a:gd name="connsiteY14" fmla="*/ 16343 h 16343"/>
                    <a:gd name="connsiteX15" fmla="*/ 3666 w 10000"/>
                    <a:gd name="connsiteY15" fmla="*/ 10000 h 16343"/>
                    <a:gd name="connsiteX16" fmla="*/ 1290 w 10000"/>
                    <a:gd name="connsiteY16" fmla="*/ 3190 h 16343"/>
                    <a:gd name="connsiteX17" fmla="*/ 48 w 10000"/>
                    <a:gd name="connsiteY17" fmla="*/ 4764 h 16343"/>
                    <a:gd name="connsiteX0" fmla="*/ 48 w 10000"/>
                    <a:gd name="connsiteY0" fmla="*/ 4764 h 16343"/>
                    <a:gd name="connsiteX1" fmla="*/ 0 w 10000"/>
                    <a:gd name="connsiteY1" fmla="*/ 3102 h 16343"/>
                    <a:gd name="connsiteX2" fmla="*/ 1834 w 10000"/>
                    <a:gd name="connsiteY2" fmla="*/ 2765 h 16343"/>
                    <a:gd name="connsiteX3" fmla="*/ 2079 w 10000"/>
                    <a:gd name="connsiteY3" fmla="*/ 2136 h 16343"/>
                    <a:gd name="connsiteX4" fmla="*/ 3138 w 10000"/>
                    <a:gd name="connsiteY4" fmla="*/ 3978 h 16343"/>
                    <a:gd name="connsiteX5" fmla="*/ 4736 w 10000"/>
                    <a:gd name="connsiteY5" fmla="*/ 3102 h 16343"/>
                    <a:gd name="connsiteX6" fmla="*/ 5821 w 10000"/>
                    <a:gd name="connsiteY6" fmla="*/ 0 h 16343"/>
                    <a:gd name="connsiteX7" fmla="*/ 6607 w 10000"/>
                    <a:gd name="connsiteY7" fmla="*/ 1093 h 16343"/>
                    <a:gd name="connsiteX8" fmla="*/ 10000 w 10000"/>
                    <a:gd name="connsiteY8" fmla="*/ 46 h 16343"/>
                    <a:gd name="connsiteX9" fmla="*/ 9951 w 10000"/>
                    <a:gd name="connsiteY9" fmla="*/ 3399 h 16343"/>
                    <a:gd name="connsiteX10" fmla="*/ 5555 w 10000"/>
                    <a:gd name="connsiteY10" fmla="*/ 4107 h 16343"/>
                    <a:gd name="connsiteX11" fmla="*/ 4914 w 10000"/>
                    <a:gd name="connsiteY11" fmla="*/ 5068 h 16343"/>
                    <a:gd name="connsiteX12" fmla="*/ 4200 w 10000"/>
                    <a:gd name="connsiteY12" fmla="*/ 4727 h 16343"/>
                    <a:gd name="connsiteX13" fmla="*/ 4154 w 10000"/>
                    <a:gd name="connsiteY13" fmla="*/ 6287 h 16343"/>
                    <a:gd name="connsiteX14" fmla="*/ 8622 w 10000"/>
                    <a:gd name="connsiteY14" fmla="*/ 16343 h 16343"/>
                    <a:gd name="connsiteX15" fmla="*/ 3666 w 10000"/>
                    <a:gd name="connsiteY15" fmla="*/ 10000 h 16343"/>
                    <a:gd name="connsiteX16" fmla="*/ 1290 w 10000"/>
                    <a:gd name="connsiteY16" fmla="*/ 3190 h 16343"/>
                    <a:gd name="connsiteX17" fmla="*/ 48 w 10000"/>
                    <a:gd name="connsiteY17" fmla="*/ 4764 h 16343"/>
                    <a:gd name="connsiteX0" fmla="*/ 48 w 10000"/>
                    <a:gd name="connsiteY0" fmla="*/ 4764 h 16343"/>
                    <a:gd name="connsiteX1" fmla="*/ 0 w 10000"/>
                    <a:gd name="connsiteY1" fmla="*/ 3102 h 16343"/>
                    <a:gd name="connsiteX2" fmla="*/ 1834 w 10000"/>
                    <a:gd name="connsiteY2" fmla="*/ 2765 h 16343"/>
                    <a:gd name="connsiteX3" fmla="*/ 2079 w 10000"/>
                    <a:gd name="connsiteY3" fmla="*/ 2136 h 16343"/>
                    <a:gd name="connsiteX4" fmla="*/ 3138 w 10000"/>
                    <a:gd name="connsiteY4" fmla="*/ 3978 h 16343"/>
                    <a:gd name="connsiteX5" fmla="*/ 4736 w 10000"/>
                    <a:gd name="connsiteY5" fmla="*/ 3102 h 16343"/>
                    <a:gd name="connsiteX6" fmla="*/ 5821 w 10000"/>
                    <a:gd name="connsiteY6" fmla="*/ 0 h 16343"/>
                    <a:gd name="connsiteX7" fmla="*/ 6607 w 10000"/>
                    <a:gd name="connsiteY7" fmla="*/ 1093 h 16343"/>
                    <a:gd name="connsiteX8" fmla="*/ 10000 w 10000"/>
                    <a:gd name="connsiteY8" fmla="*/ 46 h 16343"/>
                    <a:gd name="connsiteX9" fmla="*/ 9951 w 10000"/>
                    <a:gd name="connsiteY9" fmla="*/ 3399 h 16343"/>
                    <a:gd name="connsiteX10" fmla="*/ 5555 w 10000"/>
                    <a:gd name="connsiteY10" fmla="*/ 4107 h 16343"/>
                    <a:gd name="connsiteX11" fmla="*/ 4914 w 10000"/>
                    <a:gd name="connsiteY11" fmla="*/ 5068 h 16343"/>
                    <a:gd name="connsiteX12" fmla="*/ 4200 w 10000"/>
                    <a:gd name="connsiteY12" fmla="*/ 4727 h 16343"/>
                    <a:gd name="connsiteX13" fmla="*/ 4154 w 10000"/>
                    <a:gd name="connsiteY13" fmla="*/ 6287 h 16343"/>
                    <a:gd name="connsiteX14" fmla="*/ 8622 w 10000"/>
                    <a:gd name="connsiteY14" fmla="*/ 16343 h 16343"/>
                    <a:gd name="connsiteX15" fmla="*/ 3666 w 10000"/>
                    <a:gd name="connsiteY15" fmla="*/ 10000 h 16343"/>
                    <a:gd name="connsiteX16" fmla="*/ 1290 w 10000"/>
                    <a:gd name="connsiteY16" fmla="*/ 3190 h 16343"/>
                    <a:gd name="connsiteX17" fmla="*/ 48 w 10000"/>
                    <a:gd name="connsiteY17" fmla="*/ 4764 h 16343"/>
                    <a:gd name="connsiteX0" fmla="*/ 48 w 10000"/>
                    <a:gd name="connsiteY0" fmla="*/ 4764 h 16343"/>
                    <a:gd name="connsiteX1" fmla="*/ 0 w 10000"/>
                    <a:gd name="connsiteY1" fmla="*/ 3102 h 16343"/>
                    <a:gd name="connsiteX2" fmla="*/ 1834 w 10000"/>
                    <a:gd name="connsiteY2" fmla="*/ 2765 h 16343"/>
                    <a:gd name="connsiteX3" fmla="*/ 2079 w 10000"/>
                    <a:gd name="connsiteY3" fmla="*/ 2136 h 16343"/>
                    <a:gd name="connsiteX4" fmla="*/ 3138 w 10000"/>
                    <a:gd name="connsiteY4" fmla="*/ 3978 h 16343"/>
                    <a:gd name="connsiteX5" fmla="*/ 4736 w 10000"/>
                    <a:gd name="connsiteY5" fmla="*/ 3102 h 16343"/>
                    <a:gd name="connsiteX6" fmla="*/ 5821 w 10000"/>
                    <a:gd name="connsiteY6" fmla="*/ 0 h 16343"/>
                    <a:gd name="connsiteX7" fmla="*/ 6607 w 10000"/>
                    <a:gd name="connsiteY7" fmla="*/ 1093 h 16343"/>
                    <a:gd name="connsiteX8" fmla="*/ 10000 w 10000"/>
                    <a:gd name="connsiteY8" fmla="*/ 46 h 16343"/>
                    <a:gd name="connsiteX9" fmla="*/ 9951 w 10000"/>
                    <a:gd name="connsiteY9" fmla="*/ 3399 h 16343"/>
                    <a:gd name="connsiteX10" fmla="*/ 5555 w 10000"/>
                    <a:gd name="connsiteY10" fmla="*/ 4107 h 16343"/>
                    <a:gd name="connsiteX11" fmla="*/ 4914 w 10000"/>
                    <a:gd name="connsiteY11" fmla="*/ 5068 h 16343"/>
                    <a:gd name="connsiteX12" fmla="*/ 4200 w 10000"/>
                    <a:gd name="connsiteY12" fmla="*/ 4727 h 16343"/>
                    <a:gd name="connsiteX13" fmla="*/ 4154 w 10000"/>
                    <a:gd name="connsiteY13" fmla="*/ 6287 h 16343"/>
                    <a:gd name="connsiteX14" fmla="*/ 8622 w 10000"/>
                    <a:gd name="connsiteY14" fmla="*/ 16343 h 16343"/>
                    <a:gd name="connsiteX15" fmla="*/ 3666 w 10000"/>
                    <a:gd name="connsiteY15" fmla="*/ 10000 h 16343"/>
                    <a:gd name="connsiteX16" fmla="*/ 1290 w 10000"/>
                    <a:gd name="connsiteY16" fmla="*/ 3190 h 16343"/>
                    <a:gd name="connsiteX17" fmla="*/ 48 w 10000"/>
                    <a:gd name="connsiteY17" fmla="*/ 4764 h 16343"/>
                    <a:gd name="connsiteX0" fmla="*/ 48 w 10000"/>
                    <a:gd name="connsiteY0" fmla="*/ 4764 h 16343"/>
                    <a:gd name="connsiteX1" fmla="*/ 0 w 10000"/>
                    <a:gd name="connsiteY1" fmla="*/ 3102 h 16343"/>
                    <a:gd name="connsiteX2" fmla="*/ 1834 w 10000"/>
                    <a:gd name="connsiteY2" fmla="*/ 2765 h 16343"/>
                    <a:gd name="connsiteX3" fmla="*/ 2079 w 10000"/>
                    <a:gd name="connsiteY3" fmla="*/ 2136 h 16343"/>
                    <a:gd name="connsiteX4" fmla="*/ 3138 w 10000"/>
                    <a:gd name="connsiteY4" fmla="*/ 3978 h 16343"/>
                    <a:gd name="connsiteX5" fmla="*/ 4736 w 10000"/>
                    <a:gd name="connsiteY5" fmla="*/ 3102 h 16343"/>
                    <a:gd name="connsiteX6" fmla="*/ 5821 w 10000"/>
                    <a:gd name="connsiteY6" fmla="*/ 0 h 16343"/>
                    <a:gd name="connsiteX7" fmla="*/ 6607 w 10000"/>
                    <a:gd name="connsiteY7" fmla="*/ 1093 h 16343"/>
                    <a:gd name="connsiteX8" fmla="*/ 10000 w 10000"/>
                    <a:gd name="connsiteY8" fmla="*/ 46 h 16343"/>
                    <a:gd name="connsiteX9" fmla="*/ 9951 w 10000"/>
                    <a:gd name="connsiteY9" fmla="*/ 3399 h 16343"/>
                    <a:gd name="connsiteX10" fmla="*/ 5555 w 10000"/>
                    <a:gd name="connsiteY10" fmla="*/ 4107 h 16343"/>
                    <a:gd name="connsiteX11" fmla="*/ 4914 w 10000"/>
                    <a:gd name="connsiteY11" fmla="*/ 5068 h 16343"/>
                    <a:gd name="connsiteX12" fmla="*/ 4200 w 10000"/>
                    <a:gd name="connsiteY12" fmla="*/ 4727 h 16343"/>
                    <a:gd name="connsiteX13" fmla="*/ 4154 w 10000"/>
                    <a:gd name="connsiteY13" fmla="*/ 6287 h 16343"/>
                    <a:gd name="connsiteX14" fmla="*/ 8622 w 10000"/>
                    <a:gd name="connsiteY14" fmla="*/ 16343 h 16343"/>
                    <a:gd name="connsiteX15" fmla="*/ 3666 w 10000"/>
                    <a:gd name="connsiteY15" fmla="*/ 10000 h 16343"/>
                    <a:gd name="connsiteX16" fmla="*/ 1290 w 10000"/>
                    <a:gd name="connsiteY16" fmla="*/ 3190 h 16343"/>
                    <a:gd name="connsiteX17" fmla="*/ 48 w 10000"/>
                    <a:gd name="connsiteY17" fmla="*/ 4764 h 16343"/>
                    <a:gd name="connsiteX0" fmla="*/ 48 w 10000"/>
                    <a:gd name="connsiteY0" fmla="*/ 4764 h 16343"/>
                    <a:gd name="connsiteX1" fmla="*/ 0 w 10000"/>
                    <a:gd name="connsiteY1" fmla="*/ 3102 h 16343"/>
                    <a:gd name="connsiteX2" fmla="*/ 1834 w 10000"/>
                    <a:gd name="connsiteY2" fmla="*/ 2765 h 16343"/>
                    <a:gd name="connsiteX3" fmla="*/ 2079 w 10000"/>
                    <a:gd name="connsiteY3" fmla="*/ 2136 h 16343"/>
                    <a:gd name="connsiteX4" fmla="*/ 3138 w 10000"/>
                    <a:gd name="connsiteY4" fmla="*/ 3978 h 16343"/>
                    <a:gd name="connsiteX5" fmla="*/ 4736 w 10000"/>
                    <a:gd name="connsiteY5" fmla="*/ 3102 h 16343"/>
                    <a:gd name="connsiteX6" fmla="*/ 5821 w 10000"/>
                    <a:gd name="connsiteY6" fmla="*/ 0 h 16343"/>
                    <a:gd name="connsiteX7" fmla="*/ 6607 w 10000"/>
                    <a:gd name="connsiteY7" fmla="*/ 1093 h 16343"/>
                    <a:gd name="connsiteX8" fmla="*/ 10000 w 10000"/>
                    <a:gd name="connsiteY8" fmla="*/ 46 h 16343"/>
                    <a:gd name="connsiteX9" fmla="*/ 9951 w 10000"/>
                    <a:gd name="connsiteY9" fmla="*/ 3399 h 16343"/>
                    <a:gd name="connsiteX10" fmla="*/ 5555 w 10000"/>
                    <a:gd name="connsiteY10" fmla="*/ 4107 h 16343"/>
                    <a:gd name="connsiteX11" fmla="*/ 4914 w 10000"/>
                    <a:gd name="connsiteY11" fmla="*/ 5068 h 16343"/>
                    <a:gd name="connsiteX12" fmla="*/ 4200 w 10000"/>
                    <a:gd name="connsiteY12" fmla="*/ 4727 h 16343"/>
                    <a:gd name="connsiteX13" fmla="*/ 4154 w 10000"/>
                    <a:gd name="connsiteY13" fmla="*/ 6287 h 16343"/>
                    <a:gd name="connsiteX14" fmla="*/ 8622 w 10000"/>
                    <a:gd name="connsiteY14" fmla="*/ 16343 h 16343"/>
                    <a:gd name="connsiteX15" fmla="*/ 3666 w 10000"/>
                    <a:gd name="connsiteY15" fmla="*/ 10000 h 16343"/>
                    <a:gd name="connsiteX16" fmla="*/ 1290 w 10000"/>
                    <a:gd name="connsiteY16" fmla="*/ 3190 h 16343"/>
                    <a:gd name="connsiteX17" fmla="*/ 48 w 10000"/>
                    <a:gd name="connsiteY17" fmla="*/ 4764 h 16343"/>
                    <a:gd name="connsiteX0" fmla="*/ 48 w 10000"/>
                    <a:gd name="connsiteY0" fmla="*/ 4764 h 16343"/>
                    <a:gd name="connsiteX1" fmla="*/ 0 w 10000"/>
                    <a:gd name="connsiteY1" fmla="*/ 3102 h 16343"/>
                    <a:gd name="connsiteX2" fmla="*/ 1834 w 10000"/>
                    <a:gd name="connsiteY2" fmla="*/ 2765 h 16343"/>
                    <a:gd name="connsiteX3" fmla="*/ 2079 w 10000"/>
                    <a:gd name="connsiteY3" fmla="*/ 2136 h 16343"/>
                    <a:gd name="connsiteX4" fmla="*/ 3138 w 10000"/>
                    <a:gd name="connsiteY4" fmla="*/ 3978 h 16343"/>
                    <a:gd name="connsiteX5" fmla="*/ 4736 w 10000"/>
                    <a:gd name="connsiteY5" fmla="*/ 3102 h 16343"/>
                    <a:gd name="connsiteX6" fmla="*/ 5821 w 10000"/>
                    <a:gd name="connsiteY6" fmla="*/ 0 h 16343"/>
                    <a:gd name="connsiteX7" fmla="*/ 6607 w 10000"/>
                    <a:gd name="connsiteY7" fmla="*/ 1093 h 16343"/>
                    <a:gd name="connsiteX8" fmla="*/ 10000 w 10000"/>
                    <a:gd name="connsiteY8" fmla="*/ 46 h 16343"/>
                    <a:gd name="connsiteX9" fmla="*/ 9951 w 10000"/>
                    <a:gd name="connsiteY9" fmla="*/ 3399 h 16343"/>
                    <a:gd name="connsiteX10" fmla="*/ 5555 w 10000"/>
                    <a:gd name="connsiteY10" fmla="*/ 4107 h 16343"/>
                    <a:gd name="connsiteX11" fmla="*/ 4914 w 10000"/>
                    <a:gd name="connsiteY11" fmla="*/ 5068 h 16343"/>
                    <a:gd name="connsiteX12" fmla="*/ 4200 w 10000"/>
                    <a:gd name="connsiteY12" fmla="*/ 4727 h 16343"/>
                    <a:gd name="connsiteX13" fmla="*/ 4154 w 10000"/>
                    <a:gd name="connsiteY13" fmla="*/ 6287 h 16343"/>
                    <a:gd name="connsiteX14" fmla="*/ 8622 w 10000"/>
                    <a:gd name="connsiteY14" fmla="*/ 16343 h 16343"/>
                    <a:gd name="connsiteX15" fmla="*/ 3666 w 10000"/>
                    <a:gd name="connsiteY15" fmla="*/ 10000 h 16343"/>
                    <a:gd name="connsiteX16" fmla="*/ 1290 w 10000"/>
                    <a:gd name="connsiteY16" fmla="*/ 3190 h 16343"/>
                    <a:gd name="connsiteX17" fmla="*/ 48 w 10000"/>
                    <a:gd name="connsiteY17" fmla="*/ 4764 h 16343"/>
                    <a:gd name="connsiteX0" fmla="*/ 48 w 10000"/>
                    <a:gd name="connsiteY0" fmla="*/ 4764 h 16343"/>
                    <a:gd name="connsiteX1" fmla="*/ 0 w 10000"/>
                    <a:gd name="connsiteY1" fmla="*/ 3102 h 16343"/>
                    <a:gd name="connsiteX2" fmla="*/ 1834 w 10000"/>
                    <a:gd name="connsiteY2" fmla="*/ 2765 h 16343"/>
                    <a:gd name="connsiteX3" fmla="*/ 2079 w 10000"/>
                    <a:gd name="connsiteY3" fmla="*/ 2136 h 16343"/>
                    <a:gd name="connsiteX4" fmla="*/ 3138 w 10000"/>
                    <a:gd name="connsiteY4" fmla="*/ 3978 h 16343"/>
                    <a:gd name="connsiteX5" fmla="*/ 4736 w 10000"/>
                    <a:gd name="connsiteY5" fmla="*/ 3102 h 16343"/>
                    <a:gd name="connsiteX6" fmla="*/ 5821 w 10000"/>
                    <a:gd name="connsiteY6" fmla="*/ 0 h 16343"/>
                    <a:gd name="connsiteX7" fmla="*/ 6607 w 10000"/>
                    <a:gd name="connsiteY7" fmla="*/ 1093 h 16343"/>
                    <a:gd name="connsiteX8" fmla="*/ 10000 w 10000"/>
                    <a:gd name="connsiteY8" fmla="*/ 46 h 16343"/>
                    <a:gd name="connsiteX9" fmla="*/ 9951 w 10000"/>
                    <a:gd name="connsiteY9" fmla="*/ 3399 h 16343"/>
                    <a:gd name="connsiteX10" fmla="*/ 5555 w 10000"/>
                    <a:gd name="connsiteY10" fmla="*/ 4107 h 16343"/>
                    <a:gd name="connsiteX11" fmla="*/ 4914 w 10000"/>
                    <a:gd name="connsiteY11" fmla="*/ 5068 h 16343"/>
                    <a:gd name="connsiteX12" fmla="*/ 4200 w 10000"/>
                    <a:gd name="connsiteY12" fmla="*/ 4727 h 16343"/>
                    <a:gd name="connsiteX13" fmla="*/ 4154 w 10000"/>
                    <a:gd name="connsiteY13" fmla="*/ 6287 h 16343"/>
                    <a:gd name="connsiteX14" fmla="*/ 8622 w 10000"/>
                    <a:gd name="connsiteY14" fmla="*/ 16343 h 16343"/>
                    <a:gd name="connsiteX15" fmla="*/ 3666 w 10000"/>
                    <a:gd name="connsiteY15" fmla="*/ 10000 h 16343"/>
                    <a:gd name="connsiteX16" fmla="*/ 1290 w 10000"/>
                    <a:gd name="connsiteY16" fmla="*/ 3190 h 16343"/>
                    <a:gd name="connsiteX17" fmla="*/ 48 w 10000"/>
                    <a:gd name="connsiteY17" fmla="*/ 4764 h 16343"/>
                    <a:gd name="connsiteX0" fmla="*/ 48 w 10000"/>
                    <a:gd name="connsiteY0" fmla="*/ 4764 h 16343"/>
                    <a:gd name="connsiteX1" fmla="*/ 0 w 10000"/>
                    <a:gd name="connsiteY1" fmla="*/ 3102 h 16343"/>
                    <a:gd name="connsiteX2" fmla="*/ 1834 w 10000"/>
                    <a:gd name="connsiteY2" fmla="*/ 2765 h 16343"/>
                    <a:gd name="connsiteX3" fmla="*/ 2079 w 10000"/>
                    <a:gd name="connsiteY3" fmla="*/ 2136 h 16343"/>
                    <a:gd name="connsiteX4" fmla="*/ 3138 w 10000"/>
                    <a:gd name="connsiteY4" fmla="*/ 3978 h 16343"/>
                    <a:gd name="connsiteX5" fmla="*/ 4736 w 10000"/>
                    <a:gd name="connsiteY5" fmla="*/ 3102 h 16343"/>
                    <a:gd name="connsiteX6" fmla="*/ 5821 w 10000"/>
                    <a:gd name="connsiteY6" fmla="*/ 0 h 16343"/>
                    <a:gd name="connsiteX7" fmla="*/ 6607 w 10000"/>
                    <a:gd name="connsiteY7" fmla="*/ 1093 h 16343"/>
                    <a:gd name="connsiteX8" fmla="*/ 10000 w 10000"/>
                    <a:gd name="connsiteY8" fmla="*/ 46 h 16343"/>
                    <a:gd name="connsiteX9" fmla="*/ 9951 w 10000"/>
                    <a:gd name="connsiteY9" fmla="*/ 3399 h 16343"/>
                    <a:gd name="connsiteX10" fmla="*/ 5555 w 10000"/>
                    <a:gd name="connsiteY10" fmla="*/ 4107 h 16343"/>
                    <a:gd name="connsiteX11" fmla="*/ 4914 w 10000"/>
                    <a:gd name="connsiteY11" fmla="*/ 5068 h 16343"/>
                    <a:gd name="connsiteX12" fmla="*/ 4200 w 10000"/>
                    <a:gd name="connsiteY12" fmla="*/ 4727 h 16343"/>
                    <a:gd name="connsiteX13" fmla="*/ 4154 w 10000"/>
                    <a:gd name="connsiteY13" fmla="*/ 6287 h 16343"/>
                    <a:gd name="connsiteX14" fmla="*/ 8622 w 10000"/>
                    <a:gd name="connsiteY14" fmla="*/ 16343 h 16343"/>
                    <a:gd name="connsiteX15" fmla="*/ 3666 w 10000"/>
                    <a:gd name="connsiteY15" fmla="*/ 10000 h 16343"/>
                    <a:gd name="connsiteX16" fmla="*/ 1290 w 10000"/>
                    <a:gd name="connsiteY16" fmla="*/ 3190 h 16343"/>
                    <a:gd name="connsiteX17" fmla="*/ 48 w 10000"/>
                    <a:gd name="connsiteY17" fmla="*/ 4764 h 16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00" h="16343">
                      <a:moveTo>
                        <a:pt x="48" y="4764"/>
                      </a:moveTo>
                      <a:cubicBezTo>
                        <a:pt x="7" y="3079"/>
                        <a:pt x="11" y="3910"/>
                        <a:pt x="0" y="3102"/>
                      </a:cubicBezTo>
                      <a:lnTo>
                        <a:pt x="1834" y="2765"/>
                      </a:lnTo>
                      <a:cubicBezTo>
                        <a:pt x="1933" y="2473"/>
                        <a:pt x="1980" y="2431"/>
                        <a:pt x="2079" y="2136"/>
                      </a:cubicBezTo>
                      <a:lnTo>
                        <a:pt x="3138" y="3978"/>
                      </a:lnTo>
                      <a:lnTo>
                        <a:pt x="4736" y="3102"/>
                      </a:lnTo>
                      <a:lnTo>
                        <a:pt x="5821" y="0"/>
                      </a:lnTo>
                      <a:lnTo>
                        <a:pt x="6607" y="1093"/>
                      </a:lnTo>
                      <a:lnTo>
                        <a:pt x="10000" y="46"/>
                      </a:lnTo>
                      <a:cubicBezTo>
                        <a:pt x="9905" y="3321"/>
                        <a:pt x="9975" y="1722"/>
                        <a:pt x="9951" y="3399"/>
                      </a:cubicBezTo>
                      <a:cubicBezTo>
                        <a:pt x="5526" y="4076"/>
                        <a:pt x="9937" y="3319"/>
                        <a:pt x="5555" y="4107"/>
                      </a:cubicBezTo>
                      <a:cubicBezTo>
                        <a:pt x="4965" y="5021"/>
                        <a:pt x="5522" y="4147"/>
                        <a:pt x="4914" y="5068"/>
                      </a:cubicBezTo>
                      <a:cubicBezTo>
                        <a:pt x="4305" y="4732"/>
                        <a:pt x="4232" y="4323"/>
                        <a:pt x="4200" y="4727"/>
                      </a:cubicBezTo>
                      <a:cubicBezTo>
                        <a:pt x="4185" y="5247"/>
                        <a:pt x="4169" y="5767"/>
                        <a:pt x="4154" y="6287"/>
                      </a:cubicBezTo>
                      <a:lnTo>
                        <a:pt x="8622" y="16343"/>
                      </a:lnTo>
                      <a:lnTo>
                        <a:pt x="3666" y="10000"/>
                      </a:lnTo>
                      <a:lnTo>
                        <a:pt x="1290" y="3190"/>
                      </a:lnTo>
                      <a:lnTo>
                        <a:pt x="48" y="4764"/>
                      </a:lnTo>
                      <a:close/>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6" name="Bulgaria">
                  <a:extLst>
                    <a:ext uri="{FF2B5EF4-FFF2-40B4-BE49-F238E27FC236}">
                      <a16:creationId xmlns:a16="http://schemas.microsoft.com/office/drawing/2014/main" id="{B0141728-555F-1EB8-5CDC-FBD1863FC2BF}"/>
                    </a:ext>
                  </a:extLst>
                </p:cNvPr>
                <p:cNvSpPr>
                  <a:spLocks noGrp="1" noRot="1" noMove="1" noResize="1" noEditPoints="1" noAdjustHandles="1" noChangeArrowheads="1" noChangeShapeType="1"/>
                </p:cNvSpPr>
                <p:nvPr/>
              </p:nvSpPr>
              <p:spPr bwMode="gray">
                <a:xfrm>
                  <a:off x="5478476" y="4092722"/>
                  <a:ext cx="317407" cy="199602"/>
                </a:xfrm>
                <a:custGeom>
                  <a:avLst/>
                  <a:gdLst/>
                  <a:ahLst/>
                  <a:cxnLst>
                    <a:cxn ang="0">
                      <a:pos x="0" y="29"/>
                    </a:cxn>
                    <a:cxn ang="0">
                      <a:pos x="0" y="29"/>
                    </a:cxn>
                    <a:cxn ang="0">
                      <a:pos x="5" y="0"/>
                    </a:cxn>
                    <a:cxn ang="0">
                      <a:pos x="86" y="7"/>
                    </a:cxn>
                    <a:cxn ang="0">
                      <a:pos x="71" y="24"/>
                    </a:cxn>
                    <a:cxn ang="0">
                      <a:pos x="77" y="34"/>
                    </a:cxn>
                    <a:cxn ang="0">
                      <a:pos x="55" y="35"/>
                    </a:cxn>
                    <a:cxn ang="0">
                      <a:pos x="42" y="43"/>
                    </a:cxn>
                    <a:cxn ang="0">
                      <a:pos x="9" y="42"/>
                    </a:cxn>
                    <a:cxn ang="0">
                      <a:pos x="0" y="29"/>
                    </a:cxn>
                    <a:cxn ang="0">
                      <a:pos x="0" y="29"/>
                    </a:cxn>
                  </a:cxnLst>
                  <a:rect l="0" t="0" r="r" b="b"/>
                  <a:pathLst>
                    <a:path w="87" h="44">
                      <a:moveTo>
                        <a:pt x="0" y="29"/>
                      </a:moveTo>
                      <a:lnTo>
                        <a:pt x="0" y="29"/>
                      </a:lnTo>
                      <a:lnTo>
                        <a:pt x="5" y="0"/>
                      </a:lnTo>
                      <a:lnTo>
                        <a:pt x="86" y="7"/>
                      </a:lnTo>
                      <a:lnTo>
                        <a:pt x="71" y="24"/>
                      </a:lnTo>
                      <a:lnTo>
                        <a:pt x="77" y="34"/>
                      </a:lnTo>
                      <a:lnTo>
                        <a:pt x="55" y="35"/>
                      </a:lnTo>
                      <a:lnTo>
                        <a:pt x="42" y="43"/>
                      </a:lnTo>
                      <a:lnTo>
                        <a:pt x="9" y="42"/>
                      </a:lnTo>
                      <a:lnTo>
                        <a:pt x="0" y="29"/>
                      </a:lnTo>
                      <a:lnTo>
                        <a:pt x="0" y="29"/>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7" name="Bosnia">
                  <a:extLst>
                    <a:ext uri="{FF2B5EF4-FFF2-40B4-BE49-F238E27FC236}">
                      <a16:creationId xmlns:a16="http://schemas.microsoft.com/office/drawing/2014/main" id="{0AEC6619-A630-0CC0-B914-EBF09C108C4B}"/>
                    </a:ext>
                  </a:extLst>
                </p:cNvPr>
                <p:cNvSpPr>
                  <a:spLocks noGrp="1" noRot="1" noChangeAspect="1" noMove="1" noResize="1" noEditPoints="1" noAdjustHandles="1" noChangeArrowheads="1" noChangeShapeType="1"/>
                </p:cNvSpPr>
                <p:nvPr/>
              </p:nvSpPr>
              <p:spPr bwMode="gray">
                <a:xfrm>
                  <a:off x="5187575" y="3970120"/>
                  <a:ext cx="318623" cy="282522"/>
                </a:xfrm>
                <a:custGeom>
                  <a:avLst/>
                  <a:gdLst>
                    <a:gd name="connsiteX0" fmla="*/ 339287 w 490121"/>
                    <a:gd name="connsiteY0" fmla="*/ 527206 h 538191"/>
                    <a:gd name="connsiteX1" fmla="*/ 343677 w 490121"/>
                    <a:gd name="connsiteY1" fmla="*/ 538191 h 538191"/>
                    <a:gd name="connsiteX2" fmla="*/ 339287 w 490121"/>
                    <a:gd name="connsiteY2" fmla="*/ 527206 h 538191"/>
                    <a:gd name="connsiteX3" fmla="*/ 291818 w 490121"/>
                    <a:gd name="connsiteY3" fmla="*/ 0 h 538191"/>
                    <a:gd name="connsiteX4" fmla="*/ 490121 w 490121"/>
                    <a:gd name="connsiteY4" fmla="*/ 211706 h 538191"/>
                    <a:gd name="connsiteX5" fmla="*/ 470075 w 490121"/>
                    <a:gd name="connsiteY5" fmla="*/ 382609 h 538191"/>
                    <a:gd name="connsiteX6" fmla="*/ 469605 w 490121"/>
                    <a:gd name="connsiteY6" fmla="*/ 383651 h 538191"/>
                    <a:gd name="connsiteX7" fmla="*/ 447521 w 490121"/>
                    <a:gd name="connsiteY7" fmla="*/ 382058 h 538191"/>
                    <a:gd name="connsiteX8" fmla="*/ 430941 w 490121"/>
                    <a:gd name="connsiteY8" fmla="*/ 407602 h 538191"/>
                    <a:gd name="connsiteX9" fmla="*/ 389215 w 490121"/>
                    <a:gd name="connsiteY9" fmla="*/ 388824 h 538191"/>
                    <a:gd name="connsiteX10" fmla="*/ 332303 w 490121"/>
                    <a:gd name="connsiteY10" fmla="*/ 452686 h 538191"/>
                    <a:gd name="connsiteX11" fmla="*/ 320714 w 490121"/>
                    <a:gd name="connsiteY11" fmla="*/ 453556 h 538191"/>
                    <a:gd name="connsiteX12" fmla="*/ 311614 w 490121"/>
                    <a:gd name="connsiteY12" fmla="*/ 451483 h 538191"/>
                    <a:gd name="connsiteX13" fmla="*/ 286231 w 490121"/>
                    <a:gd name="connsiteY13" fmla="*/ 385751 h 538191"/>
                    <a:gd name="connsiteX14" fmla="*/ 223839 w 490121"/>
                    <a:gd name="connsiteY14" fmla="*/ 468998 h 538191"/>
                    <a:gd name="connsiteX15" fmla="*/ 0 w 490121"/>
                    <a:gd name="connsiteY15" fmla="*/ 182112 h 538191"/>
                    <a:gd name="connsiteX16" fmla="*/ 2059 w 490121"/>
                    <a:gd name="connsiteY16" fmla="*/ 131835 h 538191"/>
                    <a:gd name="connsiteX17" fmla="*/ 37740 w 490121"/>
                    <a:gd name="connsiteY17" fmla="*/ 143842 h 538191"/>
                    <a:gd name="connsiteX18" fmla="*/ 76802 w 490121"/>
                    <a:gd name="connsiteY18" fmla="*/ 113732 h 538191"/>
                    <a:gd name="connsiteX19" fmla="*/ 290103 w 490121"/>
                    <a:gd name="connsiteY19" fmla="*/ 97974 h 538191"/>
                    <a:gd name="connsiteX20" fmla="*/ 291818 w 490121"/>
                    <a:gd name="connsiteY20" fmla="*/ 0 h 538191"/>
                    <a:gd name="connsiteX0" fmla="*/ 291818 w 490121"/>
                    <a:gd name="connsiteY0" fmla="*/ 0 h 468998"/>
                    <a:gd name="connsiteX1" fmla="*/ 490121 w 490121"/>
                    <a:gd name="connsiteY1" fmla="*/ 211706 h 468998"/>
                    <a:gd name="connsiteX2" fmla="*/ 470075 w 490121"/>
                    <a:gd name="connsiteY2" fmla="*/ 382609 h 468998"/>
                    <a:gd name="connsiteX3" fmla="*/ 469605 w 490121"/>
                    <a:gd name="connsiteY3" fmla="*/ 383651 h 468998"/>
                    <a:gd name="connsiteX4" fmla="*/ 447521 w 490121"/>
                    <a:gd name="connsiteY4" fmla="*/ 382058 h 468998"/>
                    <a:gd name="connsiteX5" fmla="*/ 430941 w 490121"/>
                    <a:gd name="connsiteY5" fmla="*/ 407602 h 468998"/>
                    <a:gd name="connsiteX6" fmla="*/ 389215 w 490121"/>
                    <a:gd name="connsiteY6" fmla="*/ 388824 h 468998"/>
                    <a:gd name="connsiteX7" fmla="*/ 332303 w 490121"/>
                    <a:gd name="connsiteY7" fmla="*/ 452686 h 468998"/>
                    <a:gd name="connsiteX8" fmla="*/ 320714 w 490121"/>
                    <a:gd name="connsiteY8" fmla="*/ 453556 h 468998"/>
                    <a:gd name="connsiteX9" fmla="*/ 311614 w 490121"/>
                    <a:gd name="connsiteY9" fmla="*/ 451483 h 468998"/>
                    <a:gd name="connsiteX10" fmla="*/ 286231 w 490121"/>
                    <a:gd name="connsiteY10" fmla="*/ 385751 h 468998"/>
                    <a:gd name="connsiteX11" fmla="*/ 223839 w 490121"/>
                    <a:gd name="connsiteY11" fmla="*/ 468998 h 468998"/>
                    <a:gd name="connsiteX12" fmla="*/ 0 w 490121"/>
                    <a:gd name="connsiteY12" fmla="*/ 182112 h 468998"/>
                    <a:gd name="connsiteX13" fmla="*/ 2059 w 490121"/>
                    <a:gd name="connsiteY13" fmla="*/ 131835 h 468998"/>
                    <a:gd name="connsiteX14" fmla="*/ 37740 w 490121"/>
                    <a:gd name="connsiteY14" fmla="*/ 143842 h 468998"/>
                    <a:gd name="connsiteX15" fmla="*/ 76802 w 490121"/>
                    <a:gd name="connsiteY15" fmla="*/ 113732 h 468998"/>
                    <a:gd name="connsiteX16" fmla="*/ 290103 w 490121"/>
                    <a:gd name="connsiteY16" fmla="*/ 97974 h 468998"/>
                    <a:gd name="connsiteX17" fmla="*/ 291818 w 490121"/>
                    <a:gd name="connsiteY17" fmla="*/ 0 h 46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121" h="468998">
                      <a:moveTo>
                        <a:pt x="291818" y="0"/>
                      </a:moveTo>
                      <a:lnTo>
                        <a:pt x="490121" y="211706"/>
                      </a:lnTo>
                      <a:cubicBezTo>
                        <a:pt x="480074" y="297157"/>
                        <a:pt x="480074" y="297157"/>
                        <a:pt x="470075" y="382609"/>
                      </a:cubicBezTo>
                      <a:lnTo>
                        <a:pt x="469605" y="383651"/>
                      </a:lnTo>
                      <a:cubicBezTo>
                        <a:pt x="464170" y="376767"/>
                        <a:pt x="452985" y="379832"/>
                        <a:pt x="447521" y="382058"/>
                      </a:cubicBezTo>
                      <a:cubicBezTo>
                        <a:pt x="444849" y="383148"/>
                        <a:pt x="445655" y="382716"/>
                        <a:pt x="430941" y="407602"/>
                      </a:cubicBezTo>
                      <a:cubicBezTo>
                        <a:pt x="431235" y="395509"/>
                        <a:pt x="426481" y="398409"/>
                        <a:pt x="389215" y="388824"/>
                      </a:cubicBezTo>
                      <a:cubicBezTo>
                        <a:pt x="339395" y="444336"/>
                        <a:pt x="391238" y="388063"/>
                        <a:pt x="332303" y="452686"/>
                      </a:cubicBezTo>
                      <a:cubicBezTo>
                        <a:pt x="316287" y="452285"/>
                        <a:pt x="326085" y="454788"/>
                        <a:pt x="320714" y="453556"/>
                      </a:cubicBezTo>
                      <a:lnTo>
                        <a:pt x="311614" y="451483"/>
                      </a:lnTo>
                      <a:cubicBezTo>
                        <a:pt x="307709" y="441854"/>
                        <a:pt x="300319" y="422901"/>
                        <a:pt x="286231" y="385751"/>
                      </a:cubicBezTo>
                      <a:lnTo>
                        <a:pt x="223839" y="468998"/>
                      </a:lnTo>
                      <a:lnTo>
                        <a:pt x="0" y="182112"/>
                      </a:lnTo>
                      <a:cubicBezTo>
                        <a:pt x="686" y="165369"/>
                        <a:pt x="1373" y="148626"/>
                        <a:pt x="2059" y="131835"/>
                      </a:cubicBezTo>
                      <a:cubicBezTo>
                        <a:pt x="8381" y="125504"/>
                        <a:pt x="25290" y="146890"/>
                        <a:pt x="37740" y="143842"/>
                      </a:cubicBezTo>
                      <a:lnTo>
                        <a:pt x="76802" y="113732"/>
                      </a:lnTo>
                      <a:lnTo>
                        <a:pt x="290103" y="97974"/>
                      </a:lnTo>
                      <a:cubicBezTo>
                        <a:pt x="290740" y="65332"/>
                        <a:pt x="291230" y="32642"/>
                        <a:pt x="291818" y="0"/>
                      </a:cubicBezTo>
                      <a:close/>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8" name="Belgium">
                  <a:extLst>
                    <a:ext uri="{FF2B5EF4-FFF2-40B4-BE49-F238E27FC236}">
                      <a16:creationId xmlns:a16="http://schemas.microsoft.com/office/drawing/2014/main" id="{92B1D672-452B-0814-0F52-2A7C07CAA838}"/>
                    </a:ext>
                  </a:extLst>
                </p:cNvPr>
                <p:cNvSpPr>
                  <a:spLocks noGrp="1" noRot="1" noMove="1" noResize="1" noEditPoints="1" noAdjustHandles="1" noChangeArrowheads="1" noChangeShapeType="1"/>
                </p:cNvSpPr>
                <p:nvPr/>
              </p:nvSpPr>
              <p:spPr bwMode="gray">
                <a:xfrm>
                  <a:off x="4513391" y="3591496"/>
                  <a:ext cx="162990" cy="133070"/>
                </a:xfrm>
                <a:custGeom>
                  <a:avLst/>
                  <a:gdLst/>
                  <a:ahLst/>
                  <a:cxnLst>
                    <a:cxn ang="0">
                      <a:pos x="0" y="5"/>
                    </a:cxn>
                    <a:cxn ang="0">
                      <a:pos x="0" y="5"/>
                    </a:cxn>
                    <a:cxn ang="0">
                      <a:pos x="10" y="2"/>
                    </a:cxn>
                    <a:cxn ang="0">
                      <a:pos x="29" y="0"/>
                    </a:cxn>
                    <a:cxn ang="0">
                      <a:pos x="43" y="11"/>
                    </a:cxn>
                    <a:cxn ang="0">
                      <a:pos x="44" y="21"/>
                    </a:cxn>
                    <a:cxn ang="0">
                      <a:pos x="39" y="29"/>
                    </a:cxn>
                    <a:cxn ang="0">
                      <a:pos x="0" y="5"/>
                    </a:cxn>
                    <a:cxn ang="0">
                      <a:pos x="0" y="5"/>
                    </a:cxn>
                  </a:cxnLst>
                  <a:rect l="0" t="0" r="r" b="b"/>
                  <a:pathLst>
                    <a:path w="45" h="30">
                      <a:moveTo>
                        <a:pt x="0" y="5"/>
                      </a:moveTo>
                      <a:lnTo>
                        <a:pt x="0" y="5"/>
                      </a:lnTo>
                      <a:lnTo>
                        <a:pt x="10" y="2"/>
                      </a:lnTo>
                      <a:lnTo>
                        <a:pt x="29" y="0"/>
                      </a:lnTo>
                      <a:lnTo>
                        <a:pt x="43" y="11"/>
                      </a:lnTo>
                      <a:lnTo>
                        <a:pt x="44" y="21"/>
                      </a:lnTo>
                      <a:lnTo>
                        <a:pt x="39" y="29"/>
                      </a:lnTo>
                      <a:lnTo>
                        <a:pt x="0" y="5"/>
                      </a:lnTo>
                      <a:lnTo>
                        <a:pt x="0" y="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9" name="Belarus">
                  <a:extLst>
                    <a:ext uri="{FF2B5EF4-FFF2-40B4-BE49-F238E27FC236}">
                      <a16:creationId xmlns:a16="http://schemas.microsoft.com/office/drawing/2014/main" id="{A589636C-2BAC-F3D5-0050-F06606070354}"/>
                    </a:ext>
                  </a:extLst>
                </p:cNvPr>
                <p:cNvSpPr>
                  <a:spLocks noGrp="1" noRot="1" noMove="1" noResize="1" noEditPoints="1" noAdjustHandles="1" noChangeArrowheads="1" noChangeShapeType="1"/>
                </p:cNvSpPr>
                <p:nvPr/>
              </p:nvSpPr>
              <p:spPr bwMode="gray">
                <a:xfrm>
                  <a:off x="5525660" y="3276568"/>
                  <a:ext cx="398902" cy="345978"/>
                </a:xfrm>
                <a:custGeom>
                  <a:avLst/>
                  <a:gdLst/>
                  <a:ahLst/>
                  <a:cxnLst>
                    <a:cxn ang="0">
                      <a:pos x="36" y="0"/>
                    </a:cxn>
                    <a:cxn ang="0">
                      <a:pos x="45" y="1"/>
                    </a:cxn>
                    <a:cxn ang="0">
                      <a:pos x="54" y="6"/>
                    </a:cxn>
                    <a:cxn ang="0">
                      <a:pos x="68" y="6"/>
                    </a:cxn>
                    <a:cxn ang="0">
                      <a:pos x="83" y="9"/>
                    </a:cxn>
                    <a:cxn ang="0">
                      <a:pos x="91" y="18"/>
                    </a:cxn>
                    <a:cxn ang="0">
                      <a:pos x="97" y="30"/>
                    </a:cxn>
                    <a:cxn ang="0">
                      <a:pos x="99" y="35"/>
                    </a:cxn>
                    <a:cxn ang="0">
                      <a:pos x="105" y="38"/>
                    </a:cxn>
                    <a:cxn ang="0">
                      <a:pos x="109" y="42"/>
                    </a:cxn>
                    <a:cxn ang="0">
                      <a:pos x="109" y="47"/>
                    </a:cxn>
                    <a:cxn ang="0">
                      <a:pos x="102" y="47"/>
                    </a:cxn>
                    <a:cxn ang="0">
                      <a:pos x="92" y="47"/>
                    </a:cxn>
                    <a:cxn ang="0">
                      <a:pos x="97" y="52"/>
                    </a:cxn>
                    <a:cxn ang="0">
                      <a:pos x="100" y="55"/>
                    </a:cxn>
                    <a:cxn ang="0">
                      <a:pos x="102" y="62"/>
                    </a:cxn>
                    <a:cxn ang="0">
                      <a:pos x="97" y="64"/>
                    </a:cxn>
                    <a:cxn ang="0">
                      <a:pos x="88" y="64"/>
                    </a:cxn>
                    <a:cxn ang="0">
                      <a:pos x="87" y="64"/>
                    </a:cxn>
                    <a:cxn ang="0">
                      <a:pos x="83" y="68"/>
                    </a:cxn>
                    <a:cxn ang="0">
                      <a:pos x="83" y="73"/>
                    </a:cxn>
                    <a:cxn ang="0">
                      <a:pos x="78" y="75"/>
                    </a:cxn>
                    <a:cxn ang="0">
                      <a:pos x="72" y="72"/>
                    </a:cxn>
                    <a:cxn ang="0">
                      <a:pos x="64" y="71"/>
                    </a:cxn>
                    <a:cxn ang="0">
                      <a:pos x="56" y="68"/>
                    </a:cxn>
                    <a:cxn ang="0">
                      <a:pos x="48" y="69"/>
                    </a:cxn>
                    <a:cxn ang="0">
                      <a:pos x="26" y="62"/>
                    </a:cxn>
                    <a:cxn ang="0">
                      <a:pos x="17" y="63"/>
                    </a:cxn>
                    <a:cxn ang="0">
                      <a:pos x="9" y="62"/>
                    </a:cxn>
                    <a:cxn ang="0">
                      <a:pos x="5" y="68"/>
                    </a:cxn>
                    <a:cxn ang="0">
                      <a:pos x="0" y="54"/>
                    </a:cxn>
                    <a:cxn ang="0">
                      <a:pos x="10" y="46"/>
                    </a:cxn>
                    <a:cxn ang="0">
                      <a:pos x="3" y="30"/>
                    </a:cxn>
                    <a:cxn ang="0">
                      <a:pos x="9" y="32"/>
                    </a:cxn>
                    <a:cxn ang="0">
                      <a:pos x="10" y="28"/>
                    </a:cxn>
                    <a:cxn ang="0">
                      <a:pos x="12" y="23"/>
                    </a:cxn>
                    <a:cxn ang="0">
                      <a:pos x="16" y="19"/>
                    </a:cxn>
                    <a:cxn ang="0">
                      <a:pos x="17" y="13"/>
                    </a:cxn>
                    <a:cxn ang="0">
                      <a:pos x="24" y="6"/>
                    </a:cxn>
                    <a:cxn ang="0">
                      <a:pos x="29" y="0"/>
                    </a:cxn>
                    <a:cxn ang="0">
                      <a:pos x="36" y="0"/>
                    </a:cxn>
                    <a:cxn ang="0">
                      <a:pos x="36" y="0"/>
                    </a:cxn>
                  </a:cxnLst>
                  <a:rect l="0" t="0" r="r" b="b"/>
                  <a:pathLst>
                    <a:path w="110" h="76">
                      <a:moveTo>
                        <a:pt x="36" y="0"/>
                      </a:moveTo>
                      <a:lnTo>
                        <a:pt x="45" y="1"/>
                      </a:lnTo>
                      <a:lnTo>
                        <a:pt x="54" y="6"/>
                      </a:lnTo>
                      <a:lnTo>
                        <a:pt x="68" y="6"/>
                      </a:lnTo>
                      <a:lnTo>
                        <a:pt x="83" y="9"/>
                      </a:lnTo>
                      <a:lnTo>
                        <a:pt x="91" y="18"/>
                      </a:lnTo>
                      <a:lnTo>
                        <a:pt x="97" y="30"/>
                      </a:lnTo>
                      <a:lnTo>
                        <a:pt x="99" y="35"/>
                      </a:lnTo>
                      <a:lnTo>
                        <a:pt x="105" y="38"/>
                      </a:lnTo>
                      <a:lnTo>
                        <a:pt x="109" y="42"/>
                      </a:lnTo>
                      <a:lnTo>
                        <a:pt x="109" y="47"/>
                      </a:lnTo>
                      <a:lnTo>
                        <a:pt x="102" y="47"/>
                      </a:lnTo>
                      <a:lnTo>
                        <a:pt x="92" y="47"/>
                      </a:lnTo>
                      <a:lnTo>
                        <a:pt x="97" y="52"/>
                      </a:lnTo>
                      <a:lnTo>
                        <a:pt x="100" y="55"/>
                      </a:lnTo>
                      <a:lnTo>
                        <a:pt x="102" y="62"/>
                      </a:lnTo>
                      <a:lnTo>
                        <a:pt x="97" y="64"/>
                      </a:lnTo>
                      <a:lnTo>
                        <a:pt x="88" y="64"/>
                      </a:lnTo>
                      <a:lnTo>
                        <a:pt x="87" y="64"/>
                      </a:lnTo>
                      <a:lnTo>
                        <a:pt x="83" y="68"/>
                      </a:lnTo>
                      <a:lnTo>
                        <a:pt x="83" y="73"/>
                      </a:lnTo>
                      <a:lnTo>
                        <a:pt x="78" y="75"/>
                      </a:lnTo>
                      <a:lnTo>
                        <a:pt x="72" y="72"/>
                      </a:lnTo>
                      <a:lnTo>
                        <a:pt x="64" y="71"/>
                      </a:lnTo>
                      <a:lnTo>
                        <a:pt x="56" y="68"/>
                      </a:lnTo>
                      <a:lnTo>
                        <a:pt x="48" y="69"/>
                      </a:lnTo>
                      <a:lnTo>
                        <a:pt x="26" y="62"/>
                      </a:lnTo>
                      <a:lnTo>
                        <a:pt x="17" y="63"/>
                      </a:lnTo>
                      <a:lnTo>
                        <a:pt x="9" y="62"/>
                      </a:lnTo>
                      <a:lnTo>
                        <a:pt x="5" y="68"/>
                      </a:lnTo>
                      <a:lnTo>
                        <a:pt x="0" y="54"/>
                      </a:lnTo>
                      <a:lnTo>
                        <a:pt x="10" y="46"/>
                      </a:lnTo>
                      <a:lnTo>
                        <a:pt x="3" y="30"/>
                      </a:lnTo>
                      <a:lnTo>
                        <a:pt x="9" y="32"/>
                      </a:lnTo>
                      <a:lnTo>
                        <a:pt x="10" y="28"/>
                      </a:lnTo>
                      <a:lnTo>
                        <a:pt x="12" y="23"/>
                      </a:lnTo>
                      <a:lnTo>
                        <a:pt x="16" y="19"/>
                      </a:lnTo>
                      <a:lnTo>
                        <a:pt x="17" y="13"/>
                      </a:lnTo>
                      <a:lnTo>
                        <a:pt x="24" y="6"/>
                      </a:lnTo>
                      <a:lnTo>
                        <a:pt x="29" y="0"/>
                      </a:lnTo>
                      <a:lnTo>
                        <a:pt x="36" y="0"/>
                      </a:lnTo>
                      <a:lnTo>
                        <a:pt x="36" y="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0" name="Azerbaijan">
                  <a:extLst>
                    <a:ext uri="{FF2B5EF4-FFF2-40B4-BE49-F238E27FC236}">
                      <a16:creationId xmlns:a16="http://schemas.microsoft.com/office/drawing/2014/main" id="{1F789CF9-C7AA-91B7-A512-39DA5065E431}"/>
                    </a:ext>
                  </a:extLst>
                </p:cNvPr>
                <p:cNvSpPr>
                  <a:spLocks noGrp="1" noRot="1" noMove="1" noResize="1" noEditPoints="1" noAdjustHandles="1" noChangeArrowheads="1" noChangeShapeType="1"/>
                </p:cNvSpPr>
                <p:nvPr/>
              </p:nvSpPr>
              <p:spPr bwMode="gray">
                <a:xfrm>
                  <a:off x="6554616" y="4190306"/>
                  <a:ext cx="308827" cy="275008"/>
                </a:xfrm>
                <a:custGeom>
                  <a:avLst/>
                  <a:gdLst/>
                  <a:ahLst/>
                  <a:cxnLst>
                    <a:cxn ang="0">
                      <a:pos x="31" y="2"/>
                    </a:cxn>
                    <a:cxn ang="0">
                      <a:pos x="36" y="2"/>
                    </a:cxn>
                    <a:cxn ang="0">
                      <a:pos x="48" y="5"/>
                    </a:cxn>
                    <a:cxn ang="0">
                      <a:pos x="60" y="13"/>
                    </a:cxn>
                    <a:cxn ang="0">
                      <a:pos x="68" y="23"/>
                    </a:cxn>
                    <a:cxn ang="0">
                      <a:pos x="84" y="34"/>
                    </a:cxn>
                    <a:cxn ang="0">
                      <a:pos x="75" y="37"/>
                    </a:cxn>
                    <a:cxn ang="0">
                      <a:pos x="69" y="44"/>
                    </a:cxn>
                    <a:cxn ang="0">
                      <a:pos x="68" y="47"/>
                    </a:cxn>
                    <a:cxn ang="0">
                      <a:pos x="65" y="60"/>
                    </a:cxn>
                    <a:cxn ang="0">
                      <a:pos x="54" y="57"/>
                    </a:cxn>
                    <a:cxn ang="0">
                      <a:pos x="51" y="45"/>
                    </a:cxn>
                    <a:cxn ang="0">
                      <a:pos x="40" y="50"/>
                    </a:cxn>
                    <a:cxn ang="0">
                      <a:pos x="28" y="56"/>
                    </a:cxn>
                    <a:cxn ang="0">
                      <a:pos x="21" y="55"/>
                    </a:cxn>
                    <a:cxn ang="0">
                      <a:pos x="15" y="49"/>
                    </a:cxn>
                    <a:cxn ang="0">
                      <a:pos x="11" y="44"/>
                    </a:cxn>
                    <a:cxn ang="0">
                      <a:pos x="16" y="38"/>
                    </a:cxn>
                    <a:cxn ang="0">
                      <a:pos x="19" y="43"/>
                    </a:cxn>
                    <a:cxn ang="0">
                      <a:pos x="34" y="48"/>
                    </a:cxn>
                    <a:cxn ang="0">
                      <a:pos x="37" y="43"/>
                    </a:cxn>
                    <a:cxn ang="0">
                      <a:pos x="23" y="34"/>
                    </a:cxn>
                    <a:cxn ang="0">
                      <a:pos x="19" y="25"/>
                    </a:cxn>
                    <a:cxn ang="0">
                      <a:pos x="14" y="23"/>
                    </a:cxn>
                    <a:cxn ang="0">
                      <a:pos x="14" y="18"/>
                    </a:cxn>
                    <a:cxn ang="0">
                      <a:pos x="8" y="16"/>
                    </a:cxn>
                    <a:cxn ang="0">
                      <a:pos x="0" y="15"/>
                    </a:cxn>
                    <a:cxn ang="0">
                      <a:pos x="2" y="9"/>
                    </a:cxn>
                    <a:cxn ang="0">
                      <a:pos x="3" y="5"/>
                    </a:cxn>
                    <a:cxn ang="0">
                      <a:pos x="10" y="5"/>
                    </a:cxn>
                    <a:cxn ang="0">
                      <a:pos x="14" y="7"/>
                    </a:cxn>
                    <a:cxn ang="0">
                      <a:pos x="25" y="16"/>
                    </a:cxn>
                    <a:cxn ang="0">
                      <a:pos x="26" y="10"/>
                    </a:cxn>
                    <a:cxn ang="0">
                      <a:pos x="23" y="4"/>
                    </a:cxn>
                    <a:cxn ang="0">
                      <a:pos x="25" y="0"/>
                    </a:cxn>
                    <a:cxn ang="0">
                      <a:pos x="31" y="2"/>
                    </a:cxn>
                    <a:cxn ang="0">
                      <a:pos x="31" y="2"/>
                    </a:cxn>
                  </a:cxnLst>
                  <a:rect l="0" t="0" r="r" b="b"/>
                  <a:pathLst>
                    <a:path w="85" h="61">
                      <a:moveTo>
                        <a:pt x="31" y="2"/>
                      </a:moveTo>
                      <a:lnTo>
                        <a:pt x="36" y="2"/>
                      </a:lnTo>
                      <a:lnTo>
                        <a:pt x="48" y="5"/>
                      </a:lnTo>
                      <a:lnTo>
                        <a:pt x="60" y="13"/>
                      </a:lnTo>
                      <a:lnTo>
                        <a:pt x="68" y="23"/>
                      </a:lnTo>
                      <a:lnTo>
                        <a:pt x="84" y="34"/>
                      </a:lnTo>
                      <a:lnTo>
                        <a:pt x="75" y="37"/>
                      </a:lnTo>
                      <a:lnTo>
                        <a:pt x="69" y="44"/>
                      </a:lnTo>
                      <a:lnTo>
                        <a:pt x="68" y="47"/>
                      </a:lnTo>
                      <a:lnTo>
                        <a:pt x="65" y="60"/>
                      </a:lnTo>
                      <a:lnTo>
                        <a:pt x="54" y="57"/>
                      </a:lnTo>
                      <a:lnTo>
                        <a:pt x="51" y="45"/>
                      </a:lnTo>
                      <a:lnTo>
                        <a:pt x="40" y="50"/>
                      </a:lnTo>
                      <a:lnTo>
                        <a:pt x="28" y="56"/>
                      </a:lnTo>
                      <a:lnTo>
                        <a:pt x="21" y="55"/>
                      </a:lnTo>
                      <a:lnTo>
                        <a:pt x="15" y="49"/>
                      </a:lnTo>
                      <a:lnTo>
                        <a:pt x="11" y="44"/>
                      </a:lnTo>
                      <a:lnTo>
                        <a:pt x="16" y="38"/>
                      </a:lnTo>
                      <a:lnTo>
                        <a:pt x="19" y="43"/>
                      </a:lnTo>
                      <a:lnTo>
                        <a:pt x="34" y="48"/>
                      </a:lnTo>
                      <a:lnTo>
                        <a:pt x="37" y="43"/>
                      </a:lnTo>
                      <a:lnTo>
                        <a:pt x="23" y="34"/>
                      </a:lnTo>
                      <a:lnTo>
                        <a:pt x="19" y="25"/>
                      </a:lnTo>
                      <a:lnTo>
                        <a:pt x="14" y="23"/>
                      </a:lnTo>
                      <a:lnTo>
                        <a:pt x="14" y="18"/>
                      </a:lnTo>
                      <a:lnTo>
                        <a:pt x="8" y="16"/>
                      </a:lnTo>
                      <a:lnTo>
                        <a:pt x="0" y="15"/>
                      </a:lnTo>
                      <a:lnTo>
                        <a:pt x="2" y="9"/>
                      </a:lnTo>
                      <a:lnTo>
                        <a:pt x="3" y="5"/>
                      </a:lnTo>
                      <a:lnTo>
                        <a:pt x="10" y="5"/>
                      </a:lnTo>
                      <a:lnTo>
                        <a:pt x="14" y="7"/>
                      </a:lnTo>
                      <a:lnTo>
                        <a:pt x="25" y="16"/>
                      </a:lnTo>
                      <a:lnTo>
                        <a:pt x="26" y="10"/>
                      </a:lnTo>
                      <a:lnTo>
                        <a:pt x="23" y="4"/>
                      </a:lnTo>
                      <a:lnTo>
                        <a:pt x="25" y="0"/>
                      </a:lnTo>
                      <a:lnTo>
                        <a:pt x="31" y="2"/>
                      </a:lnTo>
                      <a:lnTo>
                        <a:pt x="31" y="2"/>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1" name="Austria">
                  <a:extLst>
                    <a:ext uri="{FF2B5EF4-FFF2-40B4-BE49-F238E27FC236}">
                      <a16:creationId xmlns:a16="http://schemas.microsoft.com/office/drawing/2014/main" id="{DECAB15E-8A43-E319-B364-DDFFCE888C60}"/>
                    </a:ext>
                  </a:extLst>
                </p:cNvPr>
                <p:cNvSpPr>
                  <a:spLocks noGrp="1" noRot="1" noMove="1" noResize="1" noEditPoints="1" noAdjustHandles="1" noChangeArrowheads="1" noChangeShapeType="1"/>
                </p:cNvSpPr>
                <p:nvPr/>
              </p:nvSpPr>
              <p:spPr bwMode="gray">
                <a:xfrm>
                  <a:off x="4839376" y="3773358"/>
                  <a:ext cx="381745" cy="168552"/>
                </a:xfrm>
                <a:custGeom>
                  <a:avLst/>
                  <a:gdLst/>
                  <a:ahLst/>
                  <a:cxnLst>
                    <a:cxn ang="0">
                      <a:pos x="0" y="21"/>
                    </a:cxn>
                    <a:cxn ang="0">
                      <a:pos x="0" y="21"/>
                    </a:cxn>
                    <a:cxn ang="0">
                      <a:pos x="1" y="22"/>
                    </a:cxn>
                    <a:cxn ang="0">
                      <a:pos x="2" y="29"/>
                    </a:cxn>
                    <a:cxn ang="0">
                      <a:pos x="13" y="30"/>
                    </a:cxn>
                    <a:cxn ang="0">
                      <a:pos x="34" y="27"/>
                    </a:cxn>
                    <a:cxn ang="0">
                      <a:pos x="57" y="36"/>
                    </a:cxn>
                    <a:cxn ang="0">
                      <a:pos x="90" y="30"/>
                    </a:cxn>
                    <a:cxn ang="0">
                      <a:pos x="104" y="11"/>
                    </a:cxn>
                    <a:cxn ang="0">
                      <a:pos x="98" y="0"/>
                    </a:cxn>
                    <a:cxn ang="0">
                      <a:pos x="58" y="1"/>
                    </a:cxn>
                    <a:cxn ang="0">
                      <a:pos x="46" y="20"/>
                    </a:cxn>
                    <a:cxn ang="0">
                      <a:pos x="0" y="21"/>
                    </a:cxn>
                    <a:cxn ang="0">
                      <a:pos x="0" y="21"/>
                    </a:cxn>
                  </a:cxnLst>
                  <a:rect l="0" t="0" r="r" b="b"/>
                  <a:pathLst>
                    <a:path w="105" h="37">
                      <a:moveTo>
                        <a:pt x="0" y="21"/>
                      </a:moveTo>
                      <a:lnTo>
                        <a:pt x="0" y="21"/>
                      </a:lnTo>
                      <a:lnTo>
                        <a:pt x="1" y="22"/>
                      </a:lnTo>
                      <a:lnTo>
                        <a:pt x="2" y="29"/>
                      </a:lnTo>
                      <a:lnTo>
                        <a:pt x="13" y="30"/>
                      </a:lnTo>
                      <a:lnTo>
                        <a:pt x="34" y="27"/>
                      </a:lnTo>
                      <a:lnTo>
                        <a:pt x="57" y="36"/>
                      </a:lnTo>
                      <a:lnTo>
                        <a:pt x="90" y="30"/>
                      </a:lnTo>
                      <a:lnTo>
                        <a:pt x="104" y="11"/>
                      </a:lnTo>
                      <a:lnTo>
                        <a:pt x="98" y="0"/>
                      </a:lnTo>
                      <a:lnTo>
                        <a:pt x="58" y="1"/>
                      </a:lnTo>
                      <a:lnTo>
                        <a:pt x="46" y="20"/>
                      </a:lnTo>
                      <a:lnTo>
                        <a:pt x="0" y="21"/>
                      </a:lnTo>
                      <a:lnTo>
                        <a:pt x="0" y="21"/>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2" name="Armenia">
                  <a:extLst>
                    <a:ext uri="{FF2B5EF4-FFF2-40B4-BE49-F238E27FC236}">
                      <a16:creationId xmlns:a16="http://schemas.microsoft.com/office/drawing/2014/main" id="{1AE6F4F9-C4E9-C545-1041-CD7C12D8C7C8}"/>
                    </a:ext>
                  </a:extLst>
                </p:cNvPr>
                <p:cNvSpPr>
                  <a:spLocks noGrp="1" noRot="1" noChangeAspect="1" noMove="1" noResize="1" noEditPoints="1" noAdjustHandles="1" noChangeArrowheads="1" noChangeShapeType="1"/>
                </p:cNvSpPr>
                <p:nvPr/>
              </p:nvSpPr>
              <p:spPr bwMode="gray">
                <a:xfrm>
                  <a:off x="6483851" y="4239778"/>
                  <a:ext cx="213902" cy="174770"/>
                </a:xfrm>
                <a:custGeom>
                  <a:avLst/>
                  <a:gdLst>
                    <a:gd name="T0" fmla="*/ 0 w 57"/>
                    <a:gd name="T1" fmla="*/ 6 h 43"/>
                    <a:gd name="T2" fmla="*/ 7 w 57"/>
                    <a:gd name="T3" fmla="*/ 13 h 43"/>
                    <a:gd name="T4" fmla="*/ 15 w 57"/>
                    <a:gd name="T5" fmla="*/ 23 h 43"/>
                    <a:gd name="T6" fmla="*/ 28 w 57"/>
                    <a:gd name="T7" fmla="*/ 37 h 43"/>
                    <a:gd name="T8" fmla="*/ 36 w 57"/>
                    <a:gd name="T9" fmla="*/ 29 h 43"/>
                    <a:gd name="T10" fmla="*/ 37 w 57"/>
                    <a:gd name="T11" fmla="*/ 36 h 43"/>
                    <a:gd name="T12" fmla="*/ 43 w 57"/>
                    <a:gd name="T13" fmla="*/ 37 h 43"/>
                    <a:gd name="T14" fmla="*/ 52 w 57"/>
                    <a:gd name="T15" fmla="*/ 42 h 43"/>
                    <a:gd name="T16" fmla="*/ 56 w 57"/>
                    <a:gd name="T17" fmla="*/ 36 h 43"/>
                    <a:gd name="T18" fmla="*/ 42 w 57"/>
                    <a:gd name="T19" fmla="*/ 25 h 43"/>
                    <a:gd name="T20" fmla="*/ 39 w 57"/>
                    <a:gd name="T21" fmla="*/ 16 h 43"/>
                    <a:gd name="T22" fmla="*/ 33 w 57"/>
                    <a:gd name="T23" fmla="*/ 13 h 43"/>
                    <a:gd name="T24" fmla="*/ 33 w 57"/>
                    <a:gd name="T25" fmla="*/ 7 h 43"/>
                    <a:gd name="T26" fmla="*/ 27 w 57"/>
                    <a:gd name="T27" fmla="*/ 5 h 43"/>
                    <a:gd name="T28" fmla="*/ 18 w 57"/>
                    <a:gd name="T29" fmla="*/ 3 h 43"/>
                    <a:gd name="T30" fmla="*/ 10 w 57"/>
                    <a:gd name="T31" fmla="*/ 0 h 43"/>
                    <a:gd name="T32" fmla="*/ 3 w 57"/>
                    <a:gd name="T33" fmla="*/ 1 h 43"/>
                    <a:gd name="T34" fmla="*/ 0 w 57"/>
                    <a:gd name="T35" fmla="*/ 6 h 43"/>
                    <a:gd name="T36" fmla="*/ 0 w 57"/>
                    <a:gd name="T37" fmla="*/ 6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43"/>
                    <a:gd name="T59" fmla="*/ 57 w 57"/>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43">
                      <a:moveTo>
                        <a:pt x="0" y="6"/>
                      </a:moveTo>
                      <a:lnTo>
                        <a:pt x="7" y="13"/>
                      </a:lnTo>
                      <a:lnTo>
                        <a:pt x="15" y="23"/>
                      </a:lnTo>
                      <a:lnTo>
                        <a:pt x="28" y="37"/>
                      </a:lnTo>
                      <a:lnTo>
                        <a:pt x="36" y="29"/>
                      </a:lnTo>
                      <a:lnTo>
                        <a:pt x="37" y="36"/>
                      </a:lnTo>
                      <a:lnTo>
                        <a:pt x="43" y="37"/>
                      </a:lnTo>
                      <a:lnTo>
                        <a:pt x="52" y="42"/>
                      </a:lnTo>
                      <a:lnTo>
                        <a:pt x="56" y="36"/>
                      </a:lnTo>
                      <a:lnTo>
                        <a:pt x="42" y="25"/>
                      </a:lnTo>
                      <a:lnTo>
                        <a:pt x="39" y="16"/>
                      </a:lnTo>
                      <a:lnTo>
                        <a:pt x="33" y="13"/>
                      </a:lnTo>
                      <a:lnTo>
                        <a:pt x="33" y="7"/>
                      </a:lnTo>
                      <a:lnTo>
                        <a:pt x="27" y="5"/>
                      </a:lnTo>
                      <a:lnTo>
                        <a:pt x="18" y="3"/>
                      </a:lnTo>
                      <a:lnTo>
                        <a:pt x="10" y="0"/>
                      </a:lnTo>
                      <a:lnTo>
                        <a:pt x="3" y="1"/>
                      </a:lnTo>
                      <a:lnTo>
                        <a:pt x="0" y="6"/>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grpSp>
          <p:nvGrpSpPr>
            <p:cNvPr id="8" name="Central America">
              <a:extLst>
                <a:ext uri="{FF2B5EF4-FFF2-40B4-BE49-F238E27FC236}">
                  <a16:creationId xmlns:a16="http://schemas.microsoft.com/office/drawing/2014/main" id="{FAA1BA4E-A93B-7C82-FC08-32F940DA74E5}"/>
                </a:ext>
              </a:extLst>
            </p:cNvPr>
            <p:cNvGrpSpPr>
              <a:grpSpLocks noGrp="1" noUngrp="1" noRot="1" noMove="1" noResize="1"/>
            </p:cNvGrpSpPr>
            <p:nvPr/>
          </p:nvGrpSpPr>
          <p:grpSpPr>
            <a:xfrm>
              <a:off x="-207719" y="5659202"/>
              <a:ext cx="742043" cy="634292"/>
              <a:chOff x="2455408" y="4164221"/>
              <a:chExt cx="370962" cy="317146"/>
            </a:xfrm>
            <a:grpFill/>
          </p:grpSpPr>
          <p:sp>
            <p:nvSpPr>
              <p:cNvPr id="126" name="Panama">
                <a:extLst>
                  <a:ext uri="{FF2B5EF4-FFF2-40B4-BE49-F238E27FC236}">
                    <a16:creationId xmlns:a16="http://schemas.microsoft.com/office/drawing/2014/main" id="{38B7CF42-04BF-F178-86B6-3F7E014D6155}"/>
                  </a:ext>
                </a:extLst>
              </p:cNvPr>
              <p:cNvSpPr>
                <a:spLocks noGrp="1" noRot="1" noMove="1" noResize="1" noEditPoints="1" noAdjustHandles="1" noChangeArrowheads="1" noChangeShapeType="1"/>
              </p:cNvSpPr>
              <p:nvPr/>
            </p:nvSpPr>
            <p:spPr bwMode="gray">
              <a:xfrm>
                <a:off x="2684847" y="4410397"/>
                <a:ext cx="141523" cy="70970"/>
              </a:xfrm>
              <a:custGeom>
                <a:avLst/>
                <a:gdLst/>
                <a:ahLst/>
                <a:cxnLst>
                  <a:cxn ang="0">
                    <a:pos x="0" y="17"/>
                  </a:cxn>
                  <a:cxn ang="0">
                    <a:pos x="0" y="17"/>
                  </a:cxn>
                  <a:cxn ang="0">
                    <a:pos x="6" y="0"/>
                  </a:cxn>
                  <a:cxn ang="0">
                    <a:pos x="23" y="11"/>
                  </a:cxn>
                  <a:cxn ang="0">
                    <a:pos x="52" y="0"/>
                  </a:cxn>
                  <a:cxn ang="0">
                    <a:pos x="77" y="12"/>
                  </a:cxn>
                  <a:cxn ang="0">
                    <a:pos x="70" y="30"/>
                  </a:cxn>
                  <a:cxn ang="0">
                    <a:pos x="68" y="15"/>
                  </a:cxn>
                  <a:cxn ang="0">
                    <a:pos x="52" y="9"/>
                  </a:cxn>
                  <a:cxn ang="0">
                    <a:pos x="36" y="18"/>
                  </a:cxn>
                  <a:cxn ang="0">
                    <a:pos x="40" y="27"/>
                  </a:cxn>
                  <a:cxn ang="0">
                    <a:pos x="33" y="31"/>
                  </a:cxn>
                  <a:cxn ang="0">
                    <a:pos x="0" y="17"/>
                  </a:cxn>
                  <a:cxn ang="0">
                    <a:pos x="0" y="17"/>
                  </a:cxn>
                </a:cxnLst>
                <a:rect l="0" t="0" r="r" b="b"/>
                <a:pathLst>
                  <a:path w="78" h="32">
                    <a:moveTo>
                      <a:pt x="0" y="17"/>
                    </a:moveTo>
                    <a:lnTo>
                      <a:pt x="0" y="17"/>
                    </a:lnTo>
                    <a:lnTo>
                      <a:pt x="6" y="0"/>
                    </a:lnTo>
                    <a:lnTo>
                      <a:pt x="23" y="11"/>
                    </a:lnTo>
                    <a:lnTo>
                      <a:pt x="52" y="0"/>
                    </a:lnTo>
                    <a:lnTo>
                      <a:pt x="77" y="12"/>
                    </a:lnTo>
                    <a:lnTo>
                      <a:pt x="70" y="30"/>
                    </a:lnTo>
                    <a:lnTo>
                      <a:pt x="68" y="15"/>
                    </a:lnTo>
                    <a:lnTo>
                      <a:pt x="52" y="9"/>
                    </a:lnTo>
                    <a:lnTo>
                      <a:pt x="36" y="18"/>
                    </a:lnTo>
                    <a:lnTo>
                      <a:pt x="40" y="27"/>
                    </a:lnTo>
                    <a:lnTo>
                      <a:pt x="33" y="31"/>
                    </a:lnTo>
                    <a:lnTo>
                      <a:pt x="0" y="17"/>
                    </a:lnTo>
                    <a:lnTo>
                      <a:pt x="0" y="17"/>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7" name="Nicaragua">
                <a:extLst>
                  <a:ext uri="{FF2B5EF4-FFF2-40B4-BE49-F238E27FC236}">
                    <a16:creationId xmlns:a16="http://schemas.microsoft.com/office/drawing/2014/main" id="{1AD84E5E-B002-7059-84EB-30AA570CAF7E}"/>
                  </a:ext>
                </a:extLst>
              </p:cNvPr>
              <p:cNvSpPr>
                <a:spLocks noGrp="1" noRot="1" noMove="1" noResize="1" noEditPoints="1" noAdjustHandles="1" noChangeArrowheads="1" noChangeShapeType="1"/>
              </p:cNvSpPr>
              <p:nvPr/>
            </p:nvSpPr>
            <p:spPr bwMode="gray">
              <a:xfrm>
                <a:off x="2579777" y="4261804"/>
                <a:ext cx="98637" cy="117544"/>
              </a:xfrm>
              <a:custGeom>
                <a:avLst/>
                <a:gdLst/>
                <a:ahLst/>
                <a:cxnLst>
                  <a:cxn ang="0">
                    <a:pos x="0" y="26"/>
                  </a:cxn>
                  <a:cxn ang="0">
                    <a:pos x="0" y="26"/>
                  </a:cxn>
                  <a:cxn ang="0">
                    <a:pos x="22" y="50"/>
                  </a:cxn>
                  <a:cxn ang="0">
                    <a:pos x="50" y="51"/>
                  </a:cxn>
                  <a:cxn ang="0">
                    <a:pos x="54" y="0"/>
                  </a:cxn>
                  <a:cxn ang="0">
                    <a:pos x="35" y="3"/>
                  </a:cxn>
                  <a:cxn ang="0">
                    <a:pos x="0" y="26"/>
                  </a:cxn>
                  <a:cxn ang="0">
                    <a:pos x="0" y="26"/>
                  </a:cxn>
                </a:cxnLst>
                <a:rect l="0" t="0" r="r" b="b"/>
                <a:pathLst>
                  <a:path w="55" h="52">
                    <a:moveTo>
                      <a:pt x="0" y="26"/>
                    </a:moveTo>
                    <a:lnTo>
                      <a:pt x="0" y="26"/>
                    </a:lnTo>
                    <a:lnTo>
                      <a:pt x="22" y="50"/>
                    </a:lnTo>
                    <a:lnTo>
                      <a:pt x="50" y="51"/>
                    </a:lnTo>
                    <a:lnTo>
                      <a:pt x="54" y="0"/>
                    </a:lnTo>
                    <a:lnTo>
                      <a:pt x="35" y="3"/>
                    </a:lnTo>
                    <a:lnTo>
                      <a:pt x="0" y="26"/>
                    </a:lnTo>
                    <a:lnTo>
                      <a:pt x="0" y="26"/>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8" name="Honduras">
                <a:extLst>
                  <a:ext uri="{FF2B5EF4-FFF2-40B4-BE49-F238E27FC236}">
                    <a16:creationId xmlns:a16="http://schemas.microsoft.com/office/drawing/2014/main" id="{8FA678A2-7A46-EC5A-2FCA-64C134D14F03}"/>
                  </a:ext>
                </a:extLst>
              </p:cNvPr>
              <p:cNvSpPr>
                <a:spLocks noGrp="1" noRot="1" noMove="1" noResize="1" noEditPoints="1" noAdjustHandles="1" noChangeArrowheads="1" noChangeShapeType="1"/>
              </p:cNvSpPr>
              <p:nvPr/>
            </p:nvSpPr>
            <p:spPr bwMode="gray">
              <a:xfrm>
                <a:off x="2526170" y="4237409"/>
                <a:ext cx="152245" cy="84276"/>
              </a:xfrm>
              <a:custGeom>
                <a:avLst/>
                <a:gdLst/>
                <a:ahLst/>
                <a:cxnLst>
                  <a:cxn ang="0">
                    <a:pos x="0" y="19"/>
                  </a:cxn>
                  <a:cxn ang="0">
                    <a:pos x="0" y="19"/>
                  </a:cxn>
                  <a:cxn ang="0">
                    <a:pos x="15" y="2"/>
                  </a:cxn>
                  <a:cxn ang="0">
                    <a:pos x="60" y="0"/>
                  </a:cxn>
                  <a:cxn ang="0">
                    <a:pos x="83" y="11"/>
                  </a:cxn>
                  <a:cxn ang="0">
                    <a:pos x="64" y="14"/>
                  </a:cxn>
                  <a:cxn ang="0">
                    <a:pos x="29" y="37"/>
                  </a:cxn>
                  <a:cxn ang="0">
                    <a:pos x="23" y="31"/>
                  </a:cxn>
                  <a:cxn ang="0">
                    <a:pos x="0" y="19"/>
                  </a:cxn>
                  <a:cxn ang="0">
                    <a:pos x="0" y="19"/>
                  </a:cxn>
                </a:cxnLst>
                <a:rect l="0" t="0" r="r" b="b"/>
                <a:pathLst>
                  <a:path w="84" h="38">
                    <a:moveTo>
                      <a:pt x="0" y="19"/>
                    </a:moveTo>
                    <a:lnTo>
                      <a:pt x="0" y="19"/>
                    </a:lnTo>
                    <a:lnTo>
                      <a:pt x="15" y="2"/>
                    </a:lnTo>
                    <a:lnTo>
                      <a:pt x="60" y="0"/>
                    </a:lnTo>
                    <a:lnTo>
                      <a:pt x="83" y="11"/>
                    </a:lnTo>
                    <a:lnTo>
                      <a:pt x="64" y="14"/>
                    </a:lnTo>
                    <a:lnTo>
                      <a:pt x="29" y="37"/>
                    </a:lnTo>
                    <a:lnTo>
                      <a:pt x="23" y="31"/>
                    </a:lnTo>
                    <a:lnTo>
                      <a:pt x="0" y="19"/>
                    </a:lnTo>
                    <a:lnTo>
                      <a:pt x="0" y="19"/>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9" name="Guatemala">
                <a:extLst>
                  <a:ext uri="{FF2B5EF4-FFF2-40B4-BE49-F238E27FC236}">
                    <a16:creationId xmlns:a16="http://schemas.microsoft.com/office/drawing/2014/main" id="{F1439AE4-CDDA-D668-EF20-F34C24A486C7}"/>
                  </a:ext>
                </a:extLst>
              </p:cNvPr>
              <p:cNvSpPr>
                <a:spLocks noGrp="1" noRot="1" noMove="1" noResize="1" noEditPoints="1" noAdjustHandles="1" noChangeArrowheads="1" noChangeShapeType="1"/>
              </p:cNvSpPr>
              <p:nvPr/>
            </p:nvSpPr>
            <p:spPr bwMode="gray">
              <a:xfrm>
                <a:off x="2455408" y="4179745"/>
                <a:ext cx="100782" cy="121979"/>
              </a:xfrm>
              <a:custGeom>
                <a:avLst/>
                <a:gdLst/>
                <a:ahLst/>
                <a:cxnLst>
                  <a:cxn ang="0">
                    <a:pos x="0" y="42"/>
                  </a:cxn>
                  <a:cxn ang="0">
                    <a:pos x="0" y="42"/>
                  </a:cxn>
                  <a:cxn ang="0">
                    <a:pos x="11" y="23"/>
                  </a:cxn>
                  <a:cxn ang="0">
                    <a:pos x="25" y="23"/>
                  </a:cxn>
                  <a:cxn ang="0">
                    <a:pos x="11" y="6"/>
                  </a:cxn>
                  <a:cxn ang="0">
                    <a:pos x="42" y="0"/>
                  </a:cxn>
                  <a:cxn ang="0">
                    <a:pos x="47" y="25"/>
                  </a:cxn>
                  <a:cxn ang="0">
                    <a:pos x="54" y="27"/>
                  </a:cxn>
                  <a:cxn ang="0">
                    <a:pos x="39" y="44"/>
                  </a:cxn>
                  <a:cxn ang="0">
                    <a:pos x="30" y="53"/>
                  </a:cxn>
                  <a:cxn ang="0">
                    <a:pos x="0" y="42"/>
                  </a:cxn>
                  <a:cxn ang="0">
                    <a:pos x="0" y="42"/>
                  </a:cxn>
                </a:cxnLst>
                <a:rect l="0" t="0" r="r" b="b"/>
                <a:pathLst>
                  <a:path w="55" h="54">
                    <a:moveTo>
                      <a:pt x="0" y="42"/>
                    </a:moveTo>
                    <a:lnTo>
                      <a:pt x="0" y="42"/>
                    </a:lnTo>
                    <a:lnTo>
                      <a:pt x="11" y="23"/>
                    </a:lnTo>
                    <a:lnTo>
                      <a:pt x="25" y="23"/>
                    </a:lnTo>
                    <a:lnTo>
                      <a:pt x="11" y="6"/>
                    </a:lnTo>
                    <a:lnTo>
                      <a:pt x="42" y="0"/>
                    </a:lnTo>
                    <a:lnTo>
                      <a:pt x="47" y="25"/>
                    </a:lnTo>
                    <a:lnTo>
                      <a:pt x="54" y="27"/>
                    </a:lnTo>
                    <a:lnTo>
                      <a:pt x="39" y="44"/>
                    </a:lnTo>
                    <a:lnTo>
                      <a:pt x="30" y="53"/>
                    </a:lnTo>
                    <a:lnTo>
                      <a:pt x="0" y="42"/>
                    </a:lnTo>
                    <a:lnTo>
                      <a:pt x="0" y="42"/>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0" name="El Salvador">
                <a:extLst>
                  <a:ext uri="{FF2B5EF4-FFF2-40B4-BE49-F238E27FC236}">
                    <a16:creationId xmlns:a16="http://schemas.microsoft.com/office/drawing/2014/main" id="{DDEB55D3-1649-1E12-2D0B-E52FD3526BDB}"/>
                  </a:ext>
                </a:extLst>
              </p:cNvPr>
              <p:cNvSpPr>
                <a:spLocks noGrp="1" noRot="1" noMove="1" noResize="1" noEditPoints="1" noAdjustHandles="1" noChangeArrowheads="1" noChangeShapeType="1"/>
              </p:cNvSpPr>
              <p:nvPr/>
            </p:nvSpPr>
            <p:spPr bwMode="gray">
              <a:xfrm>
                <a:off x="2511160" y="4279547"/>
                <a:ext cx="57896" cy="28832"/>
              </a:xfrm>
              <a:custGeom>
                <a:avLst/>
                <a:gdLst/>
                <a:ahLst/>
                <a:cxnLst>
                  <a:cxn ang="0">
                    <a:pos x="0" y="9"/>
                  </a:cxn>
                  <a:cxn ang="0">
                    <a:pos x="0" y="9"/>
                  </a:cxn>
                  <a:cxn ang="0">
                    <a:pos x="9" y="0"/>
                  </a:cxn>
                  <a:cxn ang="0">
                    <a:pos x="32" y="12"/>
                  </a:cxn>
                  <a:cxn ang="0">
                    <a:pos x="0" y="9"/>
                  </a:cxn>
                  <a:cxn ang="0">
                    <a:pos x="0" y="9"/>
                  </a:cxn>
                </a:cxnLst>
                <a:rect l="0" t="0" r="r" b="b"/>
                <a:pathLst>
                  <a:path w="33" h="13">
                    <a:moveTo>
                      <a:pt x="0" y="9"/>
                    </a:moveTo>
                    <a:lnTo>
                      <a:pt x="0" y="9"/>
                    </a:lnTo>
                    <a:lnTo>
                      <a:pt x="9" y="0"/>
                    </a:lnTo>
                    <a:lnTo>
                      <a:pt x="32" y="12"/>
                    </a:lnTo>
                    <a:lnTo>
                      <a:pt x="0" y="9"/>
                    </a:lnTo>
                    <a:lnTo>
                      <a:pt x="0" y="9"/>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1" name="Costa Rica">
                <a:extLst>
                  <a:ext uri="{FF2B5EF4-FFF2-40B4-BE49-F238E27FC236}">
                    <a16:creationId xmlns:a16="http://schemas.microsoft.com/office/drawing/2014/main" id="{0379850A-54DC-1EE7-04D4-9E02542341D5}"/>
                  </a:ext>
                </a:extLst>
              </p:cNvPr>
              <p:cNvSpPr>
                <a:spLocks noGrp="1" noRot="1" noMove="1" noResize="1" noEditPoints="1" noAdjustHandles="1" noChangeArrowheads="1" noChangeShapeType="1"/>
              </p:cNvSpPr>
              <p:nvPr/>
            </p:nvSpPr>
            <p:spPr bwMode="gray">
              <a:xfrm>
                <a:off x="2618374" y="4374913"/>
                <a:ext cx="79339" cy="75406"/>
              </a:xfrm>
              <a:custGeom>
                <a:avLst/>
                <a:gdLst/>
                <a:ahLst/>
                <a:cxnLst>
                  <a:cxn ang="0">
                    <a:pos x="0" y="0"/>
                  </a:cxn>
                  <a:cxn ang="0">
                    <a:pos x="0" y="0"/>
                  </a:cxn>
                  <a:cxn ang="0">
                    <a:pos x="0" y="13"/>
                  </a:cxn>
                  <a:cxn ang="0">
                    <a:pos x="9" y="11"/>
                  </a:cxn>
                  <a:cxn ang="0">
                    <a:pos x="36" y="33"/>
                  </a:cxn>
                  <a:cxn ang="0">
                    <a:pos x="42" y="16"/>
                  </a:cxn>
                  <a:cxn ang="0">
                    <a:pos x="28" y="1"/>
                  </a:cxn>
                  <a:cxn ang="0">
                    <a:pos x="0" y="0"/>
                  </a:cxn>
                  <a:cxn ang="0">
                    <a:pos x="0" y="0"/>
                  </a:cxn>
                </a:cxnLst>
                <a:rect l="0" t="0" r="r" b="b"/>
                <a:pathLst>
                  <a:path w="43" h="34">
                    <a:moveTo>
                      <a:pt x="0" y="0"/>
                    </a:moveTo>
                    <a:lnTo>
                      <a:pt x="0" y="0"/>
                    </a:lnTo>
                    <a:lnTo>
                      <a:pt x="0" y="13"/>
                    </a:lnTo>
                    <a:lnTo>
                      <a:pt x="9" y="11"/>
                    </a:lnTo>
                    <a:lnTo>
                      <a:pt x="36" y="33"/>
                    </a:lnTo>
                    <a:lnTo>
                      <a:pt x="42" y="16"/>
                    </a:lnTo>
                    <a:lnTo>
                      <a:pt x="28" y="1"/>
                    </a:lnTo>
                    <a:lnTo>
                      <a:pt x="0" y="0"/>
                    </a:lnTo>
                    <a:lnTo>
                      <a:pt x="0" y="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2" name="Belize">
                <a:extLst>
                  <a:ext uri="{FF2B5EF4-FFF2-40B4-BE49-F238E27FC236}">
                    <a16:creationId xmlns:a16="http://schemas.microsoft.com/office/drawing/2014/main" id="{63323E0B-4305-87E2-BBDA-7FDF14C2F8BE}"/>
                  </a:ext>
                </a:extLst>
              </p:cNvPr>
              <p:cNvSpPr>
                <a:spLocks noGrp="1" noRot="1" noMove="1" noResize="1" noEditPoints="1" noAdjustHandles="1" noChangeArrowheads="1" noChangeShapeType="1"/>
              </p:cNvSpPr>
              <p:nvPr/>
            </p:nvSpPr>
            <p:spPr bwMode="gray">
              <a:xfrm>
                <a:off x="2532603" y="4164221"/>
                <a:ext cx="21443" cy="75406"/>
              </a:xfrm>
              <a:custGeom>
                <a:avLst/>
                <a:gdLst/>
                <a:ahLst/>
                <a:cxnLst>
                  <a:cxn ang="0">
                    <a:pos x="0" y="7"/>
                  </a:cxn>
                  <a:cxn ang="0">
                    <a:pos x="0" y="7"/>
                  </a:cxn>
                  <a:cxn ang="0">
                    <a:pos x="5" y="32"/>
                  </a:cxn>
                  <a:cxn ang="0">
                    <a:pos x="11" y="0"/>
                  </a:cxn>
                  <a:cxn ang="0">
                    <a:pos x="0" y="7"/>
                  </a:cxn>
                  <a:cxn ang="0">
                    <a:pos x="0" y="7"/>
                  </a:cxn>
                </a:cxnLst>
                <a:rect l="0" t="0" r="r" b="b"/>
                <a:pathLst>
                  <a:path w="12" h="33">
                    <a:moveTo>
                      <a:pt x="0" y="7"/>
                    </a:moveTo>
                    <a:lnTo>
                      <a:pt x="0" y="7"/>
                    </a:lnTo>
                    <a:lnTo>
                      <a:pt x="5" y="32"/>
                    </a:lnTo>
                    <a:lnTo>
                      <a:pt x="11" y="0"/>
                    </a:lnTo>
                    <a:lnTo>
                      <a:pt x="0" y="7"/>
                    </a:lnTo>
                    <a:lnTo>
                      <a:pt x="0" y="7"/>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9" name="Caribbean">
              <a:extLst>
                <a:ext uri="{FF2B5EF4-FFF2-40B4-BE49-F238E27FC236}">
                  <a16:creationId xmlns:a16="http://schemas.microsoft.com/office/drawing/2014/main" id="{85697F1D-34DA-D0CE-9FA9-47ED29949380}"/>
                </a:ext>
              </a:extLst>
            </p:cNvPr>
            <p:cNvGrpSpPr>
              <a:grpSpLocks noGrp="1" noUngrp="1" noRot="1" noMove="1" noResize="1"/>
            </p:cNvGrpSpPr>
            <p:nvPr/>
          </p:nvGrpSpPr>
          <p:grpSpPr>
            <a:xfrm>
              <a:off x="162909" y="5390514"/>
              <a:ext cx="1188128" cy="740748"/>
              <a:chOff x="2640692" y="4029877"/>
              <a:chExt cx="593969" cy="370374"/>
            </a:xfrm>
            <a:grpFill/>
          </p:grpSpPr>
          <p:sp>
            <p:nvSpPr>
              <p:cNvPr id="121" name="Trinidad &amp; Tobago">
                <a:extLst>
                  <a:ext uri="{FF2B5EF4-FFF2-40B4-BE49-F238E27FC236}">
                    <a16:creationId xmlns:a16="http://schemas.microsoft.com/office/drawing/2014/main" id="{3311FEEE-1CDD-8ABB-2E0A-17FA44CC1D2C}"/>
                  </a:ext>
                </a:extLst>
              </p:cNvPr>
              <p:cNvSpPr>
                <a:spLocks noGrp="1" noRot="1" noMove="1" noResize="1" noEditPoints="1" noAdjustHandles="1" noChangeArrowheads="1" noChangeShapeType="1"/>
              </p:cNvSpPr>
              <p:nvPr/>
            </p:nvSpPr>
            <p:spPr bwMode="gray">
              <a:xfrm>
                <a:off x="3208929" y="4380291"/>
                <a:ext cx="25732" cy="19960"/>
              </a:xfrm>
              <a:custGeom>
                <a:avLst/>
                <a:gdLst/>
                <a:ahLst/>
                <a:cxnLst>
                  <a:cxn ang="0">
                    <a:pos x="0" y="8"/>
                  </a:cxn>
                  <a:cxn ang="0">
                    <a:pos x="0" y="8"/>
                  </a:cxn>
                  <a:cxn ang="0">
                    <a:pos x="13" y="7"/>
                  </a:cxn>
                  <a:cxn ang="0">
                    <a:pos x="14" y="0"/>
                  </a:cxn>
                  <a:cxn ang="0">
                    <a:pos x="0" y="8"/>
                  </a:cxn>
                  <a:cxn ang="0">
                    <a:pos x="0" y="8"/>
                  </a:cxn>
                </a:cxnLst>
                <a:rect l="0" t="0" r="r" b="b"/>
                <a:pathLst>
                  <a:path w="15" h="9">
                    <a:moveTo>
                      <a:pt x="0" y="8"/>
                    </a:moveTo>
                    <a:lnTo>
                      <a:pt x="0" y="8"/>
                    </a:lnTo>
                    <a:lnTo>
                      <a:pt x="13" y="7"/>
                    </a:lnTo>
                    <a:lnTo>
                      <a:pt x="14" y="0"/>
                    </a:lnTo>
                    <a:lnTo>
                      <a:pt x="0" y="8"/>
                    </a:lnTo>
                    <a:lnTo>
                      <a:pt x="0" y="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2" name="Puerto Rico">
                <a:extLst>
                  <a:ext uri="{FF2B5EF4-FFF2-40B4-BE49-F238E27FC236}">
                    <a16:creationId xmlns:a16="http://schemas.microsoft.com/office/drawing/2014/main" id="{DE363C1C-B292-5D65-7BFB-D019F27E7E25}"/>
                  </a:ext>
                </a:extLst>
              </p:cNvPr>
              <p:cNvSpPr>
                <a:spLocks noGrp="1" noRot="1" noMove="1" noResize="1" noEditPoints="1" noAdjustHandles="1" noChangeArrowheads="1" noChangeShapeType="1"/>
              </p:cNvSpPr>
              <p:nvPr/>
            </p:nvSpPr>
            <p:spPr bwMode="gray">
              <a:xfrm>
                <a:off x="3080271" y="4162946"/>
                <a:ext cx="36453" cy="15525"/>
              </a:xfrm>
              <a:custGeom>
                <a:avLst/>
                <a:gdLst/>
                <a:ahLst/>
                <a:cxnLst>
                  <a:cxn ang="0">
                    <a:pos x="0" y="0"/>
                  </a:cxn>
                  <a:cxn ang="0">
                    <a:pos x="0" y="0"/>
                  </a:cxn>
                  <a:cxn ang="0">
                    <a:pos x="2" y="6"/>
                  </a:cxn>
                  <a:cxn ang="0">
                    <a:pos x="20" y="3"/>
                  </a:cxn>
                  <a:cxn ang="0">
                    <a:pos x="0" y="0"/>
                  </a:cxn>
                  <a:cxn ang="0">
                    <a:pos x="0" y="0"/>
                  </a:cxn>
                </a:cxnLst>
                <a:rect l="0" t="0" r="r" b="b"/>
                <a:pathLst>
                  <a:path w="21" h="7">
                    <a:moveTo>
                      <a:pt x="0" y="0"/>
                    </a:moveTo>
                    <a:lnTo>
                      <a:pt x="0" y="0"/>
                    </a:lnTo>
                    <a:lnTo>
                      <a:pt x="2" y="6"/>
                    </a:lnTo>
                    <a:lnTo>
                      <a:pt x="20" y="3"/>
                    </a:lnTo>
                    <a:lnTo>
                      <a:pt x="0" y="0"/>
                    </a:lnTo>
                    <a:lnTo>
                      <a:pt x="0" y="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3" name="Haiti">
                <a:extLst>
                  <a:ext uri="{FF2B5EF4-FFF2-40B4-BE49-F238E27FC236}">
                    <a16:creationId xmlns:a16="http://schemas.microsoft.com/office/drawing/2014/main" id="{70DC1409-3117-8A9E-062E-339AD104D86B}"/>
                  </a:ext>
                </a:extLst>
              </p:cNvPr>
              <p:cNvSpPr>
                <a:spLocks noGrp="1" noRot="1" noMove="1" noResize="1" noEditPoints="1" noAdjustHandles="1" noChangeArrowheads="1" noChangeShapeType="1"/>
              </p:cNvSpPr>
              <p:nvPr/>
            </p:nvSpPr>
            <p:spPr bwMode="gray">
              <a:xfrm>
                <a:off x="2900150" y="4125244"/>
                <a:ext cx="66473" cy="53228"/>
              </a:xfrm>
              <a:custGeom>
                <a:avLst/>
                <a:gdLst/>
                <a:ahLst/>
                <a:cxnLst>
                  <a:cxn ang="0">
                    <a:pos x="0" y="17"/>
                  </a:cxn>
                  <a:cxn ang="0">
                    <a:pos x="0" y="17"/>
                  </a:cxn>
                  <a:cxn ang="0">
                    <a:pos x="27" y="16"/>
                  </a:cxn>
                  <a:cxn ang="0">
                    <a:pos x="15" y="1"/>
                  </a:cxn>
                  <a:cxn ang="0">
                    <a:pos x="36" y="0"/>
                  </a:cxn>
                  <a:cxn ang="0">
                    <a:pos x="36" y="23"/>
                  </a:cxn>
                  <a:cxn ang="0">
                    <a:pos x="0" y="17"/>
                  </a:cxn>
                  <a:cxn ang="0">
                    <a:pos x="0" y="17"/>
                  </a:cxn>
                </a:cxnLst>
                <a:rect l="0" t="0" r="r" b="b"/>
                <a:pathLst>
                  <a:path w="37" h="24">
                    <a:moveTo>
                      <a:pt x="0" y="17"/>
                    </a:moveTo>
                    <a:lnTo>
                      <a:pt x="0" y="17"/>
                    </a:lnTo>
                    <a:lnTo>
                      <a:pt x="27" y="16"/>
                    </a:lnTo>
                    <a:lnTo>
                      <a:pt x="15" y="1"/>
                    </a:lnTo>
                    <a:lnTo>
                      <a:pt x="36" y="0"/>
                    </a:lnTo>
                    <a:lnTo>
                      <a:pt x="36" y="23"/>
                    </a:lnTo>
                    <a:lnTo>
                      <a:pt x="0" y="17"/>
                    </a:lnTo>
                    <a:lnTo>
                      <a:pt x="0" y="17"/>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4" name="Dominican Republic">
                <a:extLst>
                  <a:ext uri="{FF2B5EF4-FFF2-40B4-BE49-F238E27FC236}">
                    <a16:creationId xmlns:a16="http://schemas.microsoft.com/office/drawing/2014/main" id="{A48B72E7-63F7-34E2-A450-FBC8A9541140}"/>
                  </a:ext>
                </a:extLst>
              </p:cNvPr>
              <p:cNvSpPr>
                <a:spLocks noGrp="1" noRot="1" noMove="1" noResize="1" noEditPoints="1" noAdjustHandles="1" noChangeArrowheads="1" noChangeShapeType="1"/>
              </p:cNvSpPr>
              <p:nvPr/>
            </p:nvSpPr>
            <p:spPr bwMode="gray">
              <a:xfrm>
                <a:off x="2964479" y="4125244"/>
                <a:ext cx="85771" cy="53228"/>
              </a:xfrm>
              <a:custGeom>
                <a:avLst/>
                <a:gdLst/>
                <a:ahLst/>
                <a:cxnLst>
                  <a:cxn ang="0">
                    <a:pos x="0" y="0"/>
                  </a:cxn>
                  <a:cxn ang="0">
                    <a:pos x="0" y="0"/>
                  </a:cxn>
                  <a:cxn ang="0">
                    <a:pos x="0" y="23"/>
                  </a:cxn>
                  <a:cxn ang="0">
                    <a:pos x="46" y="15"/>
                  </a:cxn>
                  <a:cxn ang="0">
                    <a:pos x="26" y="2"/>
                  </a:cxn>
                  <a:cxn ang="0">
                    <a:pos x="0" y="0"/>
                  </a:cxn>
                  <a:cxn ang="0">
                    <a:pos x="0" y="0"/>
                  </a:cxn>
                </a:cxnLst>
                <a:rect l="0" t="0" r="r" b="b"/>
                <a:pathLst>
                  <a:path w="47" h="24">
                    <a:moveTo>
                      <a:pt x="0" y="0"/>
                    </a:moveTo>
                    <a:lnTo>
                      <a:pt x="0" y="0"/>
                    </a:lnTo>
                    <a:lnTo>
                      <a:pt x="0" y="23"/>
                    </a:lnTo>
                    <a:lnTo>
                      <a:pt x="46" y="15"/>
                    </a:lnTo>
                    <a:lnTo>
                      <a:pt x="26" y="2"/>
                    </a:lnTo>
                    <a:lnTo>
                      <a:pt x="0" y="0"/>
                    </a:lnTo>
                    <a:lnTo>
                      <a:pt x="0" y="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5" name="Cuba">
                <a:extLst>
                  <a:ext uri="{FF2B5EF4-FFF2-40B4-BE49-F238E27FC236}">
                    <a16:creationId xmlns:a16="http://schemas.microsoft.com/office/drawing/2014/main" id="{F9101625-AB75-F7A4-603C-109A2A8594EA}"/>
                  </a:ext>
                </a:extLst>
              </p:cNvPr>
              <p:cNvSpPr>
                <a:spLocks noGrp="1" noRot="1" noMove="1" noResize="1" noEditPoints="1" noAdjustHandles="1" noChangeArrowheads="1" noChangeShapeType="1"/>
              </p:cNvSpPr>
              <p:nvPr/>
            </p:nvSpPr>
            <p:spPr bwMode="gray">
              <a:xfrm>
                <a:off x="2640692" y="4029877"/>
                <a:ext cx="265892" cy="97583"/>
              </a:xfrm>
              <a:custGeom>
                <a:avLst/>
                <a:gdLst/>
                <a:ahLst/>
                <a:cxnLst>
                  <a:cxn ang="0">
                    <a:pos x="0" y="16"/>
                  </a:cxn>
                  <a:cxn ang="0">
                    <a:pos x="0" y="16"/>
                  </a:cxn>
                  <a:cxn ang="0">
                    <a:pos x="20" y="2"/>
                  </a:cxn>
                  <a:cxn ang="0">
                    <a:pos x="57" y="0"/>
                  </a:cxn>
                  <a:cxn ang="0">
                    <a:pos x="146" y="36"/>
                  </a:cxn>
                  <a:cxn ang="0">
                    <a:pos x="99" y="42"/>
                  </a:cxn>
                  <a:cxn ang="0">
                    <a:pos x="107" y="34"/>
                  </a:cxn>
                  <a:cxn ang="0">
                    <a:pos x="84" y="20"/>
                  </a:cxn>
                  <a:cxn ang="0">
                    <a:pos x="40" y="13"/>
                  </a:cxn>
                  <a:cxn ang="0">
                    <a:pos x="42" y="7"/>
                  </a:cxn>
                  <a:cxn ang="0">
                    <a:pos x="0" y="16"/>
                  </a:cxn>
                  <a:cxn ang="0">
                    <a:pos x="0" y="16"/>
                  </a:cxn>
                </a:cxnLst>
                <a:rect l="0" t="0" r="r" b="b"/>
                <a:pathLst>
                  <a:path w="147" h="43">
                    <a:moveTo>
                      <a:pt x="0" y="16"/>
                    </a:moveTo>
                    <a:lnTo>
                      <a:pt x="0" y="16"/>
                    </a:lnTo>
                    <a:lnTo>
                      <a:pt x="20" y="2"/>
                    </a:lnTo>
                    <a:lnTo>
                      <a:pt x="57" y="0"/>
                    </a:lnTo>
                    <a:lnTo>
                      <a:pt x="146" y="36"/>
                    </a:lnTo>
                    <a:lnTo>
                      <a:pt x="99" y="42"/>
                    </a:lnTo>
                    <a:lnTo>
                      <a:pt x="107" y="34"/>
                    </a:lnTo>
                    <a:lnTo>
                      <a:pt x="84" y="20"/>
                    </a:lnTo>
                    <a:lnTo>
                      <a:pt x="40" y="13"/>
                    </a:lnTo>
                    <a:lnTo>
                      <a:pt x="42" y="7"/>
                    </a:lnTo>
                    <a:lnTo>
                      <a:pt x="0" y="16"/>
                    </a:lnTo>
                    <a:lnTo>
                      <a:pt x="0" y="16"/>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10" name="Africa">
              <a:extLst>
                <a:ext uri="{FF2B5EF4-FFF2-40B4-BE49-F238E27FC236}">
                  <a16:creationId xmlns:a16="http://schemas.microsoft.com/office/drawing/2014/main" id="{2F606AC9-23F3-1ED0-F115-0D03CB9D8612}"/>
                </a:ext>
              </a:extLst>
            </p:cNvPr>
            <p:cNvGrpSpPr>
              <a:grpSpLocks noGrp="1" noUngrp="1" noRot="1" noMove="1" noResize="1"/>
            </p:cNvGrpSpPr>
            <p:nvPr/>
          </p:nvGrpSpPr>
          <p:grpSpPr>
            <a:xfrm>
              <a:off x="3505408" y="4558464"/>
              <a:ext cx="3414257" cy="4080774"/>
              <a:chOff x="4311674" y="3613852"/>
              <a:chExt cx="1706855" cy="2040387"/>
            </a:xfrm>
            <a:grpFill/>
          </p:grpSpPr>
          <p:sp>
            <p:nvSpPr>
              <p:cNvPr id="71" name="Zimbabwe">
                <a:extLst>
                  <a:ext uri="{FF2B5EF4-FFF2-40B4-BE49-F238E27FC236}">
                    <a16:creationId xmlns:a16="http://schemas.microsoft.com/office/drawing/2014/main" id="{86085BD3-2FB1-4E27-C920-7E060CC7F3C4}"/>
                  </a:ext>
                </a:extLst>
              </p:cNvPr>
              <p:cNvSpPr>
                <a:spLocks noGrp="1" noRot="1" noMove="1" noResize="1" noEditPoints="1" noAdjustHandles="1" noChangeArrowheads="1" noChangeShapeType="1"/>
              </p:cNvSpPr>
              <p:nvPr/>
            </p:nvSpPr>
            <p:spPr bwMode="gray">
              <a:xfrm>
                <a:off x="5366666" y="5104222"/>
                <a:ext cx="197275" cy="204039"/>
              </a:xfrm>
              <a:custGeom>
                <a:avLst/>
                <a:gdLst/>
                <a:ahLst/>
                <a:cxnLst>
                  <a:cxn ang="0">
                    <a:pos x="0" y="28"/>
                  </a:cxn>
                  <a:cxn ang="0">
                    <a:pos x="0" y="28"/>
                  </a:cxn>
                  <a:cxn ang="0">
                    <a:pos x="0" y="28"/>
                  </a:cxn>
                  <a:cxn ang="0">
                    <a:pos x="25" y="28"/>
                  </a:cxn>
                  <a:cxn ang="0">
                    <a:pos x="49" y="12"/>
                  </a:cxn>
                  <a:cxn ang="0">
                    <a:pos x="50" y="5"/>
                  </a:cxn>
                  <a:cxn ang="0">
                    <a:pos x="71" y="0"/>
                  </a:cxn>
                  <a:cxn ang="0">
                    <a:pos x="104" y="10"/>
                  </a:cxn>
                  <a:cxn ang="0">
                    <a:pos x="108" y="23"/>
                  </a:cxn>
                  <a:cxn ang="0">
                    <a:pos x="106" y="55"/>
                  </a:cxn>
                  <a:cxn ang="0">
                    <a:pos x="88" y="89"/>
                  </a:cxn>
                  <a:cxn ang="0">
                    <a:pos x="57" y="83"/>
                  </a:cxn>
                  <a:cxn ang="0">
                    <a:pos x="39" y="74"/>
                  </a:cxn>
                  <a:cxn ang="0">
                    <a:pos x="0" y="28"/>
                  </a:cxn>
                  <a:cxn ang="0">
                    <a:pos x="0" y="28"/>
                  </a:cxn>
                </a:cxnLst>
                <a:rect l="0" t="0" r="r" b="b"/>
                <a:pathLst>
                  <a:path w="109" h="90">
                    <a:moveTo>
                      <a:pt x="0" y="28"/>
                    </a:moveTo>
                    <a:lnTo>
                      <a:pt x="0" y="28"/>
                    </a:lnTo>
                    <a:lnTo>
                      <a:pt x="0" y="28"/>
                    </a:lnTo>
                    <a:lnTo>
                      <a:pt x="25" y="28"/>
                    </a:lnTo>
                    <a:lnTo>
                      <a:pt x="49" y="12"/>
                    </a:lnTo>
                    <a:lnTo>
                      <a:pt x="50" y="5"/>
                    </a:lnTo>
                    <a:lnTo>
                      <a:pt x="71" y="0"/>
                    </a:lnTo>
                    <a:lnTo>
                      <a:pt x="104" y="10"/>
                    </a:lnTo>
                    <a:lnTo>
                      <a:pt x="108" y="23"/>
                    </a:lnTo>
                    <a:lnTo>
                      <a:pt x="106" y="55"/>
                    </a:lnTo>
                    <a:lnTo>
                      <a:pt x="88" y="89"/>
                    </a:lnTo>
                    <a:lnTo>
                      <a:pt x="57" y="83"/>
                    </a:lnTo>
                    <a:lnTo>
                      <a:pt x="39" y="74"/>
                    </a:lnTo>
                    <a:lnTo>
                      <a:pt x="0" y="28"/>
                    </a:lnTo>
                    <a:lnTo>
                      <a:pt x="0" y="2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2" name="Zambia">
                <a:extLst>
                  <a:ext uri="{FF2B5EF4-FFF2-40B4-BE49-F238E27FC236}">
                    <a16:creationId xmlns:a16="http://schemas.microsoft.com/office/drawing/2014/main" id="{A54A3CCA-86C0-21E4-534F-516C2F78FB20}"/>
                  </a:ext>
                </a:extLst>
              </p:cNvPr>
              <p:cNvSpPr>
                <a:spLocks noGrp="1" noRot="1" noMove="1" noResize="1" noEditPoints="1" noAdjustHandles="1" noChangeArrowheads="1" noChangeShapeType="1"/>
              </p:cNvSpPr>
              <p:nvPr/>
            </p:nvSpPr>
            <p:spPr bwMode="gray">
              <a:xfrm>
                <a:off x="5289471" y="4900183"/>
                <a:ext cx="293768" cy="270574"/>
              </a:xfrm>
              <a:custGeom>
                <a:avLst/>
                <a:gdLst/>
                <a:ahLst/>
                <a:cxnLst>
                  <a:cxn ang="0">
                    <a:pos x="0" y="58"/>
                  </a:cxn>
                  <a:cxn ang="0">
                    <a:pos x="0" y="58"/>
                  </a:cxn>
                  <a:cxn ang="0">
                    <a:pos x="0" y="104"/>
                  </a:cxn>
                  <a:cxn ang="0">
                    <a:pos x="17" y="116"/>
                  </a:cxn>
                  <a:cxn ang="0">
                    <a:pos x="42" y="119"/>
                  </a:cxn>
                  <a:cxn ang="0">
                    <a:pos x="67" y="119"/>
                  </a:cxn>
                  <a:cxn ang="0">
                    <a:pos x="91" y="103"/>
                  </a:cxn>
                  <a:cxn ang="0">
                    <a:pos x="92" y="96"/>
                  </a:cxn>
                  <a:cxn ang="0">
                    <a:pos x="113" y="91"/>
                  </a:cxn>
                  <a:cxn ang="0">
                    <a:pos x="109" y="85"/>
                  </a:cxn>
                  <a:cxn ang="0">
                    <a:pos x="153" y="73"/>
                  </a:cxn>
                  <a:cxn ang="0">
                    <a:pos x="147" y="67"/>
                  </a:cxn>
                  <a:cxn ang="0">
                    <a:pos x="161" y="31"/>
                  </a:cxn>
                  <a:cxn ang="0">
                    <a:pos x="150" y="15"/>
                  </a:cxn>
                  <a:cxn ang="0">
                    <a:pos x="125" y="4"/>
                  </a:cxn>
                  <a:cxn ang="0">
                    <a:pos x="118" y="0"/>
                  </a:cxn>
                  <a:cxn ang="0">
                    <a:pos x="93" y="11"/>
                  </a:cxn>
                  <a:cxn ang="0">
                    <a:pos x="90" y="43"/>
                  </a:cxn>
                  <a:cxn ang="0">
                    <a:pos x="105" y="49"/>
                  </a:cxn>
                  <a:cxn ang="0">
                    <a:pos x="106" y="62"/>
                  </a:cxn>
                  <a:cxn ang="0">
                    <a:pos x="28" y="33"/>
                  </a:cxn>
                  <a:cxn ang="0">
                    <a:pos x="30" y="58"/>
                  </a:cxn>
                  <a:cxn ang="0">
                    <a:pos x="0" y="58"/>
                  </a:cxn>
                  <a:cxn ang="0">
                    <a:pos x="0" y="58"/>
                  </a:cxn>
                </a:cxnLst>
                <a:rect l="0" t="0" r="r" b="b"/>
                <a:pathLst>
                  <a:path w="162" h="120">
                    <a:moveTo>
                      <a:pt x="0" y="58"/>
                    </a:moveTo>
                    <a:lnTo>
                      <a:pt x="0" y="58"/>
                    </a:lnTo>
                    <a:lnTo>
                      <a:pt x="0" y="104"/>
                    </a:lnTo>
                    <a:lnTo>
                      <a:pt x="17" y="116"/>
                    </a:lnTo>
                    <a:lnTo>
                      <a:pt x="42" y="119"/>
                    </a:lnTo>
                    <a:lnTo>
                      <a:pt x="67" y="119"/>
                    </a:lnTo>
                    <a:lnTo>
                      <a:pt x="91" y="103"/>
                    </a:lnTo>
                    <a:lnTo>
                      <a:pt x="92" y="96"/>
                    </a:lnTo>
                    <a:lnTo>
                      <a:pt x="113" y="91"/>
                    </a:lnTo>
                    <a:lnTo>
                      <a:pt x="109" y="85"/>
                    </a:lnTo>
                    <a:lnTo>
                      <a:pt x="153" y="73"/>
                    </a:lnTo>
                    <a:lnTo>
                      <a:pt x="147" y="67"/>
                    </a:lnTo>
                    <a:lnTo>
                      <a:pt x="161" y="31"/>
                    </a:lnTo>
                    <a:lnTo>
                      <a:pt x="150" y="15"/>
                    </a:lnTo>
                    <a:lnTo>
                      <a:pt x="125" y="4"/>
                    </a:lnTo>
                    <a:lnTo>
                      <a:pt x="118" y="0"/>
                    </a:lnTo>
                    <a:lnTo>
                      <a:pt x="93" y="11"/>
                    </a:lnTo>
                    <a:lnTo>
                      <a:pt x="90" y="43"/>
                    </a:lnTo>
                    <a:lnTo>
                      <a:pt x="105" y="49"/>
                    </a:lnTo>
                    <a:lnTo>
                      <a:pt x="106" y="62"/>
                    </a:lnTo>
                    <a:lnTo>
                      <a:pt x="28" y="33"/>
                    </a:lnTo>
                    <a:lnTo>
                      <a:pt x="30" y="58"/>
                    </a:lnTo>
                    <a:lnTo>
                      <a:pt x="0" y="58"/>
                    </a:lnTo>
                    <a:lnTo>
                      <a:pt x="0" y="5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3" name="Western Sahara">
                <a:extLst>
                  <a:ext uri="{FF2B5EF4-FFF2-40B4-BE49-F238E27FC236}">
                    <a16:creationId xmlns:a16="http://schemas.microsoft.com/office/drawing/2014/main" id="{86C9F0C7-325F-3A7E-C71D-B8E75559F9F7}"/>
                  </a:ext>
                </a:extLst>
              </p:cNvPr>
              <p:cNvSpPr>
                <a:spLocks noGrp="1" noRot="1" noMove="1" noResize="1" noEditPoints="1" noAdjustHandles="1" noChangeArrowheads="1" noChangeShapeType="1"/>
              </p:cNvSpPr>
              <p:nvPr/>
            </p:nvSpPr>
            <p:spPr bwMode="gray">
              <a:xfrm>
                <a:off x="4326685" y="3897731"/>
                <a:ext cx="207996" cy="195168"/>
              </a:xfrm>
              <a:custGeom>
                <a:avLst/>
                <a:gdLst/>
                <a:ahLst/>
                <a:cxnLst>
                  <a:cxn ang="0">
                    <a:pos x="0" y="86"/>
                  </a:cxn>
                  <a:cxn ang="0">
                    <a:pos x="0" y="86"/>
                  </a:cxn>
                  <a:cxn ang="0">
                    <a:pos x="54" y="0"/>
                  </a:cxn>
                  <a:cxn ang="0">
                    <a:pos x="113" y="1"/>
                  </a:cxn>
                  <a:cxn ang="0">
                    <a:pos x="114" y="5"/>
                  </a:cxn>
                  <a:cxn ang="0">
                    <a:pos x="113" y="22"/>
                  </a:cxn>
                  <a:cxn ang="0">
                    <a:pos x="70" y="21"/>
                  </a:cxn>
                  <a:cxn ang="0">
                    <a:pos x="69" y="54"/>
                  </a:cxn>
                  <a:cxn ang="0">
                    <a:pos x="53" y="60"/>
                  </a:cxn>
                  <a:cxn ang="0">
                    <a:pos x="55" y="80"/>
                  </a:cxn>
                  <a:cxn ang="0">
                    <a:pos x="0" y="86"/>
                  </a:cxn>
                  <a:cxn ang="0">
                    <a:pos x="0" y="86"/>
                  </a:cxn>
                </a:cxnLst>
                <a:rect l="0" t="0" r="r" b="b"/>
                <a:pathLst>
                  <a:path w="115" h="87">
                    <a:moveTo>
                      <a:pt x="0" y="86"/>
                    </a:moveTo>
                    <a:lnTo>
                      <a:pt x="0" y="86"/>
                    </a:lnTo>
                    <a:lnTo>
                      <a:pt x="54" y="0"/>
                    </a:lnTo>
                    <a:lnTo>
                      <a:pt x="113" y="1"/>
                    </a:lnTo>
                    <a:lnTo>
                      <a:pt x="114" y="5"/>
                    </a:lnTo>
                    <a:lnTo>
                      <a:pt x="113" y="22"/>
                    </a:lnTo>
                    <a:lnTo>
                      <a:pt x="70" y="21"/>
                    </a:lnTo>
                    <a:lnTo>
                      <a:pt x="69" y="54"/>
                    </a:lnTo>
                    <a:lnTo>
                      <a:pt x="53" y="60"/>
                    </a:lnTo>
                    <a:lnTo>
                      <a:pt x="55" y="80"/>
                    </a:lnTo>
                    <a:lnTo>
                      <a:pt x="0" y="86"/>
                    </a:lnTo>
                    <a:lnTo>
                      <a:pt x="0" y="86"/>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4" name="Uganda">
                <a:extLst>
                  <a:ext uri="{FF2B5EF4-FFF2-40B4-BE49-F238E27FC236}">
                    <a16:creationId xmlns:a16="http://schemas.microsoft.com/office/drawing/2014/main" id="{8C18CFAC-14AE-776E-39B2-B146FF4CCA4A}"/>
                  </a:ext>
                </a:extLst>
              </p:cNvPr>
              <p:cNvSpPr>
                <a:spLocks noGrp="1" noRot="1" noMove="1" noResize="1" noEditPoints="1" noAdjustHandles="1" noChangeArrowheads="1" noChangeShapeType="1"/>
              </p:cNvSpPr>
              <p:nvPr/>
            </p:nvSpPr>
            <p:spPr bwMode="gray">
              <a:xfrm>
                <a:off x="5482457" y="4563076"/>
                <a:ext cx="135091" cy="148593"/>
              </a:xfrm>
              <a:custGeom>
                <a:avLst/>
                <a:gdLst/>
                <a:ahLst/>
                <a:cxnLst>
                  <a:cxn ang="0">
                    <a:pos x="0" y="65"/>
                  </a:cxn>
                  <a:cxn ang="0">
                    <a:pos x="0" y="65"/>
                  </a:cxn>
                  <a:cxn ang="0">
                    <a:pos x="11" y="61"/>
                  </a:cxn>
                  <a:cxn ang="0">
                    <a:pos x="29" y="60"/>
                  </a:cxn>
                  <a:cxn ang="0">
                    <a:pos x="29" y="51"/>
                  </a:cxn>
                  <a:cxn ang="0">
                    <a:pos x="58" y="46"/>
                  </a:cxn>
                  <a:cxn ang="0">
                    <a:pos x="73" y="24"/>
                  </a:cxn>
                  <a:cxn ang="0">
                    <a:pos x="58" y="0"/>
                  </a:cxn>
                  <a:cxn ang="0">
                    <a:pos x="16" y="5"/>
                  </a:cxn>
                  <a:cxn ang="0">
                    <a:pos x="21" y="23"/>
                  </a:cxn>
                  <a:cxn ang="0">
                    <a:pos x="12" y="34"/>
                  </a:cxn>
                  <a:cxn ang="0">
                    <a:pos x="0" y="65"/>
                  </a:cxn>
                  <a:cxn ang="0">
                    <a:pos x="0" y="65"/>
                  </a:cxn>
                </a:cxnLst>
                <a:rect l="0" t="0" r="r" b="b"/>
                <a:pathLst>
                  <a:path w="74" h="66">
                    <a:moveTo>
                      <a:pt x="0" y="65"/>
                    </a:moveTo>
                    <a:lnTo>
                      <a:pt x="0" y="65"/>
                    </a:lnTo>
                    <a:lnTo>
                      <a:pt x="11" y="61"/>
                    </a:lnTo>
                    <a:lnTo>
                      <a:pt x="29" y="60"/>
                    </a:lnTo>
                    <a:lnTo>
                      <a:pt x="29" y="51"/>
                    </a:lnTo>
                    <a:lnTo>
                      <a:pt x="58" y="46"/>
                    </a:lnTo>
                    <a:lnTo>
                      <a:pt x="73" y="24"/>
                    </a:lnTo>
                    <a:lnTo>
                      <a:pt x="58" y="0"/>
                    </a:lnTo>
                    <a:lnTo>
                      <a:pt x="16" y="5"/>
                    </a:lnTo>
                    <a:lnTo>
                      <a:pt x="21" y="23"/>
                    </a:lnTo>
                    <a:lnTo>
                      <a:pt x="12" y="34"/>
                    </a:lnTo>
                    <a:lnTo>
                      <a:pt x="0" y="65"/>
                    </a:lnTo>
                    <a:lnTo>
                      <a:pt x="0" y="6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5" name="Tunisia">
                <a:extLst>
                  <a:ext uri="{FF2B5EF4-FFF2-40B4-BE49-F238E27FC236}">
                    <a16:creationId xmlns:a16="http://schemas.microsoft.com/office/drawing/2014/main" id="{6B496513-A1E1-28FF-F409-7CED673F0F2E}"/>
                  </a:ext>
                </a:extLst>
              </p:cNvPr>
              <p:cNvSpPr>
                <a:spLocks noGrp="1" noRot="1" noMove="1" noResize="1" noEditPoints="1" noAdjustHandles="1" noChangeArrowheads="1" noChangeShapeType="1"/>
              </p:cNvSpPr>
              <p:nvPr/>
            </p:nvSpPr>
            <p:spPr bwMode="gray">
              <a:xfrm>
                <a:off x="4929231" y="3613852"/>
                <a:ext cx="98637" cy="208474"/>
              </a:xfrm>
              <a:custGeom>
                <a:avLst/>
                <a:gdLst/>
                <a:ahLst/>
                <a:cxnLst>
                  <a:cxn ang="0">
                    <a:pos x="0" y="43"/>
                  </a:cxn>
                  <a:cxn ang="0">
                    <a:pos x="0" y="43"/>
                  </a:cxn>
                  <a:cxn ang="0">
                    <a:pos x="12" y="34"/>
                  </a:cxn>
                  <a:cxn ang="0">
                    <a:pos x="18" y="1"/>
                  </a:cxn>
                  <a:cxn ang="0">
                    <a:pos x="51" y="0"/>
                  </a:cxn>
                  <a:cxn ang="0">
                    <a:pos x="42" y="11"/>
                  </a:cxn>
                  <a:cxn ang="0">
                    <a:pos x="52" y="25"/>
                  </a:cxn>
                  <a:cxn ang="0">
                    <a:pos x="33" y="43"/>
                  </a:cxn>
                  <a:cxn ang="0">
                    <a:pos x="54" y="54"/>
                  </a:cxn>
                  <a:cxn ang="0">
                    <a:pos x="27" y="92"/>
                  </a:cxn>
                  <a:cxn ang="0">
                    <a:pos x="23" y="67"/>
                  </a:cxn>
                  <a:cxn ang="0">
                    <a:pos x="0" y="43"/>
                  </a:cxn>
                  <a:cxn ang="0">
                    <a:pos x="0" y="43"/>
                  </a:cxn>
                </a:cxnLst>
                <a:rect l="0" t="0" r="r" b="b"/>
                <a:pathLst>
                  <a:path w="55" h="93">
                    <a:moveTo>
                      <a:pt x="0" y="43"/>
                    </a:moveTo>
                    <a:lnTo>
                      <a:pt x="0" y="43"/>
                    </a:lnTo>
                    <a:lnTo>
                      <a:pt x="12" y="34"/>
                    </a:lnTo>
                    <a:lnTo>
                      <a:pt x="18" y="1"/>
                    </a:lnTo>
                    <a:lnTo>
                      <a:pt x="51" y="0"/>
                    </a:lnTo>
                    <a:lnTo>
                      <a:pt x="42" y="11"/>
                    </a:lnTo>
                    <a:lnTo>
                      <a:pt x="52" y="25"/>
                    </a:lnTo>
                    <a:lnTo>
                      <a:pt x="33" y="43"/>
                    </a:lnTo>
                    <a:lnTo>
                      <a:pt x="54" y="54"/>
                    </a:lnTo>
                    <a:lnTo>
                      <a:pt x="27" y="92"/>
                    </a:lnTo>
                    <a:lnTo>
                      <a:pt x="23" y="67"/>
                    </a:lnTo>
                    <a:lnTo>
                      <a:pt x="0" y="43"/>
                    </a:lnTo>
                    <a:lnTo>
                      <a:pt x="0" y="43"/>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6" name="Togo">
                <a:extLst>
                  <a:ext uri="{FF2B5EF4-FFF2-40B4-BE49-F238E27FC236}">
                    <a16:creationId xmlns:a16="http://schemas.microsoft.com/office/drawing/2014/main" id="{DCA562AA-380F-3B10-2D65-E13663104EAD}"/>
                  </a:ext>
                </a:extLst>
              </p:cNvPr>
              <p:cNvSpPr>
                <a:spLocks noGrp="1" noRot="1" noMove="1" noResize="1" noEditPoints="1" noAdjustHandles="1" noChangeArrowheads="1" noChangeShapeType="1"/>
              </p:cNvSpPr>
              <p:nvPr/>
            </p:nvSpPr>
            <p:spPr bwMode="gray">
              <a:xfrm>
                <a:off x="4742677" y="4367908"/>
                <a:ext cx="53607" cy="141940"/>
              </a:xfrm>
              <a:custGeom>
                <a:avLst/>
                <a:gdLst/>
                <a:ahLst/>
                <a:cxnLst>
                  <a:cxn ang="0">
                    <a:pos x="0" y="0"/>
                  </a:cxn>
                  <a:cxn ang="0">
                    <a:pos x="0" y="0"/>
                  </a:cxn>
                  <a:cxn ang="0">
                    <a:pos x="14" y="3"/>
                  </a:cxn>
                  <a:cxn ang="0">
                    <a:pos x="29" y="60"/>
                  </a:cxn>
                  <a:cxn ang="0">
                    <a:pos x="19" y="62"/>
                  </a:cxn>
                  <a:cxn ang="0">
                    <a:pos x="0" y="0"/>
                  </a:cxn>
                  <a:cxn ang="0">
                    <a:pos x="0" y="0"/>
                  </a:cxn>
                </a:cxnLst>
                <a:rect l="0" t="0" r="r" b="b"/>
                <a:pathLst>
                  <a:path w="30" h="63">
                    <a:moveTo>
                      <a:pt x="0" y="0"/>
                    </a:moveTo>
                    <a:lnTo>
                      <a:pt x="0" y="0"/>
                    </a:lnTo>
                    <a:lnTo>
                      <a:pt x="14" y="3"/>
                    </a:lnTo>
                    <a:lnTo>
                      <a:pt x="29" y="60"/>
                    </a:lnTo>
                    <a:lnTo>
                      <a:pt x="19" y="62"/>
                    </a:lnTo>
                    <a:lnTo>
                      <a:pt x="0" y="0"/>
                    </a:lnTo>
                    <a:lnTo>
                      <a:pt x="0" y="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7" name="The Gambia">
                <a:extLst>
                  <a:ext uri="{FF2B5EF4-FFF2-40B4-BE49-F238E27FC236}">
                    <a16:creationId xmlns:a16="http://schemas.microsoft.com/office/drawing/2014/main" id="{38DB5928-C83B-40E6-BA20-BED5D587094B}"/>
                  </a:ext>
                </a:extLst>
              </p:cNvPr>
              <p:cNvSpPr>
                <a:spLocks noGrp="1" noRot="1" noMove="1" noResize="1" noEditPoints="1" noAdjustHandles="1" noChangeArrowheads="1" noChangeShapeType="1"/>
              </p:cNvSpPr>
              <p:nvPr/>
            </p:nvSpPr>
            <p:spPr bwMode="gray">
              <a:xfrm>
                <a:off x="4330973" y="4301373"/>
                <a:ext cx="75050" cy="17743"/>
              </a:xfrm>
              <a:custGeom>
                <a:avLst/>
                <a:gdLst/>
                <a:ahLst/>
                <a:cxnLst>
                  <a:cxn ang="0">
                    <a:pos x="0" y="7"/>
                  </a:cxn>
                  <a:cxn ang="0">
                    <a:pos x="0" y="7"/>
                  </a:cxn>
                  <a:cxn ang="0">
                    <a:pos x="2" y="0"/>
                  </a:cxn>
                  <a:cxn ang="0">
                    <a:pos x="40" y="2"/>
                  </a:cxn>
                  <a:cxn ang="0">
                    <a:pos x="0" y="7"/>
                  </a:cxn>
                  <a:cxn ang="0">
                    <a:pos x="0" y="7"/>
                  </a:cxn>
                </a:cxnLst>
                <a:rect l="0" t="0" r="r" b="b"/>
                <a:pathLst>
                  <a:path w="41" h="8">
                    <a:moveTo>
                      <a:pt x="0" y="7"/>
                    </a:moveTo>
                    <a:lnTo>
                      <a:pt x="0" y="7"/>
                    </a:lnTo>
                    <a:lnTo>
                      <a:pt x="2" y="0"/>
                    </a:lnTo>
                    <a:lnTo>
                      <a:pt x="40" y="2"/>
                    </a:lnTo>
                    <a:lnTo>
                      <a:pt x="0" y="7"/>
                    </a:lnTo>
                    <a:lnTo>
                      <a:pt x="0" y="7"/>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8" name="Tanzania">
                <a:extLst>
                  <a:ext uri="{FF2B5EF4-FFF2-40B4-BE49-F238E27FC236}">
                    <a16:creationId xmlns:a16="http://schemas.microsoft.com/office/drawing/2014/main" id="{E823A209-B2AE-0E8B-8919-611947C12411}"/>
                  </a:ext>
                </a:extLst>
              </p:cNvPr>
              <p:cNvSpPr>
                <a:spLocks noGrp="1" noRot="1" noMove="1" noResize="1" noEditPoints="1" noAdjustHandles="1" noChangeArrowheads="1" noChangeShapeType="1"/>
              </p:cNvSpPr>
              <p:nvPr/>
            </p:nvSpPr>
            <p:spPr bwMode="gray">
              <a:xfrm>
                <a:off x="5480314" y="4698362"/>
                <a:ext cx="268037" cy="297186"/>
              </a:xfrm>
              <a:custGeom>
                <a:avLst/>
                <a:gdLst/>
                <a:ahLst/>
                <a:cxnLst>
                  <a:cxn ang="0">
                    <a:pos x="0" y="42"/>
                  </a:cxn>
                  <a:cxn ang="0">
                    <a:pos x="0" y="42"/>
                  </a:cxn>
                  <a:cxn ang="0">
                    <a:pos x="2" y="67"/>
                  </a:cxn>
                  <a:cxn ang="0">
                    <a:pos x="20" y="93"/>
                  </a:cxn>
                  <a:cxn ang="0">
                    <a:pos x="45" y="104"/>
                  </a:cxn>
                  <a:cxn ang="0">
                    <a:pos x="58" y="107"/>
                  </a:cxn>
                  <a:cxn ang="0">
                    <a:pos x="73" y="131"/>
                  </a:cxn>
                  <a:cxn ang="0">
                    <a:pos x="127" y="128"/>
                  </a:cxn>
                  <a:cxn ang="0">
                    <a:pos x="147" y="117"/>
                  </a:cxn>
                  <a:cxn ang="0">
                    <a:pos x="127" y="65"/>
                  </a:cxn>
                  <a:cxn ang="0">
                    <a:pos x="132" y="46"/>
                  </a:cxn>
                  <a:cxn ang="0">
                    <a:pos x="62" y="0"/>
                  </a:cxn>
                  <a:cxn ang="0">
                    <a:pos x="44" y="23"/>
                  </a:cxn>
                  <a:cxn ang="0">
                    <a:pos x="36" y="17"/>
                  </a:cxn>
                  <a:cxn ang="0">
                    <a:pos x="30" y="22"/>
                  </a:cxn>
                  <a:cxn ang="0">
                    <a:pos x="30" y="0"/>
                  </a:cxn>
                  <a:cxn ang="0">
                    <a:pos x="12" y="1"/>
                  </a:cxn>
                  <a:cxn ang="0">
                    <a:pos x="14" y="17"/>
                  </a:cxn>
                  <a:cxn ang="0">
                    <a:pos x="16" y="27"/>
                  </a:cxn>
                  <a:cxn ang="0">
                    <a:pos x="0" y="42"/>
                  </a:cxn>
                  <a:cxn ang="0">
                    <a:pos x="0" y="42"/>
                  </a:cxn>
                </a:cxnLst>
                <a:rect l="0" t="0" r="r" b="b"/>
                <a:pathLst>
                  <a:path w="148" h="132">
                    <a:moveTo>
                      <a:pt x="0" y="42"/>
                    </a:moveTo>
                    <a:lnTo>
                      <a:pt x="0" y="42"/>
                    </a:lnTo>
                    <a:lnTo>
                      <a:pt x="2" y="67"/>
                    </a:lnTo>
                    <a:lnTo>
                      <a:pt x="20" y="93"/>
                    </a:lnTo>
                    <a:lnTo>
                      <a:pt x="45" y="104"/>
                    </a:lnTo>
                    <a:lnTo>
                      <a:pt x="58" y="107"/>
                    </a:lnTo>
                    <a:lnTo>
                      <a:pt x="73" y="131"/>
                    </a:lnTo>
                    <a:lnTo>
                      <a:pt x="127" y="128"/>
                    </a:lnTo>
                    <a:lnTo>
                      <a:pt x="147" y="117"/>
                    </a:lnTo>
                    <a:lnTo>
                      <a:pt x="127" y="65"/>
                    </a:lnTo>
                    <a:lnTo>
                      <a:pt x="132" y="46"/>
                    </a:lnTo>
                    <a:lnTo>
                      <a:pt x="62" y="0"/>
                    </a:lnTo>
                    <a:lnTo>
                      <a:pt x="44" y="23"/>
                    </a:lnTo>
                    <a:lnTo>
                      <a:pt x="36" y="17"/>
                    </a:lnTo>
                    <a:lnTo>
                      <a:pt x="30" y="22"/>
                    </a:lnTo>
                    <a:lnTo>
                      <a:pt x="30" y="0"/>
                    </a:lnTo>
                    <a:lnTo>
                      <a:pt x="12" y="1"/>
                    </a:lnTo>
                    <a:lnTo>
                      <a:pt x="14" y="17"/>
                    </a:lnTo>
                    <a:lnTo>
                      <a:pt x="16" y="27"/>
                    </a:lnTo>
                    <a:lnTo>
                      <a:pt x="0" y="42"/>
                    </a:lnTo>
                    <a:lnTo>
                      <a:pt x="0" y="42"/>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9" name="Swaziland">
                <a:extLst>
                  <a:ext uri="{FF2B5EF4-FFF2-40B4-BE49-F238E27FC236}">
                    <a16:creationId xmlns:a16="http://schemas.microsoft.com/office/drawing/2014/main" id="{88C06C90-88E4-6BEE-B123-443904ABA09F}"/>
                  </a:ext>
                </a:extLst>
              </p:cNvPr>
              <p:cNvSpPr>
                <a:spLocks noGrp="1" noRot="1" noMove="1" noResize="1" noEditPoints="1" noAdjustHandles="1" noChangeArrowheads="1" noChangeShapeType="1"/>
              </p:cNvSpPr>
              <p:nvPr/>
            </p:nvSpPr>
            <p:spPr bwMode="gray">
              <a:xfrm>
                <a:off x="5510333" y="5392537"/>
                <a:ext cx="30020" cy="48792"/>
              </a:xfrm>
              <a:custGeom>
                <a:avLst/>
                <a:gdLst/>
                <a:ahLst/>
                <a:cxnLst>
                  <a:cxn ang="0">
                    <a:pos x="0" y="11"/>
                  </a:cxn>
                  <a:cxn ang="0">
                    <a:pos x="0" y="11"/>
                  </a:cxn>
                  <a:cxn ang="0">
                    <a:pos x="9" y="20"/>
                  </a:cxn>
                  <a:cxn ang="0">
                    <a:pos x="16" y="12"/>
                  </a:cxn>
                  <a:cxn ang="0">
                    <a:pos x="14" y="0"/>
                  </a:cxn>
                  <a:cxn ang="0">
                    <a:pos x="0" y="11"/>
                  </a:cxn>
                  <a:cxn ang="0">
                    <a:pos x="0" y="11"/>
                  </a:cxn>
                </a:cxnLst>
                <a:rect l="0" t="0" r="r" b="b"/>
                <a:pathLst>
                  <a:path w="17" h="21">
                    <a:moveTo>
                      <a:pt x="0" y="11"/>
                    </a:moveTo>
                    <a:lnTo>
                      <a:pt x="0" y="11"/>
                    </a:lnTo>
                    <a:lnTo>
                      <a:pt x="9" y="20"/>
                    </a:lnTo>
                    <a:lnTo>
                      <a:pt x="16" y="12"/>
                    </a:lnTo>
                    <a:lnTo>
                      <a:pt x="14" y="0"/>
                    </a:lnTo>
                    <a:lnTo>
                      <a:pt x="0" y="11"/>
                    </a:lnTo>
                    <a:lnTo>
                      <a:pt x="0" y="11"/>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0" name="Sudan">
                <a:extLst>
                  <a:ext uri="{FF2B5EF4-FFF2-40B4-BE49-F238E27FC236}">
                    <a16:creationId xmlns:a16="http://schemas.microsoft.com/office/drawing/2014/main" id="{11ABE568-2AFC-6BAC-66E0-5648E469A1A3}"/>
                  </a:ext>
                </a:extLst>
              </p:cNvPr>
              <p:cNvSpPr>
                <a:spLocks noGrp="1" noRot="1" noMove="1" noResize="1" noEditPoints="1" noAdjustHandles="1" noChangeArrowheads="1" noChangeShapeType="1"/>
              </p:cNvSpPr>
              <p:nvPr/>
            </p:nvSpPr>
            <p:spPr bwMode="gray">
              <a:xfrm>
                <a:off x="5287327" y="4033019"/>
                <a:ext cx="413848" cy="545582"/>
              </a:xfrm>
              <a:custGeom>
                <a:avLst/>
                <a:gdLst/>
                <a:ahLst/>
                <a:cxnLst>
                  <a:cxn ang="0">
                    <a:pos x="0" y="128"/>
                  </a:cxn>
                  <a:cxn ang="0">
                    <a:pos x="0" y="128"/>
                  </a:cxn>
                  <a:cxn ang="0">
                    <a:pos x="11" y="152"/>
                  </a:cxn>
                  <a:cxn ang="0">
                    <a:pos x="21" y="178"/>
                  </a:cxn>
                  <a:cxn ang="0">
                    <a:pos x="44" y="187"/>
                  </a:cxn>
                  <a:cxn ang="0">
                    <a:pos x="77" y="223"/>
                  </a:cxn>
                  <a:cxn ang="0">
                    <a:pos x="123" y="241"/>
                  </a:cxn>
                  <a:cxn ang="0">
                    <a:pos x="165" y="236"/>
                  </a:cxn>
                  <a:cxn ang="0">
                    <a:pos x="190" y="229"/>
                  </a:cxn>
                  <a:cxn ang="0">
                    <a:pos x="175" y="204"/>
                  </a:cxn>
                  <a:cxn ang="0">
                    <a:pos x="151" y="189"/>
                  </a:cxn>
                  <a:cxn ang="0">
                    <a:pos x="167" y="180"/>
                  </a:cxn>
                  <a:cxn ang="0">
                    <a:pos x="168" y="157"/>
                  </a:cxn>
                  <a:cxn ang="0">
                    <a:pos x="195" y="128"/>
                  </a:cxn>
                  <a:cxn ang="0">
                    <a:pos x="206" y="75"/>
                  </a:cxn>
                  <a:cxn ang="0">
                    <a:pos x="227" y="64"/>
                  </a:cxn>
                  <a:cxn ang="0">
                    <a:pos x="210" y="53"/>
                  </a:cxn>
                  <a:cxn ang="0">
                    <a:pos x="204" y="14"/>
                  </a:cxn>
                  <a:cxn ang="0">
                    <a:pos x="186" y="0"/>
                  </a:cxn>
                  <a:cxn ang="0">
                    <a:pos x="165" y="16"/>
                  </a:cxn>
                  <a:cxn ang="0">
                    <a:pos x="42" y="13"/>
                  </a:cxn>
                  <a:cxn ang="0">
                    <a:pos x="42" y="38"/>
                  </a:cxn>
                  <a:cxn ang="0">
                    <a:pos x="29" y="38"/>
                  </a:cxn>
                  <a:cxn ang="0">
                    <a:pos x="29" y="45"/>
                  </a:cxn>
                  <a:cxn ang="0">
                    <a:pos x="29" y="92"/>
                  </a:cxn>
                  <a:cxn ang="0">
                    <a:pos x="15" y="95"/>
                  </a:cxn>
                  <a:cxn ang="0">
                    <a:pos x="0" y="128"/>
                  </a:cxn>
                  <a:cxn ang="0">
                    <a:pos x="0" y="128"/>
                  </a:cxn>
                </a:cxnLst>
                <a:rect l="0" t="0" r="r" b="b"/>
                <a:pathLst>
                  <a:path w="228" h="242">
                    <a:moveTo>
                      <a:pt x="0" y="128"/>
                    </a:moveTo>
                    <a:lnTo>
                      <a:pt x="0" y="128"/>
                    </a:lnTo>
                    <a:lnTo>
                      <a:pt x="11" y="152"/>
                    </a:lnTo>
                    <a:lnTo>
                      <a:pt x="21" y="178"/>
                    </a:lnTo>
                    <a:lnTo>
                      <a:pt x="44" y="187"/>
                    </a:lnTo>
                    <a:lnTo>
                      <a:pt x="77" y="223"/>
                    </a:lnTo>
                    <a:lnTo>
                      <a:pt x="123" y="241"/>
                    </a:lnTo>
                    <a:lnTo>
                      <a:pt x="165" y="236"/>
                    </a:lnTo>
                    <a:lnTo>
                      <a:pt x="190" y="229"/>
                    </a:lnTo>
                    <a:lnTo>
                      <a:pt x="175" y="204"/>
                    </a:lnTo>
                    <a:lnTo>
                      <a:pt x="151" y="189"/>
                    </a:lnTo>
                    <a:lnTo>
                      <a:pt x="167" y="180"/>
                    </a:lnTo>
                    <a:lnTo>
                      <a:pt x="168" y="157"/>
                    </a:lnTo>
                    <a:lnTo>
                      <a:pt x="195" y="128"/>
                    </a:lnTo>
                    <a:lnTo>
                      <a:pt x="206" y="75"/>
                    </a:lnTo>
                    <a:lnTo>
                      <a:pt x="227" y="64"/>
                    </a:lnTo>
                    <a:lnTo>
                      <a:pt x="210" y="53"/>
                    </a:lnTo>
                    <a:lnTo>
                      <a:pt x="204" y="14"/>
                    </a:lnTo>
                    <a:lnTo>
                      <a:pt x="186" y="0"/>
                    </a:lnTo>
                    <a:lnTo>
                      <a:pt x="165" y="16"/>
                    </a:lnTo>
                    <a:lnTo>
                      <a:pt x="42" y="13"/>
                    </a:lnTo>
                    <a:lnTo>
                      <a:pt x="42" y="38"/>
                    </a:lnTo>
                    <a:lnTo>
                      <a:pt x="29" y="38"/>
                    </a:lnTo>
                    <a:lnTo>
                      <a:pt x="29" y="45"/>
                    </a:lnTo>
                    <a:lnTo>
                      <a:pt x="29" y="92"/>
                    </a:lnTo>
                    <a:lnTo>
                      <a:pt x="15" y="95"/>
                    </a:lnTo>
                    <a:lnTo>
                      <a:pt x="0" y="128"/>
                    </a:lnTo>
                    <a:lnTo>
                      <a:pt x="0" y="12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1" name="South Africa">
                <a:extLst>
                  <a:ext uri="{FF2B5EF4-FFF2-40B4-BE49-F238E27FC236}">
                    <a16:creationId xmlns:a16="http://schemas.microsoft.com/office/drawing/2014/main" id="{819B69F7-B785-7627-7A71-E71FD131B154}"/>
                  </a:ext>
                </a:extLst>
              </p:cNvPr>
              <p:cNvSpPr>
                <a:spLocks noGrp="1" noRot="1" noMove="1" noResize="1" noEditPoints="1" noAdjustHandles="1" noChangeArrowheads="1" noChangeShapeType="1"/>
              </p:cNvSpPr>
              <p:nvPr/>
            </p:nvSpPr>
            <p:spPr bwMode="gray">
              <a:xfrm>
                <a:off x="5152236" y="5290518"/>
                <a:ext cx="407415" cy="363721"/>
              </a:xfrm>
              <a:custGeom>
                <a:avLst/>
                <a:gdLst/>
                <a:ahLst/>
                <a:cxnLst>
                  <a:cxn ang="0">
                    <a:pos x="0" y="84"/>
                  </a:cxn>
                  <a:cxn ang="0">
                    <a:pos x="0" y="84"/>
                  </a:cxn>
                  <a:cxn ang="0">
                    <a:pos x="8" y="78"/>
                  </a:cxn>
                  <a:cxn ang="0">
                    <a:pos x="18" y="89"/>
                  </a:cxn>
                  <a:cxn ang="0">
                    <a:pos x="35" y="89"/>
                  </a:cxn>
                  <a:cxn ang="0">
                    <a:pos x="47" y="82"/>
                  </a:cxn>
                  <a:cxn ang="0">
                    <a:pos x="47" y="32"/>
                  </a:cxn>
                  <a:cxn ang="0">
                    <a:pos x="59" y="44"/>
                  </a:cxn>
                  <a:cxn ang="0">
                    <a:pos x="58" y="57"/>
                  </a:cxn>
                  <a:cxn ang="0">
                    <a:pos x="77" y="57"/>
                  </a:cxn>
                  <a:cxn ang="0">
                    <a:pos x="94" y="42"/>
                  </a:cxn>
                  <a:cxn ang="0">
                    <a:pos x="123" y="42"/>
                  </a:cxn>
                  <a:cxn ang="0">
                    <a:pos x="175" y="0"/>
                  </a:cxn>
                  <a:cxn ang="0">
                    <a:pos x="206" y="6"/>
                  </a:cxn>
                  <a:cxn ang="0">
                    <a:pos x="211" y="45"/>
                  </a:cxn>
                  <a:cxn ang="0">
                    <a:pos x="197" y="56"/>
                  </a:cxn>
                  <a:cxn ang="0">
                    <a:pos x="206" y="65"/>
                  </a:cxn>
                  <a:cxn ang="0">
                    <a:pos x="213" y="57"/>
                  </a:cxn>
                  <a:cxn ang="0">
                    <a:pos x="224" y="57"/>
                  </a:cxn>
                  <a:cxn ang="0">
                    <a:pos x="218" y="82"/>
                  </a:cxn>
                  <a:cxn ang="0">
                    <a:pos x="185" y="118"/>
                  </a:cxn>
                  <a:cxn ang="0">
                    <a:pos x="145" y="149"/>
                  </a:cxn>
                  <a:cxn ang="0">
                    <a:pos x="114" y="160"/>
                  </a:cxn>
                  <a:cxn ang="0">
                    <a:pos x="27" y="160"/>
                  </a:cxn>
                  <a:cxn ang="0">
                    <a:pos x="19" y="142"/>
                  </a:cxn>
                  <a:cxn ang="0">
                    <a:pos x="23" y="128"/>
                  </a:cxn>
                  <a:cxn ang="0">
                    <a:pos x="0" y="84"/>
                  </a:cxn>
                  <a:cxn ang="0">
                    <a:pos x="0" y="84"/>
                  </a:cxn>
                </a:cxnLst>
                <a:rect l="0" t="0" r="r" b="b"/>
                <a:pathLst>
                  <a:path w="225" h="161">
                    <a:moveTo>
                      <a:pt x="0" y="84"/>
                    </a:moveTo>
                    <a:lnTo>
                      <a:pt x="0" y="84"/>
                    </a:lnTo>
                    <a:lnTo>
                      <a:pt x="8" y="78"/>
                    </a:lnTo>
                    <a:lnTo>
                      <a:pt x="18" y="89"/>
                    </a:lnTo>
                    <a:lnTo>
                      <a:pt x="35" y="89"/>
                    </a:lnTo>
                    <a:lnTo>
                      <a:pt x="47" y="82"/>
                    </a:lnTo>
                    <a:lnTo>
                      <a:pt x="47" y="32"/>
                    </a:lnTo>
                    <a:lnTo>
                      <a:pt x="59" y="44"/>
                    </a:lnTo>
                    <a:lnTo>
                      <a:pt x="58" y="57"/>
                    </a:lnTo>
                    <a:lnTo>
                      <a:pt x="77" y="57"/>
                    </a:lnTo>
                    <a:lnTo>
                      <a:pt x="94" y="42"/>
                    </a:lnTo>
                    <a:lnTo>
                      <a:pt x="123" y="42"/>
                    </a:lnTo>
                    <a:lnTo>
                      <a:pt x="175" y="0"/>
                    </a:lnTo>
                    <a:lnTo>
                      <a:pt x="206" y="6"/>
                    </a:lnTo>
                    <a:lnTo>
                      <a:pt x="211" y="45"/>
                    </a:lnTo>
                    <a:lnTo>
                      <a:pt x="197" y="56"/>
                    </a:lnTo>
                    <a:lnTo>
                      <a:pt x="206" y="65"/>
                    </a:lnTo>
                    <a:lnTo>
                      <a:pt x="213" y="57"/>
                    </a:lnTo>
                    <a:lnTo>
                      <a:pt x="224" y="57"/>
                    </a:lnTo>
                    <a:lnTo>
                      <a:pt x="218" y="82"/>
                    </a:lnTo>
                    <a:lnTo>
                      <a:pt x="185" y="118"/>
                    </a:lnTo>
                    <a:lnTo>
                      <a:pt x="145" y="149"/>
                    </a:lnTo>
                    <a:lnTo>
                      <a:pt x="114" y="160"/>
                    </a:lnTo>
                    <a:lnTo>
                      <a:pt x="27" y="160"/>
                    </a:lnTo>
                    <a:lnTo>
                      <a:pt x="19" y="142"/>
                    </a:lnTo>
                    <a:lnTo>
                      <a:pt x="23" y="128"/>
                    </a:lnTo>
                    <a:lnTo>
                      <a:pt x="0" y="84"/>
                    </a:lnTo>
                    <a:lnTo>
                      <a:pt x="0" y="84"/>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2" name="Somalia">
                <a:extLst>
                  <a:ext uri="{FF2B5EF4-FFF2-40B4-BE49-F238E27FC236}">
                    <a16:creationId xmlns:a16="http://schemas.microsoft.com/office/drawing/2014/main" id="{8DFB7E9F-5D1D-C9A7-AFBD-8E0EAD88EB7E}"/>
                  </a:ext>
                </a:extLst>
              </p:cNvPr>
              <p:cNvSpPr>
                <a:spLocks noGrp="1" noRot="1" noMove="1" noResize="1" noEditPoints="1" noAdjustHandles="1" noChangeArrowheads="1" noChangeShapeType="1"/>
              </p:cNvSpPr>
              <p:nvPr/>
            </p:nvSpPr>
            <p:spPr bwMode="gray">
              <a:xfrm>
                <a:off x="5761215" y="4347948"/>
                <a:ext cx="257314" cy="374810"/>
              </a:xfrm>
              <a:custGeom>
                <a:avLst/>
                <a:gdLst/>
                <a:ahLst/>
                <a:cxnLst>
                  <a:cxn ang="0">
                    <a:pos x="0" y="155"/>
                  </a:cxn>
                  <a:cxn ang="0">
                    <a:pos x="0" y="155"/>
                  </a:cxn>
                  <a:cxn ang="0">
                    <a:pos x="0" y="110"/>
                  </a:cxn>
                  <a:cxn ang="0">
                    <a:pos x="11" y="97"/>
                  </a:cxn>
                  <a:cxn ang="0">
                    <a:pos x="54" y="84"/>
                  </a:cxn>
                  <a:cxn ang="0">
                    <a:pos x="96" y="47"/>
                  </a:cxn>
                  <a:cxn ang="0">
                    <a:pos x="42" y="35"/>
                  </a:cxn>
                  <a:cxn ang="0">
                    <a:pos x="25" y="13"/>
                  </a:cxn>
                  <a:cxn ang="0">
                    <a:pos x="31" y="6"/>
                  </a:cxn>
                  <a:cxn ang="0">
                    <a:pos x="52" y="19"/>
                  </a:cxn>
                  <a:cxn ang="0">
                    <a:pos x="133" y="0"/>
                  </a:cxn>
                  <a:cxn ang="0">
                    <a:pos x="140" y="19"/>
                  </a:cxn>
                  <a:cxn ang="0">
                    <a:pos x="91" y="96"/>
                  </a:cxn>
                  <a:cxn ang="0">
                    <a:pos x="7" y="165"/>
                  </a:cxn>
                  <a:cxn ang="0">
                    <a:pos x="0" y="155"/>
                  </a:cxn>
                  <a:cxn ang="0">
                    <a:pos x="0" y="155"/>
                  </a:cxn>
                </a:cxnLst>
                <a:rect l="0" t="0" r="r" b="b"/>
                <a:pathLst>
                  <a:path w="141" h="166">
                    <a:moveTo>
                      <a:pt x="0" y="155"/>
                    </a:moveTo>
                    <a:lnTo>
                      <a:pt x="0" y="155"/>
                    </a:lnTo>
                    <a:lnTo>
                      <a:pt x="0" y="110"/>
                    </a:lnTo>
                    <a:lnTo>
                      <a:pt x="11" y="97"/>
                    </a:lnTo>
                    <a:lnTo>
                      <a:pt x="54" y="84"/>
                    </a:lnTo>
                    <a:lnTo>
                      <a:pt x="96" y="47"/>
                    </a:lnTo>
                    <a:lnTo>
                      <a:pt x="42" y="35"/>
                    </a:lnTo>
                    <a:lnTo>
                      <a:pt x="25" y="13"/>
                    </a:lnTo>
                    <a:lnTo>
                      <a:pt x="31" y="6"/>
                    </a:lnTo>
                    <a:lnTo>
                      <a:pt x="52" y="19"/>
                    </a:lnTo>
                    <a:lnTo>
                      <a:pt x="133" y="0"/>
                    </a:lnTo>
                    <a:lnTo>
                      <a:pt x="140" y="19"/>
                    </a:lnTo>
                    <a:lnTo>
                      <a:pt x="91" y="96"/>
                    </a:lnTo>
                    <a:lnTo>
                      <a:pt x="7" y="165"/>
                    </a:lnTo>
                    <a:lnTo>
                      <a:pt x="0" y="155"/>
                    </a:lnTo>
                    <a:lnTo>
                      <a:pt x="0" y="15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3" name="Sierra Leone">
                <a:extLst>
                  <a:ext uri="{FF2B5EF4-FFF2-40B4-BE49-F238E27FC236}">
                    <a16:creationId xmlns:a16="http://schemas.microsoft.com/office/drawing/2014/main" id="{4E7C78C9-B348-0A26-A3A9-7E33EE4DD21B}"/>
                  </a:ext>
                </a:extLst>
              </p:cNvPr>
              <p:cNvSpPr>
                <a:spLocks noGrp="1" noRot="1" noMove="1" noResize="1" noEditPoints="1" noAdjustHandles="1" noChangeArrowheads="1" noChangeShapeType="1"/>
              </p:cNvSpPr>
              <p:nvPr/>
            </p:nvSpPr>
            <p:spPr bwMode="gray">
              <a:xfrm>
                <a:off x="4416744" y="4401175"/>
                <a:ext cx="77195" cy="86495"/>
              </a:xfrm>
              <a:custGeom>
                <a:avLst/>
                <a:gdLst/>
                <a:ahLst/>
                <a:cxnLst>
                  <a:cxn ang="0">
                    <a:pos x="0" y="11"/>
                  </a:cxn>
                  <a:cxn ang="0">
                    <a:pos x="0" y="11"/>
                  </a:cxn>
                  <a:cxn ang="0">
                    <a:pos x="5" y="25"/>
                  </a:cxn>
                  <a:cxn ang="0">
                    <a:pos x="25" y="37"/>
                  </a:cxn>
                  <a:cxn ang="0">
                    <a:pos x="42" y="18"/>
                  </a:cxn>
                  <a:cxn ang="0">
                    <a:pos x="29" y="0"/>
                  </a:cxn>
                  <a:cxn ang="0">
                    <a:pos x="0" y="11"/>
                  </a:cxn>
                  <a:cxn ang="0">
                    <a:pos x="0" y="11"/>
                  </a:cxn>
                </a:cxnLst>
                <a:rect l="0" t="0" r="r" b="b"/>
                <a:pathLst>
                  <a:path w="43" h="38">
                    <a:moveTo>
                      <a:pt x="0" y="11"/>
                    </a:moveTo>
                    <a:lnTo>
                      <a:pt x="0" y="11"/>
                    </a:lnTo>
                    <a:lnTo>
                      <a:pt x="5" y="25"/>
                    </a:lnTo>
                    <a:lnTo>
                      <a:pt x="25" y="37"/>
                    </a:lnTo>
                    <a:lnTo>
                      <a:pt x="42" y="18"/>
                    </a:lnTo>
                    <a:lnTo>
                      <a:pt x="29" y="0"/>
                    </a:lnTo>
                    <a:lnTo>
                      <a:pt x="0" y="11"/>
                    </a:lnTo>
                    <a:lnTo>
                      <a:pt x="0" y="11"/>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4" name="Senegal">
                <a:extLst>
                  <a:ext uri="{FF2B5EF4-FFF2-40B4-BE49-F238E27FC236}">
                    <a16:creationId xmlns:a16="http://schemas.microsoft.com/office/drawing/2014/main" id="{F9D32CEB-01E0-18BB-94FF-A1A29CC3C7FD}"/>
                  </a:ext>
                </a:extLst>
              </p:cNvPr>
              <p:cNvSpPr>
                <a:spLocks noGrp="1" noRot="1" noMove="1" noResize="1" noEditPoints="1" noAdjustHandles="1" noChangeArrowheads="1" noChangeShapeType="1"/>
              </p:cNvSpPr>
              <p:nvPr/>
            </p:nvSpPr>
            <p:spPr bwMode="gray">
              <a:xfrm>
                <a:off x="4311674" y="4214879"/>
                <a:ext cx="154389" cy="119762"/>
              </a:xfrm>
              <a:custGeom>
                <a:avLst/>
                <a:gdLst/>
                <a:ahLst/>
                <a:cxnLst>
                  <a:cxn ang="0">
                    <a:pos x="0" y="24"/>
                  </a:cxn>
                  <a:cxn ang="0">
                    <a:pos x="0" y="24"/>
                  </a:cxn>
                  <a:cxn ang="0">
                    <a:pos x="13" y="38"/>
                  </a:cxn>
                  <a:cxn ang="0">
                    <a:pos x="51" y="40"/>
                  </a:cxn>
                  <a:cxn ang="0">
                    <a:pos x="11" y="45"/>
                  </a:cxn>
                  <a:cxn ang="0">
                    <a:pos x="11" y="52"/>
                  </a:cxn>
                  <a:cxn ang="0">
                    <a:pos x="52" y="49"/>
                  </a:cxn>
                  <a:cxn ang="0">
                    <a:pos x="84" y="52"/>
                  </a:cxn>
                  <a:cxn ang="0">
                    <a:pos x="74" y="24"/>
                  </a:cxn>
                  <a:cxn ang="0">
                    <a:pos x="44" y="0"/>
                  </a:cxn>
                  <a:cxn ang="0">
                    <a:pos x="13" y="7"/>
                  </a:cxn>
                  <a:cxn ang="0">
                    <a:pos x="0" y="24"/>
                  </a:cxn>
                  <a:cxn ang="0">
                    <a:pos x="0" y="24"/>
                  </a:cxn>
                </a:cxnLst>
                <a:rect l="0" t="0" r="r" b="b"/>
                <a:pathLst>
                  <a:path w="85" h="53">
                    <a:moveTo>
                      <a:pt x="0" y="24"/>
                    </a:moveTo>
                    <a:lnTo>
                      <a:pt x="0" y="24"/>
                    </a:lnTo>
                    <a:lnTo>
                      <a:pt x="13" y="38"/>
                    </a:lnTo>
                    <a:lnTo>
                      <a:pt x="51" y="40"/>
                    </a:lnTo>
                    <a:lnTo>
                      <a:pt x="11" y="45"/>
                    </a:lnTo>
                    <a:lnTo>
                      <a:pt x="11" y="52"/>
                    </a:lnTo>
                    <a:lnTo>
                      <a:pt x="52" y="49"/>
                    </a:lnTo>
                    <a:lnTo>
                      <a:pt x="84" y="52"/>
                    </a:lnTo>
                    <a:lnTo>
                      <a:pt x="74" y="24"/>
                    </a:lnTo>
                    <a:lnTo>
                      <a:pt x="44" y="0"/>
                    </a:lnTo>
                    <a:lnTo>
                      <a:pt x="13" y="7"/>
                    </a:lnTo>
                    <a:lnTo>
                      <a:pt x="0" y="24"/>
                    </a:lnTo>
                    <a:lnTo>
                      <a:pt x="0" y="24"/>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5" name="Rwanda">
                <a:extLst>
                  <a:ext uri="{FF2B5EF4-FFF2-40B4-BE49-F238E27FC236}">
                    <a16:creationId xmlns:a16="http://schemas.microsoft.com/office/drawing/2014/main" id="{B514D208-6BC0-0B8B-FB30-89D7E5113D9E}"/>
                  </a:ext>
                </a:extLst>
              </p:cNvPr>
              <p:cNvSpPr>
                <a:spLocks noGrp="1" noRot="1" noMove="1" noResize="1" noEditPoints="1" noAdjustHandles="1" noChangeArrowheads="1" noChangeShapeType="1"/>
              </p:cNvSpPr>
              <p:nvPr/>
            </p:nvSpPr>
            <p:spPr bwMode="gray">
              <a:xfrm>
                <a:off x="5465303" y="4700580"/>
                <a:ext cx="42886" cy="48792"/>
              </a:xfrm>
              <a:custGeom>
                <a:avLst/>
                <a:gdLst/>
                <a:ahLst/>
                <a:cxnLst>
                  <a:cxn ang="0">
                    <a:pos x="0" y="20"/>
                  </a:cxn>
                  <a:cxn ang="0">
                    <a:pos x="0" y="20"/>
                  </a:cxn>
                  <a:cxn ang="0">
                    <a:pos x="9" y="4"/>
                  </a:cxn>
                  <a:cxn ang="0">
                    <a:pos x="20" y="0"/>
                  </a:cxn>
                  <a:cxn ang="0">
                    <a:pos x="22" y="16"/>
                  </a:cxn>
                  <a:cxn ang="0">
                    <a:pos x="0" y="20"/>
                  </a:cxn>
                  <a:cxn ang="0">
                    <a:pos x="0" y="20"/>
                  </a:cxn>
                </a:cxnLst>
                <a:rect l="0" t="0" r="r" b="b"/>
                <a:pathLst>
                  <a:path w="23" h="21">
                    <a:moveTo>
                      <a:pt x="0" y="20"/>
                    </a:moveTo>
                    <a:lnTo>
                      <a:pt x="0" y="20"/>
                    </a:lnTo>
                    <a:lnTo>
                      <a:pt x="9" y="4"/>
                    </a:lnTo>
                    <a:lnTo>
                      <a:pt x="20" y="0"/>
                    </a:lnTo>
                    <a:lnTo>
                      <a:pt x="22" y="16"/>
                    </a:lnTo>
                    <a:lnTo>
                      <a:pt x="0" y="20"/>
                    </a:lnTo>
                    <a:lnTo>
                      <a:pt x="0" y="20"/>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6" name="Nigeria">
                <a:extLst>
                  <a:ext uri="{FF2B5EF4-FFF2-40B4-BE49-F238E27FC236}">
                    <a16:creationId xmlns:a16="http://schemas.microsoft.com/office/drawing/2014/main" id="{7B53F9E2-FB99-65C2-0F90-554EF0357718}"/>
                  </a:ext>
                </a:extLst>
              </p:cNvPr>
              <p:cNvSpPr>
                <a:spLocks noGrp="1" noRot="1" noMove="1" noResize="1" noEditPoints="1" noAdjustHandles="1" noChangeArrowheads="1" noChangeShapeType="1"/>
              </p:cNvSpPr>
              <p:nvPr/>
            </p:nvSpPr>
            <p:spPr bwMode="gray">
              <a:xfrm>
                <a:off x="4815583" y="4294720"/>
                <a:ext cx="289480" cy="268356"/>
              </a:xfrm>
              <a:custGeom>
                <a:avLst/>
                <a:gdLst/>
                <a:ahLst/>
                <a:cxnLst>
                  <a:cxn ang="0">
                    <a:pos x="0" y="92"/>
                  </a:cxn>
                  <a:cxn ang="0">
                    <a:pos x="0" y="92"/>
                  </a:cxn>
                  <a:cxn ang="0">
                    <a:pos x="10" y="27"/>
                  </a:cxn>
                  <a:cxn ang="0">
                    <a:pos x="27" y="1"/>
                  </a:cxn>
                  <a:cxn ang="0">
                    <a:pos x="89" y="14"/>
                  </a:cxn>
                  <a:cxn ang="0">
                    <a:pos x="142" y="0"/>
                  </a:cxn>
                  <a:cxn ang="0">
                    <a:pos x="152" y="16"/>
                  </a:cxn>
                  <a:cxn ang="0">
                    <a:pos x="158" y="27"/>
                  </a:cxn>
                  <a:cxn ang="0">
                    <a:pos x="144" y="36"/>
                  </a:cxn>
                  <a:cxn ang="0">
                    <a:pos x="116" y="89"/>
                  </a:cxn>
                  <a:cxn ang="0">
                    <a:pos x="90" y="85"/>
                  </a:cxn>
                  <a:cxn ang="0">
                    <a:pos x="76" y="111"/>
                  </a:cxn>
                  <a:cxn ang="0">
                    <a:pos x="45" y="119"/>
                  </a:cxn>
                  <a:cxn ang="0">
                    <a:pos x="27" y="95"/>
                  </a:cxn>
                  <a:cxn ang="0">
                    <a:pos x="0" y="92"/>
                  </a:cxn>
                  <a:cxn ang="0">
                    <a:pos x="0" y="92"/>
                  </a:cxn>
                </a:cxnLst>
                <a:rect l="0" t="0" r="r" b="b"/>
                <a:pathLst>
                  <a:path w="159" h="120">
                    <a:moveTo>
                      <a:pt x="0" y="92"/>
                    </a:moveTo>
                    <a:lnTo>
                      <a:pt x="0" y="92"/>
                    </a:lnTo>
                    <a:lnTo>
                      <a:pt x="10" y="27"/>
                    </a:lnTo>
                    <a:lnTo>
                      <a:pt x="27" y="1"/>
                    </a:lnTo>
                    <a:lnTo>
                      <a:pt x="89" y="14"/>
                    </a:lnTo>
                    <a:lnTo>
                      <a:pt x="142" y="0"/>
                    </a:lnTo>
                    <a:lnTo>
                      <a:pt x="152" y="16"/>
                    </a:lnTo>
                    <a:lnTo>
                      <a:pt x="158" y="27"/>
                    </a:lnTo>
                    <a:lnTo>
                      <a:pt x="144" y="36"/>
                    </a:lnTo>
                    <a:lnTo>
                      <a:pt x="116" y="89"/>
                    </a:lnTo>
                    <a:lnTo>
                      <a:pt x="90" y="85"/>
                    </a:lnTo>
                    <a:lnTo>
                      <a:pt x="76" y="111"/>
                    </a:lnTo>
                    <a:lnTo>
                      <a:pt x="45" y="119"/>
                    </a:lnTo>
                    <a:lnTo>
                      <a:pt x="27" y="95"/>
                    </a:lnTo>
                    <a:lnTo>
                      <a:pt x="0" y="92"/>
                    </a:lnTo>
                    <a:lnTo>
                      <a:pt x="0" y="92"/>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7" name="Niger">
                <a:extLst>
                  <a:ext uri="{FF2B5EF4-FFF2-40B4-BE49-F238E27FC236}">
                    <a16:creationId xmlns:a16="http://schemas.microsoft.com/office/drawing/2014/main" id="{F50F0F0B-71DB-4B77-E0F8-81702C2E1E6E}"/>
                  </a:ext>
                </a:extLst>
              </p:cNvPr>
              <p:cNvSpPr>
                <a:spLocks noGrp="1" noRot="1" noMove="1" noResize="1" noEditPoints="1" noAdjustHandles="1" noChangeArrowheads="1" noChangeShapeType="1"/>
              </p:cNvSpPr>
              <p:nvPr/>
            </p:nvSpPr>
            <p:spPr bwMode="gray">
              <a:xfrm>
                <a:off x="4751254" y="4019712"/>
                <a:ext cx="394550" cy="337107"/>
              </a:xfrm>
              <a:custGeom>
                <a:avLst/>
                <a:gdLst/>
                <a:ahLst/>
                <a:cxnLst>
                  <a:cxn ang="0">
                    <a:pos x="0" y="108"/>
                  </a:cxn>
                  <a:cxn ang="0">
                    <a:pos x="0" y="108"/>
                  </a:cxn>
                  <a:cxn ang="0">
                    <a:pos x="2" y="120"/>
                  </a:cxn>
                  <a:cxn ang="0">
                    <a:pos x="29" y="145"/>
                  </a:cxn>
                  <a:cxn ang="0">
                    <a:pos x="36" y="140"/>
                  </a:cxn>
                  <a:cxn ang="0">
                    <a:pos x="46" y="149"/>
                  </a:cxn>
                  <a:cxn ang="0">
                    <a:pos x="63" y="123"/>
                  </a:cxn>
                  <a:cxn ang="0">
                    <a:pos x="125" y="136"/>
                  </a:cxn>
                  <a:cxn ang="0">
                    <a:pos x="178" y="122"/>
                  </a:cxn>
                  <a:cxn ang="0">
                    <a:pos x="179" y="116"/>
                  </a:cxn>
                  <a:cxn ang="0">
                    <a:pos x="207" y="84"/>
                  </a:cxn>
                  <a:cxn ang="0">
                    <a:pos x="216" y="40"/>
                  </a:cxn>
                  <a:cxn ang="0">
                    <a:pos x="202" y="26"/>
                  </a:cxn>
                  <a:cxn ang="0">
                    <a:pos x="202" y="6"/>
                  </a:cxn>
                  <a:cxn ang="0">
                    <a:pos x="156" y="0"/>
                  </a:cxn>
                  <a:cxn ang="0">
                    <a:pos x="74" y="51"/>
                  </a:cxn>
                  <a:cxn ang="0">
                    <a:pos x="53" y="57"/>
                  </a:cxn>
                  <a:cxn ang="0">
                    <a:pos x="53" y="95"/>
                  </a:cxn>
                  <a:cxn ang="0">
                    <a:pos x="44" y="103"/>
                  </a:cxn>
                  <a:cxn ang="0">
                    <a:pos x="0" y="108"/>
                  </a:cxn>
                  <a:cxn ang="0">
                    <a:pos x="0" y="108"/>
                  </a:cxn>
                </a:cxnLst>
                <a:rect l="0" t="0" r="r" b="b"/>
                <a:pathLst>
                  <a:path w="217" h="150">
                    <a:moveTo>
                      <a:pt x="0" y="108"/>
                    </a:moveTo>
                    <a:lnTo>
                      <a:pt x="0" y="108"/>
                    </a:lnTo>
                    <a:lnTo>
                      <a:pt x="2" y="120"/>
                    </a:lnTo>
                    <a:lnTo>
                      <a:pt x="29" y="145"/>
                    </a:lnTo>
                    <a:lnTo>
                      <a:pt x="36" y="140"/>
                    </a:lnTo>
                    <a:lnTo>
                      <a:pt x="46" y="149"/>
                    </a:lnTo>
                    <a:lnTo>
                      <a:pt x="63" y="123"/>
                    </a:lnTo>
                    <a:lnTo>
                      <a:pt x="125" y="136"/>
                    </a:lnTo>
                    <a:lnTo>
                      <a:pt x="178" y="122"/>
                    </a:lnTo>
                    <a:lnTo>
                      <a:pt x="179" y="116"/>
                    </a:lnTo>
                    <a:lnTo>
                      <a:pt x="207" y="84"/>
                    </a:lnTo>
                    <a:lnTo>
                      <a:pt x="216" y="40"/>
                    </a:lnTo>
                    <a:lnTo>
                      <a:pt x="202" y="26"/>
                    </a:lnTo>
                    <a:lnTo>
                      <a:pt x="202" y="6"/>
                    </a:lnTo>
                    <a:lnTo>
                      <a:pt x="156" y="0"/>
                    </a:lnTo>
                    <a:lnTo>
                      <a:pt x="74" y="51"/>
                    </a:lnTo>
                    <a:lnTo>
                      <a:pt x="53" y="57"/>
                    </a:lnTo>
                    <a:lnTo>
                      <a:pt x="53" y="95"/>
                    </a:lnTo>
                    <a:lnTo>
                      <a:pt x="44" y="103"/>
                    </a:lnTo>
                    <a:lnTo>
                      <a:pt x="0" y="108"/>
                    </a:lnTo>
                    <a:lnTo>
                      <a:pt x="0" y="10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8" name="Nambia">
                <a:extLst>
                  <a:ext uri="{FF2B5EF4-FFF2-40B4-BE49-F238E27FC236}">
                    <a16:creationId xmlns:a16="http://schemas.microsoft.com/office/drawing/2014/main" id="{5091006A-7045-5D96-4895-4D631DD693E5}"/>
                  </a:ext>
                </a:extLst>
              </p:cNvPr>
              <p:cNvSpPr>
                <a:spLocks noGrp="1" noRot="1" noMove="1" noResize="1" noEditPoints="1" noAdjustHandles="1" noChangeArrowheads="1" noChangeShapeType="1"/>
              </p:cNvSpPr>
              <p:nvPr/>
            </p:nvSpPr>
            <p:spPr bwMode="gray">
              <a:xfrm>
                <a:off x="5032156" y="5141925"/>
                <a:ext cx="336653" cy="352632"/>
              </a:xfrm>
              <a:custGeom>
                <a:avLst/>
                <a:gdLst/>
                <a:ahLst/>
                <a:cxnLst>
                  <a:cxn ang="0">
                    <a:pos x="0" y="5"/>
                  </a:cxn>
                  <a:cxn ang="0">
                    <a:pos x="0" y="5"/>
                  </a:cxn>
                  <a:cxn ang="0">
                    <a:pos x="22" y="0"/>
                  </a:cxn>
                  <a:cxn ang="0">
                    <a:pos x="133" y="14"/>
                  </a:cxn>
                  <a:cxn ang="0">
                    <a:pos x="159" y="8"/>
                  </a:cxn>
                  <a:cxn ang="0">
                    <a:pos x="184" y="11"/>
                  </a:cxn>
                  <a:cxn ang="0">
                    <a:pos x="184" y="11"/>
                  </a:cxn>
                  <a:cxn ang="0">
                    <a:pos x="162" y="21"/>
                  </a:cxn>
                  <a:cxn ang="0">
                    <a:pos x="153" y="14"/>
                  </a:cxn>
                  <a:cxn ang="0">
                    <a:pos x="127" y="19"/>
                  </a:cxn>
                  <a:cxn ang="0">
                    <a:pos x="127" y="63"/>
                  </a:cxn>
                  <a:cxn ang="0">
                    <a:pos x="113" y="63"/>
                  </a:cxn>
                  <a:cxn ang="0">
                    <a:pos x="113" y="98"/>
                  </a:cxn>
                  <a:cxn ang="0">
                    <a:pos x="113" y="148"/>
                  </a:cxn>
                  <a:cxn ang="0">
                    <a:pos x="101" y="155"/>
                  </a:cxn>
                  <a:cxn ang="0">
                    <a:pos x="84" y="155"/>
                  </a:cxn>
                  <a:cxn ang="0">
                    <a:pos x="74" y="144"/>
                  </a:cxn>
                  <a:cxn ang="0">
                    <a:pos x="66" y="150"/>
                  </a:cxn>
                  <a:cxn ang="0">
                    <a:pos x="48" y="133"/>
                  </a:cxn>
                  <a:cxn ang="0">
                    <a:pos x="39" y="79"/>
                  </a:cxn>
                  <a:cxn ang="0">
                    <a:pos x="39" y="72"/>
                  </a:cxn>
                  <a:cxn ang="0">
                    <a:pos x="0" y="5"/>
                  </a:cxn>
                  <a:cxn ang="0">
                    <a:pos x="0" y="5"/>
                  </a:cxn>
                </a:cxnLst>
                <a:rect l="0" t="0" r="r" b="b"/>
                <a:pathLst>
                  <a:path w="185" h="156">
                    <a:moveTo>
                      <a:pt x="0" y="5"/>
                    </a:moveTo>
                    <a:lnTo>
                      <a:pt x="0" y="5"/>
                    </a:lnTo>
                    <a:lnTo>
                      <a:pt x="22" y="0"/>
                    </a:lnTo>
                    <a:lnTo>
                      <a:pt x="133" y="14"/>
                    </a:lnTo>
                    <a:lnTo>
                      <a:pt x="159" y="8"/>
                    </a:lnTo>
                    <a:lnTo>
                      <a:pt x="184" y="11"/>
                    </a:lnTo>
                    <a:lnTo>
                      <a:pt x="184" y="11"/>
                    </a:lnTo>
                    <a:lnTo>
                      <a:pt x="162" y="21"/>
                    </a:lnTo>
                    <a:lnTo>
                      <a:pt x="153" y="14"/>
                    </a:lnTo>
                    <a:lnTo>
                      <a:pt x="127" y="19"/>
                    </a:lnTo>
                    <a:lnTo>
                      <a:pt x="127" y="63"/>
                    </a:lnTo>
                    <a:lnTo>
                      <a:pt x="113" y="63"/>
                    </a:lnTo>
                    <a:lnTo>
                      <a:pt x="113" y="98"/>
                    </a:lnTo>
                    <a:lnTo>
                      <a:pt x="113" y="148"/>
                    </a:lnTo>
                    <a:lnTo>
                      <a:pt x="101" y="155"/>
                    </a:lnTo>
                    <a:lnTo>
                      <a:pt x="84" y="155"/>
                    </a:lnTo>
                    <a:lnTo>
                      <a:pt x="74" y="144"/>
                    </a:lnTo>
                    <a:lnTo>
                      <a:pt x="66" y="150"/>
                    </a:lnTo>
                    <a:lnTo>
                      <a:pt x="48" y="133"/>
                    </a:lnTo>
                    <a:lnTo>
                      <a:pt x="39" y="79"/>
                    </a:lnTo>
                    <a:lnTo>
                      <a:pt x="39" y="72"/>
                    </a:lnTo>
                    <a:lnTo>
                      <a:pt x="0" y="5"/>
                    </a:lnTo>
                    <a:lnTo>
                      <a:pt x="0" y="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9" name="Mozambique">
                <a:extLst>
                  <a:ext uri="{FF2B5EF4-FFF2-40B4-BE49-F238E27FC236}">
                    <a16:creationId xmlns:a16="http://schemas.microsoft.com/office/drawing/2014/main" id="{EF19055D-2985-3CB3-7E6E-A2456FF0E948}"/>
                  </a:ext>
                </a:extLst>
              </p:cNvPr>
              <p:cNvSpPr>
                <a:spLocks noGrp="1" noRot="1" noMove="1" noResize="1" noEditPoints="1" noAdjustHandles="1" noChangeArrowheads="1" noChangeShapeType="1"/>
              </p:cNvSpPr>
              <p:nvPr/>
            </p:nvSpPr>
            <p:spPr bwMode="gray">
              <a:xfrm>
                <a:off x="5486746" y="4962282"/>
                <a:ext cx="261603" cy="459088"/>
              </a:xfrm>
              <a:custGeom>
                <a:avLst/>
                <a:gdLst/>
                <a:ahLst/>
                <a:cxnLst>
                  <a:cxn ang="0">
                    <a:pos x="0" y="57"/>
                  </a:cxn>
                  <a:cxn ang="0">
                    <a:pos x="0" y="57"/>
                  </a:cxn>
                  <a:cxn ang="0">
                    <a:pos x="4" y="63"/>
                  </a:cxn>
                  <a:cxn ang="0">
                    <a:pos x="37" y="73"/>
                  </a:cxn>
                  <a:cxn ang="0">
                    <a:pos x="41" y="86"/>
                  </a:cxn>
                  <a:cxn ang="0">
                    <a:pos x="39" y="118"/>
                  </a:cxn>
                  <a:cxn ang="0">
                    <a:pos x="21" y="152"/>
                  </a:cxn>
                  <a:cxn ang="0">
                    <a:pos x="26" y="191"/>
                  </a:cxn>
                  <a:cxn ang="0">
                    <a:pos x="28" y="203"/>
                  </a:cxn>
                  <a:cxn ang="0">
                    <a:pos x="39" y="203"/>
                  </a:cxn>
                  <a:cxn ang="0">
                    <a:pos x="39" y="190"/>
                  </a:cxn>
                  <a:cxn ang="0">
                    <a:pos x="74" y="172"/>
                  </a:cxn>
                  <a:cxn ang="0">
                    <a:pos x="64" y="118"/>
                  </a:cxn>
                  <a:cxn ang="0">
                    <a:pos x="142" y="63"/>
                  </a:cxn>
                  <a:cxn ang="0">
                    <a:pos x="143" y="0"/>
                  </a:cxn>
                  <a:cxn ang="0">
                    <a:pos x="123" y="11"/>
                  </a:cxn>
                  <a:cxn ang="0">
                    <a:pos x="69" y="14"/>
                  </a:cxn>
                  <a:cxn ang="0">
                    <a:pos x="68" y="37"/>
                  </a:cxn>
                  <a:cxn ang="0">
                    <a:pos x="82" y="55"/>
                  </a:cxn>
                  <a:cxn ang="0">
                    <a:pos x="73" y="82"/>
                  </a:cxn>
                  <a:cxn ang="0">
                    <a:pos x="59" y="68"/>
                  </a:cxn>
                  <a:cxn ang="0">
                    <a:pos x="61" y="50"/>
                  </a:cxn>
                  <a:cxn ang="0">
                    <a:pos x="44" y="45"/>
                  </a:cxn>
                  <a:cxn ang="0">
                    <a:pos x="0" y="57"/>
                  </a:cxn>
                  <a:cxn ang="0">
                    <a:pos x="0" y="57"/>
                  </a:cxn>
                </a:cxnLst>
                <a:rect l="0" t="0" r="r" b="b"/>
                <a:pathLst>
                  <a:path w="144" h="204">
                    <a:moveTo>
                      <a:pt x="0" y="57"/>
                    </a:moveTo>
                    <a:lnTo>
                      <a:pt x="0" y="57"/>
                    </a:lnTo>
                    <a:lnTo>
                      <a:pt x="4" y="63"/>
                    </a:lnTo>
                    <a:lnTo>
                      <a:pt x="37" y="73"/>
                    </a:lnTo>
                    <a:lnTo>
                      <a:pt x="41" y="86"/>
                    </a:lnTo>
                    <a:lnTo>
                      <a:pt x="39" y="118"/>
                    </a:lnTo>
                    <a:lnTo>
                      <a:pt x="21" y="152"/>
                    </a:lnTo>
                    <a:lnTo>
                      <a:pt x="26" y="191"/>
                    </a:lnTo>
                    <a:lnTo>
                      <a:pt x="28" y="203"/>
                    </a:lnTo>
                    <a:lnTo>
                      <a:pt x="39" y="203"/>
                    </a:lnTo>
                    <a:lnTo>
                      <a:pt x="39" y="190"/>
                    </a:lnTo>
                    <a:lnTo>
                      <a:pt x="74" y="172"/>
                    </a:lnTo>
                    <a:lnTo>
                      <a:pt x="64" y="118"/>
                    </a:lnTo>
                    <a:lnTo>
                      <a:pt x="142" y="63"/>
                    </a:lnTo>
                    <a:lnTo>
                      <a:pt x="143" y="0"/>
                    </a:lnTo>
                    <a:lnTo>
                      <a:pt x="123" y="11"/>
                    </a:lnTo>
                    <a:lnTo>
                      <a:pt x="69" y="14"/>
                    </a:lnTo>
                    <a:lnTo>
                      <a:pt x="68" y="37"/>
                    </a:lnTo>
                    <a:lnTo>
                      <a:pt x="82" y="55"/>
                    </a:lnTo>
                    <a:lnTo>
                      <a:pt x="73" y="82"/>
                    </a:lnTo>
                    <a:lnTo>
                      <a:pt x="59" y="68"/>
                    </a:lnTo>
                    <a:lnTo>
                      <a:pt x="61" y="50"/>
                    </a:lnTo>
                    <a:lnTo>
                      <a:pt x="44" y="45"/>
                    </a:lnTo>
                    <a:lnTo>
                      <a:pt x="0" y="57"/>
                    </a:lnTo>
                    <a:lnTo>
                      <a:pt x="0" y="57"/>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0" name="Morocco">
                <a:extLst>
                  <a:ext uri="{FF2B5EF4-FFF2-40B4-BE49-F238E27FC236}">
                    <a16:creationId xmlns:a16="http://schemas.microsoft.com/office/drawing/2014/main" id="{B4598D7B-1910-BE03-AB29-F54FCDA85159}"/>
                  </a:ext>
                </a:extLst>
              </p:cNvPr>
              <p:cNvSpPr>
                <a:spLocks noGrp="1" noRot="1" noMove="1" noResize="1" noEditPoints="1" noAdjustHandles="1" noChangeArrowheads="1" noChangeShapeType="1"/>
              </p:cNvSpPr>
              <p:nvPr/>
            </p:nvSpPr>
            <p:spPr bwMode="gray">
              <a:xfrm>
                <a:off x="4423178" y="3655990"/>
                <a:ext cx="293768" cy="246177"/>
              </a:xfrm>
              <a:custGeom>
                <a:avLst/>
                <a:gdLst/>
                <a:ahLst/>
                <a:cxnLst>
                  <a:cxn ang="0">
                    <a:pos x="0" y="107"/>
                  </a:cxn>
                  <a:cxn ang="0">
                    <a:pos x="0" y="107"/>
                  </a:cxn>
                  <a:cxn ang="0">
                    <a:pos x="39" y="86"/>
                  </a:cxn>
                  <a:cxn ang="0">
                    <a:pos x="53" y="43"/>
                  </a:cxn>
                  <a:cxn ang="0">
                    <a:pos x="87" y="21"/>
                  </a:cxn>
                  <a:cxn ang="0">
                    <a:pos x="98" y="0"/>
                  </a:cxn>
                  <a:cxn ang="0">
                    <a:pos x="147" y="7"/>
                  </a:cxn>
                  <a:cxn ang="0">
                    <a:pos x="160" y="47"/>
                  </a:cxn>
                  <a:cxn ang="0">
                    <a:pos x="138" y="48"/>
                  </a:cxn>
                  <a:cxn ang="0">
                    <a:pos x="126" y="53"/>
                  </a:cxn>
                  <a:cxn ang="0">
                    <a:pos x="128" y="63"/>
                  </a:cxn>
                  <a:cxn ang="0">
                    <a:pos x="67" y="88"/>
                  </a:cxn>
                  <a:cxn ang="0">
                    <a:pos x="59" y="108"/>
                  </a:cxn>
                  <a:cxn ang="0">
                    <a:pos x="0" y="107"/>
                  </a:cxn>
                  <a:cxn ang="0">
                    <a:pos x="0" y="107"/>
                  </a:cxn>
                </a:cxnLst>
                <a:rect l="0" t="0" r="r" b="b"/>
                <a:pathLst>
                  <a:path w="161" h="109">
                    <a:moveTo>
                      <a:pt x="0" y="107"/>
                    </a:moveTo>
                    <a:lnTo>
                      <a:pt x="0" y="107"/>
                    </a:lnTo>
                    <a:lnTo>
                      <a:pt x="39" y="86"/>
                    </a:lnTo>
                    <a:lnTo>
                      <a:pt x="53" y="43"/>
                    </a:lnTo>
                    <a:lnTo>
                      <a:pt x="87" y="21"/>
                    </a:lnTo>
                    <a:lnTo>
                      <a:pt x="98" y="0"/>
                    </a:lnTo>
                    <a:lnTo>
                      <a:pt x="147" y="7"/>
                    </a:lnTo>
                    <a:lnTo>
                      <a:pt x="160" y="47"/>
                    </a:lnTo>
                    <a:lnTo>
                      <a:pt x="138" y="48"/>
                    </a:lnTo>
                    <a:lnTo>
                      <a:pt x="126" y="53"/>
                    </a:lnTo>
                    <a:lnTo>
                      <a:pt x="128" y="63"/>
                    </a:lnTo>
                    <a:lnTo>
                      <a:pt x="67" y="88"/>
                    </a:lnTo>
                    <a:lnTo>
                      <a:pt x="59" y="108"/>
                    </a:lnTo>
                    <a:lnTo>
                      <a:pt x="0" y="107"/>
                    </a:lnTo>
                    <a:lnTo>
                      <a:pt x="0" y="107"/>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1" name="Mauritania">
                <a:extLst>
                  <a:ext uri="{FF2B5EF4-FFF2-40B4-BE49-F238E27FC236}">
                    <a16:creationId xmlns:a16="http://schemas.microsoft.com/office/drawing/2014/main" id="{105AFC9C-0C55-D9EF-38C1-E016C295BE37}"/>
                  </a:ext>
                </a:extLst>
              </p:cNvPr>
              <p:cNvSpPr>
                <a:spLocks noGrp="1" noRot="1" noMove="1" noResize="1" noEditPoints="1" noAdjustHandles="1" noChangeArrowheads="1" noChangeShapeType="1"/>
              </p:cNvSpPr>
              <p:nvPr/>
            </p:nvSpPr>
            <p:spPr bwMode="gray">
              <a:xfrm>
                <a:off x="4326685" y="3908820"/>
                <a:ext cx="300201" cy="361503"/>
              </a:xfrm>
              <a:custGeom>
                <a:avLst/>
                <a:gdLst/>
                <a:ahLst/>
                <a:cxnLst>
                  <a:cxn ang="0">
                    <a:pos x="0" y="81"/>
                  </a:cxn>
                  <a:cxn ang="0">
                    <a:pos x="0" y="81"/>
                  </a:cxn>
                  <a:cxn ang="0">
                    <a:pos x="10" y="90"/>
                  </a:cxn>
                  <a:cxn ang="0">
                    <a:pos x="13" y="113"/>
                  </a:cxn>
                  <a:cxn ang="0">
                    <a:pos x="5" y="143"/>
                  </a:cxn>
                  <a:cxn ang="0">
                    <a:pos x="36" y="136"/>
                  </a:cxn>
                  <a:cxn ang="0">
                    <a:pos x="66" y="160"/>
                  </a:cxn>
                  <a:cxn ang="0">
                    <a:pos x="76" y="146"/>
                  </a:cxn>
                  <a:cxn ang="0">
                    <a:pos x="86" y="154"/>
                  </a:cxn>
                  <a:cxn ang="0">
                    <a:pos x="155" y="151"/>
                  </a:cxn>
                  <a:cxn ang="0">
                    <a:pos x="141" y="31"/>
                  </a:cxn>
                  <a:cxn ang="0">
                    <a:pos x="165" y="31"/>
                  </a:cxn>
                  <a:cxn ang="0">
                    <a:pos x="114" y="0"/>
                  </a:cxn>
                  <a:cxn ang="0">
                    <a:pos x="113" y="17"/>
                  </a:cxn>
                  <a:cxn ang="0">
                    <a:pos x="70" y="16"/>
                  </a:cxn>
                  <a:cxn ang="0">
                    <a:pos x="69" y="49"/>
                  </a:cxn>
                  <a:cxn ang="0">
                    <a:pos x="53" y="55"/>
                  </a:cxn>
                  <a:cxn ang="0">
                    <a:pos x="55" y="75"/>
                  </a:cxn>
                  <a:cxn ang="0">
                    <a:pos x="0" y="81"/>
                  </a:cxn>
                  <a:cxn ang="0">
                    <a:pos x="0" y="81"/>
                  </a:cxn>
                </a:cxnLst>
                <a:rect l="0" t="0" r="r" b="b"/>
                <a:pathLst>
                  <a:path w="166" h="161">
                    <a:moveTo>
                      <a:pt x="0" y="81"/>
                    </a:moveTo>
                    <a:lnTo>
                      <a:pt x="0" y="81"/>
                    </a:lnTo>
                    <a:lnTo>
                      <a:pt x="10" y="90"/>
                    </a:lnTo>
                    <a:lnTo>
                      <a:pt x="13" y="113"/>
                    </a:lnTo>
                    <a:lnTo>
                      <a:pt x="5" y="143"/>
                    </a:lnTo>
                    <a:lnTo>
                      <a:pt x="36" y="136"/>
                    </a:lnTo>
                    <a:lnTo>
                      <a:pt x="66" y="160"/>
                    </a:lnTo>
                    <a:lnTo>
                      <a:pt x="76" y="146"/>
                    </a:lnTo>
                    <a:lnTo>
                      <a:pt x="86" y="154"/>
                    </a:lnTo>
                    <a:lnTo>
                      <a:pt x="155" y="151"/>
                    </a:lnTo>
                    <a:lnTo>
                      <a:pt x="141" y="31"/>
                    </a:lnTo>
                    <a:lnTo>
                      <a:pt x="165" y="31"/>
                    </a:lnTo>
                    <a:lnTo>
                      <a:pt x="114" y="0"/>
                    </a:lnTo>
                    <a:lnTo>
                      <a:pt x="113" y="17"/>
                    </a:lnTo>
                    <a:lnTo>
                      <a:pt x="70" y="16"/>
                    </a:lnTo>
                    <a:lnTo>
                      <a:pt x="69" y="49"/>
                    </a:lnTo>
                    <a:lnTo>
                      <a:pt x="53" y="55"/>
                    </a:lnTo>
                    <a:lnTo>
                      <a:pt x="55" y="75"/>
                    </a:lnTo>
                    <a:lnTo>
                      <a:pt x="0" y="81"/>
                    </a:lnTo>
                    <a:lnTo>
                      <a:pt x="0" y="81"/>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2" name="Mali">
                <a:extLst>
                  <a:ext uri="{FF2B5EF4-FFF2-40B4-BE49-F238E27FC236}">
                    <a16:creationId xmlns:a16="http://schemas.microsoft.com/office/drawing/2014/main" id="{6F3E3764-F27C-E386-C214-1ABCE1048A07}"/>
                  </a:ext>
                </a:extLst>
              </p:cNvPr>
              <p:cNvSpPr>
                <a:spLocks noGrp="1" noRot="1" noMove="1" noResize="1" noEditPoints="1" noAdjustHandles="1" noChangeArrowheads="1" noChangeShapeType="1"/>
              </p:cNvSpPr>
              <p:nvPr/>
            </p:nvSpPr>
            <p:spPr bwMode="gray">
              <a:xfrm>
                <a:off x="4446765" y="3977573"/>
                <a:ext cx="403126" cy="419167"/>
              </a:xfrm>
              <a:custGeom>
                <a:avLst/>
                <a:gdLst/>
                <a:ahLst/>
                <a:cxnLst>
                  <a:cxn ang="0">
                    <a:pos x="0" y="129"/>
                  </a:cxn>
                  <a:cxn ang="0">
                    <a:pos x="0" y="129"/>
                  </a:cxn>
                  <a:cxn ang="0">
                    <a:pos x="10" y="115"/>
                  </a:cxn>
                  <a:cxn ang="0">
                    <a:pos x="20" y="123"/>
                  </a:cxn>
                  <a:cxn ang="0">
                    <a:pos x="89" y="120"/>
                  </a:cxn>
                  <a:cxn ang="0">
                    <a:pos x="75" y="0"/>
                  </a:cxn>
                  <a:cxn ang="0">
                    <a:pos x="99" y="0"/>
                  </a:cxn>
                  <a:cxn ang="0">
                    <a:pos x="209" y="65"/>
                  </a:cxn>
                  <a:cxn ang="0">
                    <a:pos x="210" y="76"/>
                  </a:cxn>
                  <a:cxn ang="0">
                    <a:pos x="221" y="75"/>
                  </a:cxn>
                  <a:cxn ang="0">
                    <a:pos x="221" y="113"/>
                  </a:cxn>
                  <a:cxn ang="0">
                    <a:pos x="212" y="121"/>
                  </a:cxn>
                  <a:cxn ang="0">
                    <a:pos x="168" y="126"/>
                  </a:cxn>
                  <a:cxn ang="0">
                    <a:pos x="111" y="148"/>
                  </a:cxn>
                  <a:cxn ang="0">
                    <a:pos x="94" y="183"/>
                  </a:cxn>
                  <a:cxn ang="0">
                    <a:pos x="80" y="178"/>
                  </a:cxn>
                  <a:cxn ang="0">
                    <a:pos x="56" y="185"/>
                  </a:cxn>
                  <a:cxn ang="0">
                    <a:pos x="42" y="156"/>
                  </a:cxn>
                  <a:cxn ang="0">
                    <a:pos x="19" y="163"/>
                  </a:cxn>
                  <a:cxn ang="0">
                    <a:pos x="10" y="157"/>
                  </a:cxn>
                  <a:cxn ang="0">
                    <a:pos x="0" y="129"/>
                  </a:cxn>
                  <a:cxn ang="0">
                    <a:pos x="0" y="129"/>
                  </a:cxn>
                </a:cxnLst>
                <a:rect l="0" t="0" r="r" b="b"/>
                <a:pathLst>
                  <a:path w="222" h="186">
                    <a:moveTo>
                      <a:pt x="0" y="129"/>
                    </a:moveTo>
                    <a:lnTo>
                      <a:pt x="0" y="129"/>
                    </a:lnTo>
                    <a:lnTo>
                      <a:pt x="10" y="115"/>
                    </a:lnTo>
                    <a:lnTo>
                      <a:pt x="20" y="123"/>
                    </a:lnTo>
                    <a:lnTo>
                      <a:pt x="89" y="120"/>
                    </a:lnTo>
                    <a:lnTo>
                      <a:pt x="75" y="0"/>
                    </a:lnTo>
                    <a:lnTo>
                      <a:pt x="99" y="0"/>
                    </a:lnTo>
                    <a:lnTo>
                      <a:pt x="209" y="65"/>
                    </a:lnTo>
                    <a:lnTo>
                      <a:pt x="210" y="76"/>
                    </a:lnTo>
                    <a:lnTo>
                      <a:pt x="221" y="75"/>
                    </a:lnTo>
                    <a:lnTo>
                      <a:pt x="221" y="113"/>
                    </a:lnTo>
                    <a:lnTo>
                      <a:pt x="212" y="121"/>
                    </a:lnTo>
                    <a:lnTo>
                      <a:pt x="168" y="126"/>
                    </a:lnTo>
                    <a:lnTo>
                      <a:pt x="111" y="148"/>
                    </a:lnTo>
                    <a:lnTo>
                      <a:pt x="94" y="183"/>
                    </a:lnTo>
                    <a:lnTo>
                      <a:pt x="80" y="178"/>
                    </a:lnTo>
                    <a:lnTo>
                      <a:pt x="56" y="185"/>
                    </a:lnTo>
                    <a:lnTo>
                      <a:pt x="42" y="156"/>
                    </a:lnTo>
                    <a:lnTo>
                      <a:pt x="19" y="163"/>
                    </a:lnTo>
                    <a:lnTo>
                      <a:pt x="10" y="157"/>
                    </a:lnTo>
                    <a:lnTo>
                      <a:pt x="0" y="129"/>
                    </a:lnTo>
                    <a:lnTo>
                      <a:pt x="0" y="129"/>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3" name="Malawi">
                <a:extLst>
                  <a:ext uri="{FF2B5EF4-FFF2-40B4-BE49-F238E27FC236}">
                    <a16:creationId xmlns:a16="http://schemas.microsoft.com/office/drawing/2014/main" id="{CB871596-FC30-B4C5-0B57-EEA20A87D5AA}"/>
                  </a:ext>
                </a:extLst>
              </p:cNvPr>
              <p:cNvSpPr>
                <a:spLocks noGrp="1" noRot="1" noMove="1" noResize="1" noEditPoints="1" noAdjustHandles="1" noChangeArrowheads="1" noChangeShapeType="1"/>
              </p:cNvSpPr>
              <p:nvPr/>
            </p:nvSpPr>
            <p:spPr bwMode="gray">
              <a:xfrm>
                <a:off x="5557507" y="4933450"/>
                <a:ext cx="81482" cy="217346"/>
              </a:xfrm>
              <a:custGeom>
                <a:avLst/>
                <a:gdLst/>
                <a:ahLst/>
                <a:cxnLst>
                  <a:cxn ang="0">
                    <a:pos x="0" y="52"/>
                  </a:cxn>
                  <a:cxn ang="0">
                    <a:pos x="0" y="52"/>
                  </a:cxn>
                  <a:cxn ang="0">
                    <a:pos x="6" y="58"/>
                  </a:cxn>
                  <a:cxn ang="0">
                    <a:pos x="23" y="63"/>
                  </a:cxn>
                  <a:cxn ang="0">
                    <a:pos x="21" y="81"/>
                  </a:cxn>
                  <a:cxn ang="0">
                    <a:pos x="35" y="95"/>
                  </a:cxn>
                  <a:cxn ang="0">
                    <a:pos x="44" y="68"/>
                  </a:cxn>
                  <a:cxn ang="0">
                    <a:pos x="30" y="50"/>
                  </a:cxn>
                  <a:cxn ang="0">
                    <a:pos x="34" y="61"/>
                  </a:cxn>
                  <a:cxn ang="0">
                    <a:pos x="26" y="60"/>
                  </a:cxn>
                  <a:cxn ang="0">
                    <a:pos x="17" y="35"/>
                  </a:cxn>
                  <a:cxn ang="0">
                    <a:pos x="16" y="3"/>
                  </a:cxn>
                  <a:cxn ang="0">
                    <a:pos x="3" y="0"/>
                  </a:cxn>
                  <a:cxn ang="0">
                    <a:pos x="14" y="16"/>
                  </a:cxn>
                  <a:cxn ang="0">
                    <a:pos x="0" y="52"/>
                  </a:cxn>
                  <a:cxn ang="0">
                    <a:pos x="0" y="52"/>
                  </a:cxn>
                </a:cxnLst>
                <a:rect l="0" t="0" r="r" b="b"/>
                <a:pathLst>
                  <a:path w="45" h="96">
                    <a:moveTo>
                      <a:pt x="0" y="52"/>
                    </a:moveTo>
                    <a:lnTo>
                      <a:pt x="0" y="52"/>
                    </a:lnTo>
                    <a:lnTo>
                      <a:pt x="6" y="58"/>
                    </a:lnTo>
                    <a:lnTo>
                      <a:pt x="23" y="63"/>
                    </a:lnTo>
                    <a:lnTo>
                      <a:pt x="21" y="81"/>
                    </a:lnTo>
                    <a:lnTo>
                      <a:pt x="35" y="95"/>
                    </a:lnTo>
                    <a:lnTo>
                      <a:pt x="44" y="68"/>
                    </a:lnTo>
                    <a:lnTo>
                      <a:pt x="30" y="50"/>
                    </a:lnTo>
                    <a:lnTo>
                      <a:pt x="34" y="61"/>
                    </a:lnTo>
                    <a:lnTo>
                      <a:pt x="26" y="60"/>
                    </a:lnTo>
                    <a:lnTo>
                      <a:pt x="17" y="35"/>
                    </a:lnTo>
                    <a:lnTo>
                      <a:pt x="16" y="3"/>
                    </a:lnTo>
                    <a:lnTo>
                      <a:pt x="3" y="0"/>
                    </a:lnTo>
                    <a:lnTo>
                      <a:pt x="14" y="16"/>
                    </a:lnTo>
                    <a:lnTo>
                      <a:pt x="0" y="52"/>
                    </a:lnTo>
                    <a:lnTo>
                      <a:pt x="0" y="52"/>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4" name="Madagascar">
                <a:extLst>
                  <a:ext uri="{FF2B5EF4-FFF2-40B4-BE49-F238E27FC236}">
                    <a16:creationId xmlns:a16="http://schemas.microsoft.com/office/drawing/2014/main" id="{2ED6537D-A9E6-82C7-BDAD-891301AE347A}"/>
                  </a:ext>
                </a:extLst>
              </p:cNvPr>
              <p:cNvSpPr>
                <a:spLocks noGrp="1" noRot="1" noMove="1" noResize="1" noEditPoints="1" noAdjustHandles="1" noChangeArrowheads="1" noChangeShapeType="1"/>
              </p:cNvSpPr>
              <p:nvPr/>
            </p:nvSpPr>
            <p:spPr bwMode="gray">
              <a:xfrm>
                <a:off x="5812678" y="5011073"/>
                <a:ext cx="175832" cy="381464"/>
              </a:xfrm>
              <a:custGeom>
                <a:avLst/>
                <a:gdLst/>
                <a:ahLst/>
                <a:cxnLst>
                  <a:cxn ang="0">
                    <a:pos x="0" y="121"/>
                  </a:cxn>
                  <a:cxn ang="0">
                    <a:pos x="0" y="121"/>
                  </a:cxn>
                  <a:cxn ang="0">
                    <a:pos x="8" y="155"/>
                  </a:cxn>
                  <a:cxn ang="0">
                    <a:pos x="26" y="169"/>
                  </a:cxn>
                  <a:cxn ang="0">
                    <a:pos x="56" y="155"/>
                  </a:cxn>
                  <a:cxn ang="0">
                    <a:pos x="90" y="40"/>
                  </a:cxn>
                  <a:cxn ang="0">
                    <a:pos x="96" y="43"/>
                  </a:cxn>
                  <a:cxn ang="0">
                    <a:pos x="81" y="0"/>
                  </a:cxn>
                  <a:cxn ang="0">
                    <a:pos x="64" y="18"/>
                  </a:cxn>
                  <a:cxn ang="0">
                    <a:pos x="64" y="31"/>
                  </a:cxn>
                  <a:cxn ang="0">
                    <a:pos x="43" y="45"/>
                  </a:cxn>
                  <a:cxn ang="0">
                    <a:pos x="17" y="51"/>
                  </a:cxn>
                  <a:cxn ang="0">
                    <a:pos x="9" y="65"/>
                  </a:cxn>
                  <a:cxn ang="0">
                    <a:pos x="17" y="96"/>
                  </a:cxn>
                  <a:cxn ang="0">
                    <a:pos x="0" y="121"/>
                  </a:cxn>
                  <a:cxn ang="0">
                    <a:pos x="0" y="121"/>
                  </a:cxn>
                </a:cxnLst>
                <a:rect l="0" t="0" r="r" b="b"/>
                <a:pathLst>
                  <a:path w="97" h="170">
                    <a:moveTo>
                      <a:pt x="0" y="121"/>
                    </a:moveTo>
                    <a:lnTo>
                      <a:pt x="0" y="121"/>
                    </a:lnTo>
                    <a:lnTo>
                      <a:pt x="8" y="155"/>
                    </a:lnTo>
                    <a:lnTo>
                      <a:pt x="26" y="169"/>
                    </a:lnTo>
                    <a:lnTo>
                      <a:pt x="56" y="155"/>
                    </a:lnTo>
                    <a:lnTo>
                      <a:pt x="90" y="40"/>
                    </a:lnTo>
                    <a:lnTo>
                      <a:pt x="96" y="43"/>
                    </a:lnTo>
                    <a:lnTo>
                      <a:pt x="81" y="0"/>
                    </a:lnTo>
                    <a:lnTo>
                      <a:pt x="64" y="18"/>
                    </a:lnTo>
                    <a:lnTo>
                      <a:pt x="64" y="31"/>
                    </a:lnTo>
                    <a:lnTo>
                      <a:pt x="43" y="45"/>
                    </a:lnTo>
                    <a:lnTo>
                      <a:pt x="17" y="51"/>
                    </a:lnTo>
                    <a:lnTo>
                      <a:pt x="9" y="65"/>
                    </a:lnTo>
                    <a:lnTo>
                      <a:pt x="17" y="96"/>
                    </a:lnTo>
                    <a:lnTo>
                      <a:pt x="0" y="121"/>
                    </a:lnTo>
                    <a:lnTo>
                      <a:pt x="0" y="121"/>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5" name="Libya">
                <a:extLst>
                  <a:ext uri="{FF2B5EF4-FFF2-40B4-BE49-F238E27FC236}">
                    <a16:creationId xmlns:a16="http://schemas.microsoft.com/office/drawing/2014/main" id="{3D057003-5922-51EA-96D3-9472A2E7B89F}"/>
                  </a:ext>
                </a:extLst>
              </p:cNvPr>
              <p:cNvSpPr>
                <a:spLocks noGrp="1" noRot="1" noMove="1" noResize="1" noEditPoints="1" noAdjustHandles="1" noChangeArrowheads="1" noChangeShapeType="1"/>
              </p:cNvSpPr>
              <p:nvPr/>
            </p:nvSpPr>
            <p:spPr bwMode="gray">
              <a:xfrm>
                <a:off x="4978549" y="3735831"/>
                <a:ext cx="388117" cy="401424"/>
              </a:xfrm>
              <a:custGeom>
                <a:avLst/>
                <a:gdLst/>
                <a:ahLst/>
                <a:cxnLst>
                  <a:cxn ang="0">
                    <a:pos x="0" y="93"/>
                  </a:cxn>
                  <a:cxn ang="0">
                    <a:pos x="0" y="93"/>
                  </a:cxn>
                  <a:cxn ang="0">
                    <a:pos x="0" y="38"/>
                  </a:cxn>
                  <a:cxn ang="0">
                    <a:pos x="27" y="0"/>
                  </a:cxn>
                  <a:cxn ang="0">
                    <a:pos x="77" y="10"/>
                  </a:cxn>
                  <a:cxn ang="0">
                    <a:pos x="87" y="23"/>
                  </a:cxn>
                  <a:cxn ang="0">
                    <a:pos x="128" y="38"/>
                  </a:cxn>
                  <a:cxn ang="0">
                    <a:pos x="142" y="32"/>
                  </a:cxn>
                  <a:cxn ang="0">
                    <a:pos x="143" y="13"/>
                  </a:cxn>
                  <a:cxn ang="0">
                    <a:pos x="156" y="4"/>
                  </a:cxn>
                  <a:cxn ang="0">
                    <a:pos x="213" y="20"/>
                  </a:cxn>
                  <a:cxn ang="0">
                    <a:pos x="207" y="41"/>
                  </a:cxn>
                  <a:cxn ang="0">
                    <a:pos x="213" y="145"/>
                  </a:cxn>
                  <a:cxn ang="0">
                    <a:pos x="213" y="170"/>
                  </a:cxn>
                  <a:cxn ang="0">
                    <a:pos x="200" y="170"/>
                  </a:cxn>
                  <a:cxn ang="0">
                    <a:pos x="200" y="177"/>
                  </a:cxn>
                  <a:cxn ang="0">
                    <a:pos x="91" y="127"/>
                  </a:cxn>
                  <a:cxn ang="0">
                    <a:pos x="77" y="132"/>
                  </a:cxn>
                  <a:cxn ang="0">
                    <a:pos x="31" y="126"/>
                  </a:cxn>
                  <a:cxn ang="0">
                    <a:pos x="0" y="93"/>
                  </a:cxn>
                  <a:cxn ang="0">
                    <a:pos x="0" y="93"/>
                  </a:cxn>
                </a:cxnLst>
                <a:rect l="0" t="0" r="r" b="b"/>
                <a:pathLst>
                  <a:path w="214" h="178">
                    <a:moveTo>
                      <a:pt x="0" y="93"/>
                    </a:moveTo>
                    <a:lnTo>
                      <a:pt x="0" y="93"/>
                    </a:lnTo>
                    <a:lnTo>
                      <a:pt x="0" y="38"/>
                    </a:lnTo>
                    <a:lnTo>
                      <a:pt x="27" y="0"/>
                    </a:lnTo>
                    <a:lnTo>
                      <a:pt x="77" y="10"/>
                    </a:lnTo>
                    <a:lnTo>
                      <a:pt x="87" y="23"/>
                    </a:lnTo>
                    <a:lnTo>
                      <a:pt x="128" y="38"/>
                    </a:lnTo>
                    <a:lnTo>
                      <a:pt x="142" y="32"/>
                    </a:lnTo>
                    <a:lnTo>
                      <a:pt x="143" y="13"/>
                    </a:lnTo>
                    <a:lnTo>
                      <a:pt x="156" y="4"/>
                    </a:lnTo>
                    <a:lnTo>
                      <a:pt x="213" y="20"/>
                    </a:lnTo>
                    <a:lnTo>
                      <a:pt x="207" y="41"/>
                    </a:lnTo>
                    <a:lnTo>
                      <a:pt x="213" y="145"/>
                    </a:lnTo>
                    <a:lnTo>
                      <a:pt x="213" y="170"/>
                    </a:lnTo>
                    <a:lnTo>
                      <a:pt x="200" y="170"/>
                    </a:lnTo>
                    <a:lnTo>
                      <a:pt x="200" y="177"/>
                    </a:lnTo>
                    <a:lnTo>
                      <a:pt x="91" y="127"/>
                    </a:lnTo>
                    <a:lnTo>
                      <a:pt x="77" y="132"/>
                    </a:lnTo>
                    <a:lnTo>
                      <a:pt x="31" y="126"/>
                    </a:lnTo>
                    <a:lnTo>
                      <a:pt x="0" y="93"/>
                    </a:lnTo>
                    <a:lnTo>
                      <a:pt x="0" y="93"/>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6" name="Liberia">
                <a:extLst>
                  <a:ext uri="{FF2B5EF4-FFF2-40B4-BE49-F238E27FC236}">
                    <a16:creationId xmlns:a16="http://schemas.microsoft.com/office/drawing/2014/main" id="{7F59BCF9-9D1A-38C2-8C8E-FC5382F07927}"/>
                  </a:ext>
                </a:extLst>
              </p:cNvPr>
              <p:cNvSpPr>
                <a:spLocks noGrp="1" noRot="1" noMove="1" noResize="1" noEditPoints="1" noAdjustHandles="1" noChangeArrowheads="1" noChangeShapeType="1"/>
              </p:cNvSpPr>
              <p:nvPr/>
            </p:nvSpPr>
            <p:spPr bwMode="gray">
              <a:xfrm>
                <a:off x="4461776" y="4443313"/>
                <a:ext cx="100782" cy="110890"/>
              </a:xfrm>
              <a:custGeom>
                <a:avLst/>
                <a:gdLst/>
                <a:ahLst/>
                <a:cxnLst>
                  <a:cxn ang="0">
                    <a:pos x="0" y="19"/>
                  </a:cxn>
                  <a:cxn ang="0">
                    <a:pos x="0" y="19"/>
                  </a:cxn>
                  <a:cxn ang="0">
                    <a:pos x="17" y="0"/>
                  </a:cxn>
                  <a:cxn ang="0">
                    <a:pos x="25" y="1"/>
                  </a:cxn>
                  <a:cxn ang="0">
                    <a:pos x="26" y="13"/>
                  </a:cxn>
                  <a:cxn ang="0">
                    <a:pos x="41" y="12"/>
                  </a:cxn>
                  <a:cxn ang="0">
                    <a:pos x="39" y="23"/>
                  </a:cxn>
                  <a:cxn ang="0">
                    <a:pos x="54" y="32"/>
                  </a:cxn>
                  <a:cxn ang="0">
                    <a:pos x="52" y="49"/>
                  </a:cxn>
                  <a:cxn ang="0">
                    <a:pos x="0" y="19"/>
                  </a:cxn>
                  <a:cxn ang="0">
                    <a:pos x="0" y="19"/>
                  </a:cxn>
                </a:cxnLst>
                <a:rect l="0" t="0" r="r" b="b"/>
                <a:pathLst>
                  <a:path w="55" h="50">
                    <a:moveTo>
                      <a:pt x="0" y="19"/>
                    </a:moveTo>
                    <a:lnTo>
                      <a:pt x="0" y="19"/>
                    </a:lnTo>
                    <a:lnTo>
                      <a:pt x="17" y="0"/>
                    </a:lnTo>
                    <a:lnTo>
                      <a:pt x="25" y="1"/>
                    </a:lnTo>
                    <a:lnTo>
                      <a:pt x="26" y="13"/>
                    </a:lnTo>
                    <a:lnTo>
                      <a:pt x="41" y="12"/>
                    </a:lnTo>
                    <a:lnTo>
                      <a:pt x="39" y="23"/>
                    </a:lnTo>
                    <a:lnTo>
                      <a:pt x="54" y="32"/>
                    </a:lnTo>
                    <a:lnTo>
                      <a:pt x="52" y="49"/>
                    </a:lnTo>
                    <a:lnTo>
                      <a:pt x="0" y="19"/>
                    </a:lnTo>
                    <a:lnTo>
                      <a:pt x="0" y="19"/>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7" name="Lesotho">
                <a:extLst>
                  <a:ext uri="{FF2B5EF4-FFF2-40B4-BE49-F238E27FC236}">
                    <a16:creationId xmlns:a16="http://schemas.microsoft.com/office/drawing/2014/main" id="{601ABDAB-5C68-1AAB-C00A-9118D47C4910}"/>
                  </a:ext>
                </a:extLst>
              </p:cNvPr>
              <p:cNvSpPr>
                <a:spLocks noGrp="1" noRot="1" noMove="1" noResize="1" noEditPoints="1" noAdjustHandles="1" noChangeArrowheads="1" noChangeShapeType="1"/>
              </p:cNvSpPr>
              <p:nvPr/>
            </p:nvSpPr>
            <p:spPr bwMode="gray">
              <a:xfrm>
                <a:off x="5413841" y="5485685"/>
                <a:ext cx="60041" cy="66535"/>
              </a:xfrm>
              <a:custGeom>
                <a:avLst/>
                <a:gdLst/>
                <a:ahLst/>
                <a:cxnLst>
                  <a:cxn ang="0">
                    <a:pos x="0" y="14"/>
                  </a:cxn>
                  <a:cxn ang="0">
                    <a:pos x="0" y="14"/>
                  </a:cxn>
                  <a:cxn ang="0">
                    <a:pos x="12" y="29"/>
                  </a:cxn>
                  <a:cxn ang="0">
                    <a:pos x="32" y="14"/>
                  </a:cxn>
                  <a:cxn ang="0">
                    <a:pos x="23" y="0"/>
                  </a:cxn>
                  <a:cxn ang="0">
                    <a:pos x="0" y="14"/>
                  </a:cxn>
                  <a:cxn ang="0">
                    <a:pos x="0" y="14"/>
                  </a:cxn>
                </a:cxnLst>
                <a:rect l="0" t="0" r="r" b="b"/>
                <a:pathLst>
                  <a:path w="33" h="30">
                    <a:moveTo>
                      <a:pt x="0" y="14"/>
                    </a:moveTo>
                    <a:lnTo>
                      <a:pt x="0" y="14"/>
                    </a:lnTo>
                    <a:lnTo>
                      <a:pt x="12" y="29"/>
                    </a:lnTo>
                    <a:lnTo>
                      <a:pt x="32" y="14"/>
                    </a:lnTo>
                    <a:lnTo>
                      <a:pt x="23" y="0"/>
                    </a:lnTo>
                    <a:lnTo>
                      <a:pt x="0" y="14"/>
                    </a:lnTo>
                    <a:lnTo>
                      <a:pt x="0" y="14"/>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8" name="Kenya">
                <a:extLst>
                  <a:ext uri="{FF2B5EF4-FFF2-40B4-BE49-F238E27FC236}">
                    <a16:creationId xmlns:a16="http://schemas.microsoft.com/office/drawing/2014/main" id="{A37273C1-5D58-40AB-5C25-6C85C2B10179}"/>
                  </a:ext>
                </a:extLst>
              </p:cNvPr>
              <p:cNvSpPr>
                <a:spLocks noGrp="1" noRot="1" noMove="1" noResize="1" noEditPoints="1" noAdjustHandles="1" noChangeArrowheads="1" noChangeShapeType="1"/>
              </p:cNvSpPr>
              <p:nvPr/>
            </p:nvSpPr>
            <p:spPr bwMode="gray">
              <a:xfrm>
                <a:off x="5587528" y="4547551"/>
                <a:ext cx="195130" cy="257267"/>
              </a:xfrm>
              <a:custGeom>
                <a:avLst/>
                <a:gdLst/>
                <a:ahLst/>
                <a:cxnLst>
                  <a:cxn ang="0">
                    <a:pos x="0" y="7"/>
                  </a:cxn>
                  <a:cxn ang="0">
                    <a:pos x="0" y="7"/>
                  </a:cxn>
                  <a:cxn ang="0">
                    <a:pos x="15" y="31"/>
                  </a:cxn>
                  <a:cxn ang="0">
                    <a:pos x="0" y="53"/>
                  </a:cxn>
                  <a:cxn ang="0">
                    <a:pos x="11" y="59"/>
                  </a:cxn>
                  <a:cxn ang="0">
                    <a:pos x="3" y="67"/>
                  </a:cxn>
                  <a:cxn ang="0">
                    <a:pos x="73" y="113"/>
                  </a:cxn>
                  <a:cxn ang="0">
                    <a:pos x="103" y="76"/>
                  </a:cxn>
                  <a:cxn ang="0">
                    <a:pos x="96" y="66"/>
                  </a:cxn>
                  <a:cxn ang="0">
                    <a:pos x="96" y="21"/>
                  </a:cxn>
                  <a:cxn ang="0">
                    <a:pos x="107" y="8"/>
                  </a:cxn>
                  <a:cxn ang="0">
                    <a:pos x="68" y="14"/>
                  </a:cxn>
                  <a:cxn ang="0">
                    <a:pos x="25" y="0"/>
                  </a:cxn>
                  <a:cxn ang="0">
                    <a:pos x="0" y="7"/>
                  </a:cxn>
                  <a:cxn ang="0">
                    <a:pos x="0" y="7"/>
                  </a:cxn>
                </a:cxnLst>
                <a:rect l="0" t="0" r="r" b="b"/>
                <a:pathLst>
                  <a:path w="108" h="114">
                    <a:moveTo>
                      <a:pt x="0" y="7"/>
                    </a:moveTo>
                    <a:lnTo>
                      <a:pt x="0" y="7"/>
                    </a:lnTo>
                    <a:lnTo>
                      <a:pt x="15" y="31"/>
                    </a:lnTo>
                    <a:lnTo>
                      <a:pt x="0" y="53"/>
                    </a:lnTo>
                    <a:lnTo>
                      <a:pt x="11" y="59"/>
                    </a:lnTo>
                    <a:lnTo>
                      <a:pt x="3" y="67"/>
                    </a:lnTo>
                    <a:lnTo>
                      <a:pt x="73" y="113"/>
                    </a:lnTo>
                    <a:lnTo>
                      <a:pt x="103" y="76"/>
                    </a:lnTo>
                    <a:lnTo>
                      <a:pt x="96" y="66"/>
                    </a:lnTo>
                    <a:lnTo>
                      <a:pt x="96" y="21"/>
                    </a:lnTo>
                    <a:lnTo>
                      <a:pt x="107" y="8"/>
                    </a:lnTo>
                    <a:lnTo>
                      <a:pt x="68" y="14"/>
                    </a:lnTo>
                    <a:lnTo>
                      <a:pt x="25" y="0"/>
                    </a:lnTo>
                    <a:lnTo>
                      <a:pt x="0" y="7"/>
                    </a:lnTo>
                    <a:lnTo>
                      <a:pt x="0" y="7"/>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9" name="Guinea Bissau">
                <a:extLst>
                  <a:ext uri="{FF2B5EF4-FFF2-40B4-BE49-F238E27FC236}">
                    <a16:creationId xmlns:a16="http://schemas.microsoft.com/office/drawing/2014/main" id="{12C98636-CE4D-4588-6255-C17983044316}"/>
                  </a:ext>
                </a:extLst>
              </p:cNvPr>
              <p:cNvSpPr>
                <a:spLocks noGrp="1" noRot="1" noMove="1" noResize="1" noEditPoints="1" noAdjustHandles="1" noChangeArrowheads="1" noChangeShapeType="1"/>
              </p:cNvSpPr>
              <p:nvPr/>
            </p:nvSpPr>
            <p:spPr bwMode="gray">
              <a:xfrm>
                <a:off x="4330973" y="4325769"/>
                <a:ext cx="77195" cy="51010"/>
              </a:xfrm>
              <a:custGeom>
                <a:avLst/>
                <a:gdLst/>
                <a:ahLst/>
                <a:cxnLst>
                  <a:cxn ang="0">
                    <a:pos x="0" y="3"/>
                  </a:cxn>
                  <a:cxn ang="0">
                    <a:pos x="0" y="3"/>
                  </a:cxn>
                  <a:cxn ang="0">
                    <a:pos x="12" y="13"/>
                  </a:cxn>
                  <a:cxn ang="0">
                    <a:pos x="25" y="9"/>
                  </a:cxn>
                  <a:cxn ang="0">
                    <a:pos x="17" y="13"/>
                  </a:cxn>
                  <a:cxn ang="0">
                    <a:pos x="24" y="22"/>
                  </a:cxn>
                  <a:cxn ang="0">
                    <a:pos x="40" y="13"/>
                  </a:cxn>
                  <a:cxn ang="0">
                    <a:pos x="41" y="0"/>
                  </a:cxn>
                  <a:cxn ang="0">
                    <a:pos x="0" y="3"/>
                  </a:cxn>
                  <a:cxn ang="0">
                    <a:pos x="0" y="3"/>
                  </a:cxn>
                </a:cxnLst>
                <a:rect l="0" t="0" r="r" b="b"/>
                <a:pathLst>
                  <a:path w="42" h="23">
                    <a:moveTo>
                      <a:pt x="0" y="3"/>
                    </a:moveTo>
                    <a:lnTo>
                      <a:pt x="0" y="3"/>
                    </a:lnTo>
                    <a:lnTo>
                      <a:pt x="12" y="13"/>
                    </a:lnTo>
                    <a:lnTo>
                      <a:pt x="25" y="9"/>
                    </a:lnTo>
                    <a:lnTo>
                      <a:pt x="17" y="13"/>
                    </a:lnTo>
                    <a:lnTo>
                      <a:pt x="24" y="22"/>
                    </a:lnTo>
                    <a:lnTo>
                      <a:pt x="40" y="13"/>
                    </a:lnTo>
                    <a:lnTo>
                      <a:pt x="41" y="0"/>
                    </a:lnTo>
                    <a:lnTo>
                      <a:pt x="0" y="3"/>
                    </a:lnTo>
                    <a:lnTo>
                      <a:pt x="0" y="3"/>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0" name="Guinea">
                <a:extLst>
                  <a:ext uri="{FF2B5EF4-FFF2-40B4-BE49-F238E27FC236}">
                    <a16:creationId xmlns:a16="http://schemas.microsoft.com/office/drawing/2014/main" id="{54490541-7FE6-06CD-1C24-8EAE686D3F90}"/>
                  </a:ext>
                </a:extLst>
              </p:cNvPr>
              <p:cNvSpPr>
                <a:spLocks noGrp="1" noRot="1" noMove="1" noResize="1" noEditPoints="1" noAdjustHandles="1" noChangeArrowheads="1" noChangeShapeType="1"/>
              </p:cNvSpPr>
              <p:nvPr/>
            </p:nvSpPr>
            <p:spPr bwMode="gray">
              <a:xfrm>
                <a:off x="4376003" y="4325769"/>
                <a:ext cx="180121" cy="148593"/>
              </a:xfrm>
              <a:custGeom>
                <a:avLst/>
                <a:gdLst/>
                <a:ahLst/>
                <a:cxnLst>
                  <a:cxn ang="0">
                    <a:pos x="0" y="22"/>
                  </a:cxn>
                  <a:cxn ang="0">
                    <a:pos x="0" y="22"/>
                  </a:cxn>
                  <a:cxn ang="0">
                    <a:pos x="16" y="13"/>
                  </a:cxn>
                  <a:cxn ang="0">
                    <a:pos x="17" y="0"/>
                  </a:cxn>
                  <a:cxn ang="0">
                    <a:pos x="49" y="3"/>
                  </a:cxn>
                  <a:cxn ang="0">
                    <a:pos x="58" y="9"/>
                  </a:cxn>
                  <a:cxn ang="0">
                    <a:pos x="81" y="2"/>
                  </a:cxn>
                  <a:cxn ang="0">
                    <a:pos x="95" y="31"/>
                  </a:cxn>
                  <a:cxn ang="0">
                    <a:pos x="99" y="53"/>
                  </a:cxn>
                  <a:cxn ang="0">
                    <a:pos x="91" y="52"/>
                  </a:cxn>
                  <a:cxn ang="0">
                    <a:pos x="89" y="64"/>
                  </a:cxn>
                  <a:cxn ang="0">
                    <a:pos x="74" y="65"/>
                  </a:cxn>
                  <a:cxn ang="0">
                    <a:pos x="73" y="53"/>
                  </a:cxn>
                  <a:cxn ang="0">
                    <a:pos x="65" y="52"/>
                  </a:cxn>
                  <a:cxn ang="0">
                    <a:pos x="52" y="34"/>
                  </a:cxn>
                  <a:cxn ang="0">
                    <a:pos x="23" y="45"/>
                  </a:cxn>
                  <a:cxn ang="0">
                    <a:pos x="0" y="22"/>
                  </a:cxn>
                  <a:cxn ang="0">
                    <a:pos x="0" y="22"/>
                  </a:cxn>
                </a:cxnLst>
                <a:rect l="0" t="0" r="r" b="b"/>
                <a:pathLst>
                  <a:path w="100" h="66">
                    <a:moveTo>
                      <a:pt x="0" y="22"/>
                    </a:moveTo>
                    <a:lnTo>
                      <a:pt x="0" y="22"/>
                    </a:lnTo>
                    <a:lnTo>
                      <a:pt x="16" y="13"/>
                    </a:lnTo>
                    <a:lnTo>
                      <a:pt x="17" y="0"/>
                    </a:lnTo>
                    <a:lnTo>
                      <a:pt x="49" y="3"/>
                    </a:lnTo>
                    <a:lnTo>
                      <a:pt x="58" y="9"/>
                    </a:lnTo>
                    <a:lnTo>
                      <a:pt x="81" y="2"/>
                    </a:lnTo>
                    <a:lnTo>
                      <a:pt x="95" y="31"/>
                    </a:lnTo>
                    <a:lnTo>
                      <a:pt x="99" y="53"/>
                    </a:lnTo>
                    <a:lnTo>
                      <a:pt x="91" y="52"/>
                    </a:lnTo>
                    <a:lnTo>
                      <a:pt x="89" y="64"/>
                    </a:lnTo>
                    <a:lnTo>
                      <a:pt x="74" y="65"/>
                    </a:lnTo>
                    <a:lnTo>
                      <a:pt x="73" y="53"/>
                    </a:lnTo>
                    <a:lnTo>
                      <a:pt x="65" y="52"/>
                    </a:lnTo>
                    <a:lnTo>
                      <a:pt x="52" y="34"/>
                    </a:lnTo>
                    <a:lnTo>
                      <a:pt x="23" y="45"/>
                    </a:lnTo>
                    <a:lnTo>
                      <a:pt x="0" y="22"/>
                    </a:lnTo>
                    <a:lnTo>
                      <a:pt x="0" y="22"/>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1" name="Ghana">
                <a:extLst>
                  <a:ext uri="{FF2B5EF4-FFF2-40B4-BE49-F238E27FC236}">
                    <a16:creationId xmlns:a16="http://schemas.microsoft.com/office/drawing/2014/main" id="{A11720A8-10E6-6E34-E5CC-A2DACF8C01AA}"/>
                  </a:ext>
                </a:extLst>
              </p:cNvPr>
              <p:cNvSpPr>
                <a:spLocks noGrp="1" noRot="1" noMove="1" noResize="1" noEditPoints="1" noAdjustHandles="1" noChangeArrowheads="1" noChangeShapeType="1"/>
              </p:cNvSpPr>
              <p:nvPr/>
            </p:nvSpPr>
            <p:spPr bwMode="gray">
              <a:xfrm>
                <a:off x="4669772" y="4367908"/>
                <a:ext cx="109359" cy="179643"/>
              </a:xfrm>
              <a:custGeom>
                <a:avLst/>
                <a:gdLst/>
                <a:ahLst/>
                <a:cxnLst>
                  <a:cxn ang="0">
                    <a:pos x="0" y="75"/>
                  </a:cxn>
                  <a:cxn ang="0">
                    <a:pos x="0" y="75"/>
                  </a:cxn>
                  <a:cxn ang="0">
                    <a:pos x="6" y="21"/>
                  </a:cxn>
                  <a:cxn ang="0">
                    <a:pos x="3" y="3"/>
                  </a:cxn>
                  <a:cxn ang="0">
                    <a:pos x="40" y="0"/>
                  </a:cxn>
                  <a:cxn ang="0">
                    <a:pos x="59" y="62"/>
                  </a:cxn>
                  <a:cxn ang="0">
                    <a:pos x="15" y="79"/>
                  </a:cxn>
                  <a:cxn ang="0">
                    <a:pos x="0" y="75"/>
                  </a:cxn>
                  <a:cxn ang="0">
                    <a:pos x="0" y="75"/>
                  </a:cxn>
                </a:cxnLst>
                <a:rect l="0" t="0" r="r" b="b"/>
                <a:pathLst>
                  <a:path w="60" h="80">
                    <a:moveTo>
                      <a:pt x="0" y="75"/>
                    </a:moveTo>
                    <a:lnTo>
                      <a:pt x="0" y="75"/>
                    </a:lnTo>
                    <a:lnTo>
                      <a:pt x="6" y="21"/>
                    </a:lnTo>
                    <a:lnTo>
                      <a:pt x="3" y="3"/>
                    </a:lnTo>
                    <a:lnTo>
                      <a:pt x="40" y="0"/>
                    </a:lnTo>
                    <a:lnTo>
                      <a:pt x="59" y="62"/>
                    </a:lnTo>
                    <a:lnTo>
                      <a:pt x="15" y="79"/>
                    </a:lnTo>
                    <a:lnTo>
                      <a:pt x="0" y="75"/>
                    </a:lnTo>
                    <a:lnTo>
                      <a:pt x="0" y="7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2" name="Gabon">
                <a:extLst>
                  <a:ext uri="{FF2B5EF4-FFF2-40B4-BE49-F238E27FC236}">
                    <a16:creationId xmlns:a16="http://schemas.microsoft.com/office/drawing/2014/main" id="{E14EE08D-8067-F7B1-D706-FCC09AD277B1}"/>
                  </a:ext>
                </a:extLst>
              </p:cNvPr>
              <p:cNvSpPr>
                <a:spLocks noGrp="1" noRot="1" noMove="1" noResize="1" noEditPoints="1" noAdjustHandles="1" noChangeArrowheads="1" noChangeShapeType="1"/>
              </p:cNvSpPr>
              <p:nvPr/>
            </p:nvSpPr>
            <p:spPr bwMode="gray">
              <a:xfrm>
                <a:off x="4961395" y="4616303"/>
                <a:ext cx="139379" cy="168554"/>
              </a:xfrm>
              <a:custGeom>
                <a:avLst/>
                <a:gdLst/>
                <a:ahLst/>
                <a:cxnLst>
                  <a:cxn ang="0">
                    <a:pos x="0" y="35"/>
                  </a:cxn>
                  <a:cxn ang="0">
                    <a:pos x="0" y="35"/>
                  </a:cxn>
                  <a:cxn ang="0">
                    <a:pos x="9" y="23"/>
                  </a:cxn>
                  <a:cxn ang="0">
                    <a:pos x="14" y="24"/>
                  </a:cxn>
                  <a:cxn ang="0">
                    <a:pos x="10" y="15"/>
                  </a:cxn>
                  <a:cxn ang="0">
                    <a:pos x="35" y="13"/>
                  </a:cxn>
                  <a:cxn ang="0">
                    <a:pos x="35" y="0"/>
                  </a:cxn>
                  <a:cxn ang="0">
                    <a:pos x="62" y="0"/>
                  </a:cxn>
                  <a:cxn ang="0">
                    <a:pos x="61" y="11"/>
                  </a:cxn>
                  <a:cxn ang="0">
                    <a:pos x="76" y="13"/>
                  </a:cxn>
                  <a:cxn ang="0">
                    <a:pos x="71" y="54"/>
                  </a:cxn>
                  <a:cxn ang="0">
                    <a:pos x="53" y="49"/>
                  </a:cxn>
                  <a:cxn ang="0">
                    <a:pos x="33" y="74"/>
                  </a:cxn>
                  <a:cxn ang="0">
                    <a:pos x="0" y="35"/>
                  </a:cxn>
                  <a:cxn ang="0">
                    <a:pos x="0" y="35"/>
                  </a:cxn>
                </a:cxnLst>
                <a:rect l="0" t="0" r="r" b="b"/>
                <a:pathLst>
                  <a:path w="77" h="75">
                    <a:moveTo>
                      <a:pt x="0" y="35"/>
                    </a:moveTo>
                    <a:lnTo>
                      <a:pt x="0" y="35"/>
                    </a:lnTo>
                    <a:lnTo>
                      <a:pt x="9" y="23"/>
                    </a:lnTo>
                    <a:lnTo>
                      <a:pt x="14" y="24"/>
                    </a:lnTo>
                    <a:lnTo>
                      <a:pt x="10" y="15"/>
                    </a:lnTo>
                    <a:lnTo>
                      <a:pt x="35" y="13"/>
                    </a:lnTo>
                    <a:lnTo>
                      <a:pt x="35" y="0"/>
                    </a:lnTo>
                    <a:lnTo>
                      <a:pt x="62" y="0"/>
                    </a:lnTo>
                    <a:lnTo>
                      <a:pt x="61" y="11"/>
                    </a:lnTo>
                    <a:lnTo>
                      <a:pt x="76" y="13"/>
                    </a:lnTo>
                    <a:lnTo>
                      <a:pt x="71" y="54"/>
                    </a:lnTo>
                    <a:lnTo>
                      <a:pt x="53" y="49"/>
                    </a:lnTo>
                    <a:lnTo>
                      <a:pt x="33" y="74"/>
                    </a:lnTo>
                    <a:lnTo>
                      <a:pt x="0" y="35"/>
                    </a:lnTo>
                    <a:lnTo>
                      <a:pt x="0" y="3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3" name="Ethiopia">
                <a:extLst>
                  <a:ext uri="{FF2B5EF4-FFF2-40B4-BE49-F238E27FC236}">
                    <a16:creationId xmlns:a16="http://schemas.microsoft.com/office/drawing/2014/main" id="{4A68F4B0-A033-91E7-C7A7-701CC333124B}"/>
                  </a:ext>
                </a:extLst>
              </p:cNvPr>
              <p:cNvSpPr>
                <a:spLocks noGrp="1" noRot="1" noMove="1" noResize="1" noEditPoints="1" noAdjustHandles="1" noChangeArrowheads="1" noChangeShapeType="1"/>
              </p:cNvSpPr>
              <p:nvPr/>
            </p:nvSpPr>
            <p:spPr bwMode="gray">
              <a:xfrm>
                <a:off x="5561796" y="4270829"/>
                <a:ext cx="373449" cy="309935"/>
              </a:xfrm>
              <a:custGeom>
                <a:avLst/>
                <a:gdLst>
                  <a:gd name="connsiteX0" fmla="*/ 0 w 9952"/>
                  <a:gd name="connsiteY0" fmla="*/ 6944 h 9944"/>
                  <a:gd name="connsiteX1" fmla="*/ 0 w 9952"/>
                  <a:gd name="connsiteY1" fmla="*/ 6944 h 9944"/>
                  <a:gd name="connsiteX2" fmla="*/ 773 w 9952"/>
                  <a:gd name="connsiteY2" fmla="*/ 6444 h 9944"/>
                  <a:gd name="connsiteX3" fmla="*/ 821 w 9952"/>
                  <a:gd name="connsiteY3" fmla="*/ 5167 h 9944"/>
                  <a:gd name="connsiteX4" fmla="*/ 2126 w 9952"/>
                  <a:gd name="connsiteY4" fmla="*/ 3556 h 9944"/>
                  <a:gd name="connsiteX5" fmla="*/ 2657 w 9952"/>
                  <a:gd name="connsiteY5" fmla="*/ 611 h 9944"/>
                  <a:gd name="connsiteX6" fmla="*/ 3671 w 9952"/>
                  <a:gd name="connsiteY6" fmla="*/ 0 h 9944"/>
                  <a:gd name="connsiteX7" fmla="*/ 4396 w 9952"/>
                  <a:gd name="connsiteY7" fmla="*/ 1944 h 9944"/>
                  <a:gd name="connsiteX8" fmla="*/ 6618 w 9952"/>
                  <a:gd name="connsiteY8" fmla="*/ 3667 h 9944"/>
                  <a:gd name="connsiteX9" fmla="*/ 5797 w 9952"/>
                  <a:gd name="connsiteY9" fmla="*/ 4667 h 9944"/>
                  <a:gd name="connsiteX10" fmla="*/ 6522 w 9952"/>
                  <a:gd name="connsiteY10" fmla="*/ 4944 h 9944"/>
                  <a:gd name="connsiteX11" fmla="*/ 7343 w 9952"/>
                  <a:gd name="connsiteY11" fmla="*/ 6167 h 9944"/>
                  <a:gd name="connsiteX12" fmla="*/ 9952 w 9952"/>
                  <a:gd name="connsiteY12" fmla="*/ 6833 h 9944"/>
                  <a:gd name="connsiteX13" fmla="*/ 7923 w 9952"/>
                  <a:gd name="connsiteY13" fmla="*/ 8889 h 9944"/>
                  <a:gd name="connsiteX14" fmla="*/ 5845 w 9952"/>
                  <a:gd name="connsiteY14" fmla="*/ 9611 h 9944"/>
                  <a:gd name="connsiteX15" fmla="*/ 3961 w 9952"/>
                  <a:gd name="connsiteY15" fmla="*/ 9944 h 9944"/>
                  <a:gd name="connsiteX16" fmla="*/ 1884 w 9952"/>
                  <a:gd name="connsiteY16" fmla="*/ 9167 h 9944"/>
                  <a:gd name="connsiteX17" fmla="*/ 1159 w 9952"/>
                  <a:gd name="connsiteY17" fmla="*/ 7778 h 9944"/>
                  <a:gd name="connsiteX18" fmla="*/ 0 w 9952"/>
                  <a:gd name="connsiteY18" fmla="*/ 6944 h 9944"/>
                  <a:gd name="connsiteX19" fmla="*/ 0 w 9952"/>
                  <a:gd name="connsiteY19" fmla="*/ 6944 h 9944"/>
                  <a:gd name="connsiteX0" fmla="*/ 0 w 10000"/>
                  <a:gd name="connsiteY0" fmla="*/ 6983 h 10000"/>
                  <a:gd name="connsiteX1" fmla="*/ 0 w 10000"/>
                  <a:gd name="connsiteY1" fmla="*/ 6983 h 10000"/>
                  <a:gd name="connsiteX2" fmla="*/ 777 w 10000"/>
                  <a:gd name="connsiteY2" fmla="*/ 6480 h 10000"/>
                  <a:gd name="connsiteX3" fmla="*/ 825 w 10000"/>
                  <a:gd name="connsiteY3" fmla="*/ 5196 h 10000"/>
                  <a:gd name="connsiteX4" fmla="*/ 2136 w 10000"/>
                  <a:gd name="connsiteY4" fmla="*/ 3576 h 10000"/>
                  <a:gd name="connsiteX5" fmla="*/ 2670 w 10000"/>
                  <a:gd name="connsiteY5" fmla="*/ 614 h 10000"/>
                  <a:gd name="connsiteX6" fmla="*/ 3689 w 10000"/>
                  <a:gd name="connsiteY6" fmla="*/ 0 h 10000"/>
                  <a:gd name="connsiteX7" fmla="*/ 4417 w 10000"/>
                  <a:gd name="connsiteY7" fmla="*/ 1955 h 10000"/>
                  <a:gd name="connsiteX8" fmla="*/ 6650 w 10000"/>
                  <a:gd name="connsiteY8" fmla="*/ 3688 h 10000"/>
                  <a:gd name="connsiteX9" fmla="*/ 5825 w 10000"/>
                  <a:gd name="connsiteY9" fmla="*/ 4693 h 10000"/>
                  <a:gd name="connsiteX10" fmla="*/ 6553 w 10000"/>
                  <a:gd name="connsiteY10" fmla="*/ 4972 h 10000"/>
                  <a:gd name="connsiteX11" fmla="*/ 7378 w 10000"/>
                  <a:gd name="connsiteY11" fmla="*/ 6202 h 10000"/>
                  <a:gd name="connsiteX12" fmla="*/ 10000 w 10000"/>
                  <a:gd name="connsiteY12" fmla="*/ 6871 h 10000"/>
                  <a:gd name="connsiteX13" fmla="*/ 7961 w 10000"/>
                  <a:gd name="connsiteY13" fmla="*/ 8939 h 10000"/>
                  <a:gd name="connsiteX14" fmla="*/ 5873 w 10000"/>
                  <a:gd name="connsiteY14" fmla="*/ 9665 h 10000"/>
                  <a:gd name="connsiteX15" fmla="*/ 3980 w 10000"/>
                  <a:gd name="connsiteY15" fmla="*/ 10000 h 10000"/>
                  <a:gd name="connsiteX16" fmla="*/ 1893 w 10000"/>
                  <a:gd name="connsiteY16" fmla="*/ 9219 h 10000"/>
                  <a:gd name="connsiteX17" fmla="*/ 1165 w 10000"/>
                  <a:gd name="connsiteY17" fmla="*/ 7822 h 10000"/>
                  <a:gd name="connsiteX18" fmla="*/ 0 w 10000"/>
                  <a:gd name="connsiteY18" fmla="*/ 6983 h 10000"/>
                  <a:gd name="connsiteX19" fmla="*/ 0 w 10000"/>
                  <a:gd name="connsiteY19" fmla="*/ 6983 h 10000"/>
                  <a:gd name="connsiteX0" fmla="*/ 0 w 10000"/>
                  <a:gd name="connsiteY0" fmla="*/ 6369 h 9386"/>
                  <a:gd name="connsiteX1" fmla="*/ 0 w 10000"/>
                  <a:gd name="connsiteY1" fmla="*/ 6369 h 9386"/>
                  <a:gd name="connsiteX2" fmla="*/ 777 w 10000"/>
                  <a:gd name="connsiteY2" fmla="*/ 5866 h 9386"/>
                  <a:gd name="connsiteX3" fmla="*/ 825 w 10000"/>
                  <a:gd name="connsiteY3" fmla="*/ 4582 h 9386"/>
                  <a:gd name="connsiteX4" fmla="*/ 2136 w 10000"/>
                  <a:gd name="connsiteY4" fmla="*/ 2962 h 9386"/>
                  <a:gd name="connsiteX5" fmla="*/ 2670 w 10000"/>
                  <a:gd name="connsiteY5" fmla="*/ 0 h 9386"/>
                  <a:gd name="connsiteX6" fmla="*/ 4417 w 10000"/>
                  <a:gd name="connsiteY6" fmla="*/ 1341 h 9386"/>
                  <a:gd name="connsiteX7" fmla="*/ 6650 w 10000"/>
                  <a:gd name="connsiteY7" fmla="*/ 3074 h 9386"/>
                  <a:gd name="connsiteX8" fmla="*/ 5825 w 10000"/>
                  <a:gd name="connsiteY8" fmla="*/ 4079 h 9386"/>
                  <a:gd name="connsiteX9" fmla="*/ 6553 w 10000"/>
                  <a:gd name="connsiteY9" fmla="*/ 4358 h 9386"/>
                  <a:gd name="connsiteX10" fmla="*/ 7378 w 10000"/>
                  <a:gd name="connsiteY10" fmla="*/ 5588 h 9386"/>
                  <a:gd name="connsiteX11" fmla="*/ 10000 w 10000"/>
                  <a:gd name="connsiteY11" fmla="*/ 6257 h 9386"/>
                  <a:gd name="connsiteX12" fmla="*/ 7961 w 10000"/>
                  <a:gd name="connsiteY12" fmla="*/ 8325 h 9386"/>
                  <a:gd name="connsiteX13" fmla="*/ 5873 w 10000"/>
                  <a:gd name="connsiteY13" fmla="*/ 9051 h 9386"/>
                  <a:gd name="connsiteX14" fmla="*/ 3980 w 10000"/>
                  <a:gd name="connsiteY14" fmla="*/ 9386 h 9386"/>
                  <a:gd name="connsiteX15" fmla="*/ 1893 w 10000"/>
                  <a:gd name="connsiteY15" fmla="*/ 8605 h 9386"/>
                  <a:gd name="connsiteX16" fmla="*/ 1165 w 10000"/>
                  <a:gd name="connsiteY16" fmla="*/ 7208 h 9386"/>
                  <a:gd name="connsiteX17" fmla="*/ 0 w 10000"/>
                  <a:gd name="connsiteY17" fmla="*/ 6369 h 9386"/>
                  <a:gd name="connsiteX18" fmla="*/ 0 w 10000"/>
                  <a:gd name="connsiteY18" fmla="*/ 6369 h 9386"/>
                  <a:gd name="connsiteX0" fmla="*/ 0 w 10000"/>
                  <a:gd name="connsiteY0" fmla="*/ 5357 h 8571"/>
                  <a:gd name="connsiteX1" fmla="*/ 0 w 10000"/>
                  <a:gd name="connsiteY1" fmla="*/ 5357 h 8571"/>
                  <a:gd name="connsiteX2" fmla="*/ 777 w 10000"/>
                  <a:gd name="connsiteY2" fmla="*/ 4821 h 8571"/>
                  <a:gd name="connsiteX3" fmla="*/ 825 w 10000"/>
                  <a:gd name="connsiteY3" fmla="*/ 3453 h 8571"/>
                  <a:gd name="connsiteX4" fmla="*/ 2136 w 10000"/>
                  <a:gd name="connsiteY4" fmla="*/ 1727 h 8571"/>
                  <a:gd name="connsiteX5" fmla="*/ 2256 w 10000"/>
                  <a:gd name="connsiteY5" fmla="*/ 389 h 8571"/>
                  <a:gd name="connsiteX6" fmla="*/ 4417 w 10000"/>
                  <a:gd name="connsiteY6" fmla="*/ 0 h 8571"/>
                  <a:gd name="connsiteX7" fmla="*/ 6650 w 10000"/>
                  <a:gd name="connsiteY7" fmla="*/ 1846 h 8571"/>
                  <a:gd name="connsiteX8" fmla="*/ 5825 w 10000"/>
                  <a:gd name="connsiteY8" fmla="*/ 2917 h 8571"/>
                  <a:gd name="connsiteX9" fmla="*/ 6553 w 10000"/>
                  <a:gd name="connsiteY9" fmla="*/ 3214 h 8571"/>
                  <a:gd name="connsiteX10" fmla="*/ 7378 w 10000"/>
                  <a:gd name="connsiteY10" fmla="*/ 4525 h 8571"/>
                  <a:gd name="connsiteX11" fmla="*/ 10000 w 10000"/>
                  <a:gd name="connsiteY11" fmla="*/ 5237 h 8571"/>
                  <a:gd name="connsiteX12" fmla="*/ 7961 w 10000"/>
                  <a:gd name="connsiteY12" fmla="*/ 7441 h 8571"/>
                  <a:gd name="connsiteX13" fmla="*/ 5873 w 10000"/>
                  <a:gd name="connsiteY13" fmla="*/ 8214 h 8571"/>
                  <a:gd name="connsiteX14" fmla="*/ 3980 w 10000"/>
                  <a:gd name="connsiteY14" fmla="*/ 8571 h 8571"/>
                  <a:gd name="connsiteX15" fmla="*/ 1893 w 10000"/>
                  <a:gd name="connsiteY15" fmla="*/ 7739 h 8571"/>
                  <a:gd name="connsiteX16" fmla="*/ 1165 w 10000"/>
                  <a:gd name="connsiteY16" fmla="*/ 6251 h 8571"/>
                  <a:gd name="connsiteX17" fmla="*/ 0 w 10000"/>
                  <a:gd name="connsiteY17" fmla="*/ 5357 h 8571"/>
                  <a:gd name="connsiteX18" fmla="*/ 0 w 10000"/>
                  <a:gd name="connsiteY18" fmla="*/ 5357 h 8571"/>
                  <a:gd name="connsiteX0" fmla="*/ 0 w 10000"/>
                  <a:gd name="connsiteY0" fmla="*/ 6250 h 10000"/>
                  <a:gd name="connsiteX1" fmla="*/ 0 w 10000"/>
                  <a:gd name="connsiteY1" fmla="*/ 6250 h 10000"/>
                  <a:gd name="connsiteX2" fmla="*/ 777 w 10000"/>
                  <a:gd name="connsiteY2" fmla="*/ 5625 h 10000"/>
                  <a:gd name="connsiteX3" fmla="*/ 825 w 10000"/>
                  <a:gd name="connsiteY3" fmla="*/ 4029 h 10000"/>
                  <a:gd name="connsiteX4" fmla="*/ 2136 w 10000"/>
                  <a:gd name="connsiteY4" fmla="*/ 2015 h 10000"/>
                  <a:gd name="connsiteX5" fmla="*/ 2256 w 10000"/>
                  <a:gd name="connsiteY5" fmla="*/ 454 h 10000"/>
                  <a:gd name="connsiteX6" fmla="*/ 4417 w 10000"/>
                  <a:gd name="connsiteY6" fmla="*/ 0 h 10000"/>
                  <a:gd name="connsiteX7" fmla="*/ 6070 w 10000"/>
                  <a:gd name="connsiteY7" fmla="*/ 2419 h 10000"/>
                  <a:gd name="connsiteX8" fmla="*/ 5825 w 10000"/>
                  <a:gd name="connsiteY8" fmla="*/ 3403 h 10000"/>
                  <a:gd name="connsiteX9" fmla="*/ 6553 w 10000"/>
                  <a:gd name="connsiteY9" fmla="*/ 3750 h 10000"/>
                  <a:gd name="connsiteX10" fmla="*/ 7378 w 10000"/>
                  <a:gd name="connsiteY10" fmla="*/ 5279 h 10000"/>
                  <a:gd name="connsiteX11" fmla="*/ 10000 w 10000"/>
                  <a:gd name="connsiteY11" fmla="*/ 6110 h 10000"/>
                  <a:gd name="connsiteX12" fmla="*/ 7961 w 10000"/>
                  <a:gd name="connsiteY12" fmla="*/ 8682 h 10000"/>
                  <a:gd name="connsiteX13" fmla="*/ 5873 w 10000"/>
                  <a:gd name="connsiteY13" fmla="*/ 9583 h 10000"/>
                  <a:gd name="connsiteX14" fmla="*/ 3980 w 10000"/>
                  <a:gd name="connsiteY14" fmla="*/ 10000 h 10000"/>
                  <a:gd name="connsiteX15" fmla="*/ 1893 w 10000"/>
                  <a:gd name="connsiteY15" fmla="*/ 9029 h 10000"/>
                  <a:gd name="connsiteX16" fmla="*/ 1165 w 10000"/>
                  <a:gd name="connsiteY16" fmla="*/ 7293 h 10000"/>
                  <a:gd name="connsiteX17" fmla="*/ 0 w 10000"/>
                  <a:gd name="connsiteY17" fmla="*/ 6250 h 10000"/>
                  <a:gd name="connsiteX18" fmla="*/ 0 w 10000"/>
                  <a:gd name="connsiteY18" fmla="*/ 6250 h 10000"/>
                  <a:gd name="connsiteX0" fmla="*/ 0 w 10000"/>
                  <a:gd name="connsiteY0" fmla="*/ 5796 h 9546"/>
                  <a:gd name="connsiteX1" fmla="*/ 0 w 10000"/>
                  <a:gd name="connsiteY1" fmla="*/ 5796 h 9546"/>
                  <a:gd name="connsiteX2" fmla="*/ 777 w 10000"/>
                  <a:gd name="connsiteY2" fmla="*/ 5171 h 9546"/>
                  <a:gd name="connsiteX3" fmla="*/ 825 w 10000"/>
                  <a:gd name="connsiteY3" fmla="*/ 3575 h 9546"/>
                  <a:gd name="connsiteX4" fmla="*/ 2136 w 10000"/>
                  <a:gd name="connsiteY4" fmla="*/ 1561 h 9546"/>
                  <a:gd name="connsiteX5" fmla="*/ 2256 w 10000"/>
                  <a:gd name="connsiteY5" fmla="*/ 0 h 9546"/>
                  <a:gd name="connsiteX6" fmla="*/ 4334 w 10000"/>
                  <a:gd name="connsiteY6" fmla="*/ 253 h 9546"/>
                  <a:gd name="connsiteX7" fmla="*/ 6070 w 10000"/>
                  <a:gd name="connsiteY7" fmla="*/ 1965 h 9546"/>
                  <a:gd name="connsiteX8" fmla="*/ 5825 w 10000"/>
                  <a:gd name="connsiteY8" fmla="*/ 2949 h 9546"/>
                  <a:gd name="connsiteX9" fmla="*/ 6553 w 10000"/>
                  <a:gd name="connsiteY9" fmla="*/ 3296 h 9546"/>
                  <a:gd name="connsiteX10" fmla="*/ 7378 w 10000"/>
                  <a:gd name="connsiteY10" fmla="*/ 4825 h 9546"/>
                  <a:gd name="connsiteX11" fmla="*/ 10000 w 10000"/>
                  <a:gd name="connsiteY11" fmla="*/ 5656 h 9546"/>
                  <a:gd name="connsiteX12" fmla="*/ 7961 w 10000"/>
                  <a:gd name="connsiteY12" fmla="*/ 8228 h 9546"/>
                  <a:gd name="connsiteX13" fmla="*/ 5873 w 10000"/>
                  <a:gd name="connsiteY13" fmla="*/ 9129 h 9546"/>
                  <a:gd name="connsiteX14" fmla="*/ 3980 w 10000"/>
                  <a:gd name="connsiteY14" fmla="*/ 9546 h 9546"/>
                  <a:gd name="connsiteX15" fmla="*/ 1893 w 10000"/>
                  <a:gd name="connsiteY15" fmla="*/ 8575 h 9546"/>
                  <a:gd name="connsiteX16" fmla="*/ 1165 w 10000"/>
                  <a:gd name="connsiteY16" fmla="*/ 6839 h 9546"/>
                  <a:gd name="connsiteX17" fmla="*/ 0 w 10000"/>
                  <a:gd name="connsiteY17" fmla="*/ 5796 h 9546"/>
                  <a:gd name="connsiteX18" fmla="*/ 0 w 10000"/>
                  <a:gd name="connsiteY18" fmla="*/ 5796 h 9546"/>
                  <a:gd name="connsiteX0" fmla="*/ 0 w 10000"/>
                  <a:gd name="connsiteY0" fmla="*/ 6103 h 10031"/>
                  <a:gd name="connsiteX1" fmla="*/ 0 w 10000"/>
                  <a:gd name="connsiteY1" fmla="*/ 6103 h 10031"/>
                  <a:gd name="connsiteX2" fmla="*/ 777 w 10000"/>
                  <a:gd name="connsiteY2" fmla="*/ 5448 h 10031"/>
                  <a:gd name="connsiteX3" fmla="*/ 825 w 10000"/>
                  <a:gd name="connsiteY3" fmla="*/ 3776 h 10031"/>
                  <a:gd name="connsiteX4" fmla="*/ 2136 w 10000"/>
                  <a:gd name="connsiteY4" fmla="*/ 1666 h 10031"/>
                  <a:gd name="connsiteX5" fmla="*/ 2256 w 10000"/>
                  <a:gd name="connsiteY5" fmla="*/ 31 h 10031"/>
                  <a:gd name="connsiteX6" fmla="*/ 2664 w 10000"/>
                  <a:gd name="connsiteY6" fmla="*/ 0 h 10031"/>
                  <a:gd name="connsiteX7" fmla="*/ 4334 w 10000"/>
                  <a:gd name="connsiteY7" fmla="*/ 296 h 10031"/>
                  <a:gd name="connsiteX8" fmla="*/ 6070 w 10000"/>
                  <a:gd name="connsiteY8" fmla="*/ 2089 h 10031"/>
                  <a:gd name="connsiteX9" fmla="*/ 5825 w 10000"/>
                  <a:gd name="connsiteY9" fmla="*/ 3120 h 10031"/>
                  <a:gd name="connsiteX10" fmla="*/ 6553 w 10000"/>
                  <a:gd name="connsiteY10" fmla="*/ 3484 h 10031"/>
                  <a:gd name="connsiteX11" fmla="*/ 7378 w 10000"/>
                  <a:gd name="connsiteY11" fmla="*/ 5085 h 10031"/>
                  <a:gd name="connsiteX12" fmla="*/ 10000 w 10000"/>
                  <a:gd name="connsiteY12" fmla="*/ 5956 h 10031"/>
                  <a:gd name="connsiteX13" fmla="*/ 7961 w 10000"/>
                  <a:gd name="connsiteY13" fmla="*/ 8650 h 10031"/>
                  <a:gd name="connsiteX14" fmla="*/ 5873 w 10000"/>
                  <a:gd name="connsiteY14" fmla="*/ 9594 h 10031"/>
                  <a:gd name="connsiteX15" fmla="*/ 3980 w 10000"/>
                  <a:gd name="connsiteY15" fmla="*/ 10031 h 10031"/>
                  <a:gd name="connsiteX16" fmla="*/ 1893 w 10000"/>
                  <a:gd name="connsiteY16" fmla="*/ 9014 h 10031"/>
                  <a:gd name="connsiteX17" fmla="*/ 1165 w 10000"/>
                  <a:gd name="connsiteY17" fmla="*/ 7195 h 10031"/>
                  <a:gd name="connsiteX18" fmla="*/ 0 w 10000"/>
                  <a:gd name="connsiteY18" fmla="*/ 6103 h 10031"/>
                  <a:gd name="connsiteX19" fmla="*/ 0 w 10000"/>
                  <a:gd name="connsiteY19" fmla="*/ 6103 h 10031"/>
                  <a:gd name="connsiteX0" fmla="*/ 0 w 10000"/>
                  <a:gd name="connsiteY0" fmla="*/ 6072 h 10000"/>
                  <a:gd name="connsiteX1" fmla="*/ 0 w 10000"/>
                  <a:gd name="connsiteY1" fmla="*/ 6072 h 10000"/>
                  <a:gd name="connsiteX2" fmla="*/ 777 w 10000"/>
                  <a:gd name="connsiteY2" fmla="*/ 5417 h 10000"/>
                  <a:gd name="connsiteX3" fmla="*/ 825 w 10000"/>
                  <a:gd name="connsiteY3" fmla="*/ 3745 h 10000"/>
                  <a:gd name="connsiteX4" fmla="*/ 2136 w 10000"/>
                  <a:gd name="connsiteY4" fmla="*/ 1635 h 10000"/>
                  <a:gd name="connsiteX5" fmla="*/ 2256 w 10000"/>
                  <a:gd name="connsiteY5" fmla="*/ 0 h 10000"/>
                  <a:gd name="connsiteX6" fmla="*/ 3493 w 10000"/>
                  <a:gd name="connsiteY6" fmla="*/ 524 h 10000"/>
                  <a:gd name="connsiteX7" fmla="*/ 4334 w 10000"/>
                  <a:gd name="connsiteY7" fmla="*/ 265 h 10000"/>
                  <a:gd name="connsiteX8" fmla="*/ 6070 w 10000"/>
                  <a:gd name="connsiteY8" fmla="*/ 2058 h 10000"/>
                  <a:gd name="connsiteX9" fmla="*/ 5825 w 10000"/>
                  <a:gd name="connsiteY9" fmla="*/ 3089 h 10000"/>
                  <a:gd name="connsiteX10" fmla="*/ 6553 w 10000"/>
                  <a:gd name="connsiteY10" fmla="*/ 3453 h 10000"/>
                  <a:gd name="connsiteX11" fmla="*/ 7378 w 10000"/>
                  <a:gd name="connsiteY11" fmla="*/ 5054 h 10000"/>
                  <a:gd name="connsiteX12" fmla="*/ 10000 w 10000"/>
                  <a:gd name="connsiteY12" fmla="*/ 5925 h 10000"/>
                  <a:gd name="connsiteX13" fmla="*/ 7961 w 10000"/>
                  <a:gd name="connsiteY13" fmla="*/ 8619 h 10000"/>
                  <a:gd name="connsiteX14" fmla="*/ 5873 w 10000"/>
                  <a:gd name="connsiteY14" fmla="*/ 9563 h 10000"/>
                  <a:gd name="connsiteX15" fmla="*/ 3980 w 10000"/>
                  <a:gd name="connsiteY15" fmla="*/ 10000 h 10000"/>
                  <a:gd name="connsiteX16" fmla="*/ 1893 w 10000"/>
                  <a:gd name="connsiteY16" fmla="*/ 8983 h 10000"/>
                  <a:gd name="connsiteX17" fmla="*/ 1165 w 10000"/>
                  <a:gd name="connsiteY17" fmla="*/ 7164 h 10000"/>
                  <a:gd name="connsiteX18" fmla="*/ 0 w 10000"/>
                  <a:gd name="connsiteY18" fmla="*/ 6072 h 10000"/>
                  <a:gd name="connsiteX19" fmla="*/ 0 w 10000"/>
                  <a:gd name="connsiteY19" fmla="*/ 6072 h 10000"/>
                  <a:gd name="connsiteX0" fmla="*/ 0 w 10000"/>
                  <a:gd name="connsiteY0" fmla="*/ 6072 h 10000"/>
                  <a:gd name="connsiteX1" fmla="*/ 0 w 10000"/>
                  <a:gd name="connsiteY1" fmla="*/ 6072 h 10000"/>
                  <a:gd name="connsiteX2" fmla="*/ 777 w 10000"/>
                  <a:gd name="connsiteY2" fmla="*/ 5417 h 10000"/>
                  <a:gd name="connsiteX3" fmla="*/ 825 w 10000"/>
                  <a:gd name="connsiteY3" fmla="*/ 3745 h 10000"/>
                  <a:gd name="connsiteX4" fmla="*/ 2136 w 10000"/>
                  <a:gd name="connsiteY4" fmla="*/ 1635 h 10000"/>
                  <a:gd name="connsiteX5" fmla="*/ 2256 w 10000"/>
                  <a:gd name="connsiteY5" fmla="*/ 0 h 10000"/>
                  <a:gd name="connsiteX6" fmla="*/ 3493 w 10000"/>
                  <a:gd name="connsiteY6" fmla="*/ 524 h 10000"/>
                  <a:gd name="connsiteX7" fmla="*/ 4334 w 10000"/>
                  <a:gd name="connsiteY7" fmla="*/ 265 h 10000"/>
                  <a:gd name="connsiteX8" fmla="*/ 6153 w 10000"/>
                  <a:gd name="connsiteY8" fmla="*/ 2151 h 10000"/>
                  <a:gd name="connsiteX9" fmla="*/ 5825 w 10000"/>
                  <a:gd name="connsiteY9" fmla="*/ 3089 h 10000"/>
                  <a:gd name="connsiteX10" fmla="*/ 6553 w 10000"/>
                  <a:gd name="connsiteY10" fmla="*/ 3453 h 10000"/>
                  <a:gd name="connsiteX11" fmla="*/ 7378 w 10000"/>
                  <a:gd name="connsiteY11" fmla="*/ 5054 h 10000"/>
                  <a:gd name="connsiteX12" fmla="*/ 10000 w 10000"/>
                  <a:gd name="connsiteY12" fmla="*/ 5925 h 10000"/>
                  <a:gd name="connsiteX13" fmla="*/ 7961 w 10000"/>
                  <a:gd name="connsiteY13" fmla="*/ 8619 h 10000"/>
                  <a:gd name="connsiteX14" fmla="*/ 5873 w 10000"/>
                  <a:gd name="connsiteY14" fmla="*/ 9563 h 10000"/>
                  <a:gd name="connsiteX15" fmla="*/ 3980 w 10000"/>
                  <a:gd name="connsiteY15" fmla="*/ 10000 h 10000"/>
                  <a:gd name="connsiteX16" fmla="*/ 1893 w 10000"/>
                  <a:gd name="connsiteY16" fmla="*/ 8983 h 10000"/>
                  <a:gd name="connsiteX17" fmla="*/ 1165 w 10000"/>
                  <a:gd name="connsiteY17" fmla="*/ 7164 h 10000"/>
                  <a:gd name="connsiteX18" fmla="*/ 0 w 10000"/>
                  <a:gd name="connsiteY18" fmla="*/ 6072 h 10000"/>
                  <a:gd name="connsiteX19" fmla="*/ 0 w 10000"/>
                  <a:gd name="connsiteY19" fmla="*/ 607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00" h="10000">
                    <a:moveTo>
                      <a:pt x="0" y="6072"/>
                    </a:moveTo>
                    <a:lnTo>
                      <a:pt x="0" y="6072"/>
                    </a:lnTo>
                    <a:lnTo>
                      <a:pt x="777" y="5417"/>
                    </a:lnTo>
                    <a:cubicBezTo>
                      <a:pt x="793" y="4860"/>
                      <a:pt x="809" y="4302"/>
                      <a:pt x="825" y="3745"/>
                    </a:cubicBezTo>
                    <a:lnTo>
                      <a:pt x="2136" y="1635"/>
                    </a:lnTo>
                    <a:lnTo>
                      <a:pt x="2256" y="0"/>
                    </a:lnTo>
                    <a:lnTo>
                      <a:pt x="3493" y="524"/>
                    </a:lnTo>
                    <a:lnTo>
                      <a:pt x="4334" y="265"/>
                    </a:lnTo>
                    <a:lnTo>
                      <a:pt x="6153" y="2151"/>
                    </a:lnTo>
                    <a:cubicBezTo>
                      <a:pt x="6071" y="2495"/>
                      <a:pt x="5907" y="2746"/>
                      <a:pt x="5825" y="3089"/>
                    </a:cubicBezTo>
                    <a:lnTo>
                      <a:pt x="6553" y="3453"/>
                    </a:lnTo>
                    <a:lnTo>
                      <a:pt x="7378" y="5054"/>
                    </a:lnTo>
                    <a:lnTo>
                      <a:pt x="10000" y="5925"/>
                    </a:lnTo>
                    <a:lnTo>
                      <a:pt x="7961" y="8619"/>
                    </a:lnTo>
                    <a:lnTo>
                      <a:pt x="5873" y="9563"/>
                    </a:lnTo>
                    <a:lnTo>
                      <a:pt x="3980" y="10000"/>
                    </a:lnTo>
                    <a:lnTo>
                      <a:pt x="1893" y="8983"/>
                    </a:lnTo>
                    <a:lnTo>
                      <a:pt x="1165" y="7164"/>
                    </a:lnTo>
                    <a:lnTo>
                      <a:pt x="0" y="6072"/>
                    </a:lnTo>
                    <a:lnTo>
                      <a:pt x="0" y="6072"/>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4" name="Eritrea">
                <a:extLst>
                  <a:ext uri="{FF2B5EF4-FFF2-40B4-BE49-F238E27FC236}">
                    <a16:creationId xmlns:a16="http://schemas.microsoft.com/office/drawing/2014/main" id="{CAF04F28-6DE9-C673-040C-0B6016F3C423}"/>
                  </a:ext>
                </a:extLst>
              </p:cNvPr>
              <p:cNvSpPr>
                <a:spLocks noGrp="1" noRot="1" noChangeAspect="1" noMove="1" noResize="1" noEditPoints="1" noAdjustHandles="1" noChangeArrowheads="1" noChangeShapeType="1"/>
              </p:cNvSpPr>
              <p:nvPr/>
            </p:nvSpPr>
            <p:spPr bwMode="gray">
              <a:xfrm>
                <a:off x="5651823" y="4176724"/>
                <a:ext cx="157349" cy="160093"/>
              </a:xfrm>
              <a:custGeom>
                <a:avLst/>
                <a:gdLst>
                  <a:gd name="connsiteX0" fmla="*/ 0 w 9952"/>
                  <a:gd name="connsiteY0" fmla="*/ 6944 h 9944"/>
                  <a:gd name="connsiteX1" fmla="*/ 0 w 9952"/>
                  <a:gd name="connsiteY1" fmla="*/ 6944 h 9944"/>
                  <a:gd name="connsiteX2" fmla="*/ 773 w 9952"/>
                  <a:gd name="connsiteY2" fmla="*/ 6444 h 9944"/>
                  <a:gd name="connsiteX3" fmla="*/ 821 w 9952"/>
                  <a:gd name="connsiteY3" fmla="*/ 5167 h 9944"/>
                  <a:gd name="connsiteX4" fmla="*/ 2126 w 9952"/>
                  <a:gd name="connsiteY4" fmla="*/ 3556 h 9944"/>
                  <a:gd name="connsiteX5" fmla="*/ 2657 w 9952"/>
                  <a:gd name="connsiteY5" fmla="*/ 611 h 9944"/>
                  <a:gd name="connsiteX6" fmla="*/ 3671 w 9952"/>
                  <a:gd name="connsiteY6" fmla="*/ 0 h 9944"/>
                  <a:gd name="connsiteX7" fmla="*/ 4396 w 9952"/>
                  <a:gd name="connsiteY7" fmla="*/ 1944 h 9944"/>
                  <a:gd name="connsiteX8" fmla="*/ 6618 w 9952"/>
                  <a:gd name="connsiteY8" fmla="*/ 3667 h 9944"/>
                  <a:gd name="connsiteX9" fmla="*/ 6379 w 9952"/>
                  <a:gd name="connsiteY9" fmla="*/ 3888 h 9944"/>
                  <a:gd name="connsiteX10" fmla="*/ 6522 w 9952"/>
                  <a:gd name="connsiteY10" fmla="*/ 4944 h 9944"/>
                  <a:gd name="connsiteX11" fmla="*/ 7343 w 9952"/>
                  <a:gd name="connsiteY11" fmla="*/ 6167 h 9944"/>
                  <a:gd name="connsiteX12" fmla="*/ 9952 w 9952"/>
                  <a:gd name="connsiteY12" fmla="*/ 6833 h 9944"/>
                  <a:gd name="connsiteX13" fmla="*/ 7923 w 9952"/>
                  <a:gd name="connsiteY13" fmla="*/ 8889 h 9944"/>
                  <a:gd name="connsiteX14" fmla="*/ 5845 w 9952"/>
                  <a:gd name="connsiteY14" fmla="*/ 9611 h 9944"/>
                  <a:gd name="connsiteX15" fmla="*/ 3961 w 9952"/>
                  <a:gd name="connsiteY15" fmla="*/ 9944 h 9944"/>
                  <a:gd name="connsiteX16" fmla="*/ 1884 w 9952"/>
                  <a:gd name="connsiteY16" fmla="*/ 9167 h 9944"/>
                  <a:gd name="connsiteX17" fmla="*/ 1159 w 9952"/>
                  <a:gd name="connsiteY17" fmla="*/ 7778 h 9944"/>
                  <a:gd name="connsiteX18" fmla="*/ 0 w 9952"/>
                  <a:gd name="connsiteY18" fmla="*/ 6944 h 9944"/>
                  <a:gd name="connsiteX19" fmla="*/ 0 w 9952"/>
                  <a:gd name="connsiteY19" fmla="*/ 6944 h 9944"/>
                  <a:gd name="connsiteX0" fmla="*/ 0 w 10000"/>
                  <a:gd name="connsiteY0" fmla="*/ 6983 h 10000"/>
                  <a:gd name="connsiteX1" fmla="*/ 0 w 10000"/>
                  <a:gd name="connsiteY1" fmla="*/ 6983 h 10000"/>
                  <a:gd name="connsiteX2" fmla="*/ 777 w 10000"/>
                  <a:gd name="connsiteY2" fmla="*/ 6480 h 10000"/>
                  <a:gd name="connsiteX3" fmla="*/ 825 w 10000"/>
                  <a:gd name="connsiteY3" fmla="*/ 5196 h 10000"/>
                  <a:gd name="connsiteX4" fmla="*/ 2136 w 10000"/>
                  <a:gd name="connsiteY4" fmla="*/ 3576 h 10000"/>
                  <a:gd name="connsiteX5" fmla="*/ 2670 w 10000"/>
                  <a:gd name="connsiteY5" fmla="*/ 614 h 10000"/>
                  <a:gd name="connsiteX6" fmla="*/ 3689 w 10000"/>
                  <a:gd name="connsiteY6" fmla="*/ 0 h 10000"/>
                  <a:gd name="connsiteX7" fmla="*/ 4417 w 10000"/>
                  <a:gd name="connsiteY7" fmla="*/ 1955 h 10000"/>
                  <a:gd name="connsiteX8" fmla="*/ 6650 w 10000"/>
                  <a:gd name="connsiteY8" fmla="*/ 3688 h 10000"/>
                  <a:gd name="connsiteX9" fmla="*/ 6410 w 10000"/>
                  <a:gd name="connsiteY9" fmla="*/ 3910 h 10000"/>
                  <a:gd name="connsiteX10" fmla="*/ 5713 w 10000"/>
                  <a:gd name="connsiteY10" fmla="*/ 3609 h 10000"/>
                  <a:gd name="connsiteX11" fmla="*/ 7378 w 10000"/>
                  <a:gd name="connsiteY11" fmla="*/ 6202 h 10000"/>
                  <a:gd name="connsiteX12" fmla="*/ 10000 w 10000"/>
                  <a:gd name="connsiteY12" fmla="*/ 6871 h 10000"/>
                  <a:gd name="connsiteX13" fmla="*/ 7961 w 10000"/>
                  <a:gd name="connsiteY13" fmla="*/ 8939 h 10000"/>
                  <a:gd name="connsiteX14" fmla="*/ 5873 w 10000"/>
                  <a:gd name="connsiteY14" fmla="*/ 9665 h 10000"/>
                  <a:gd name="connsiteX15" fmla="*/ 3980 w 10000"/>
                  <a:gd name="connsiteY15" fmla="*/ 10000 h 10000"/>
                  <a:gd name="connsiteX16" fmla="*/ 1893 w 10000"/>
                  <a:gd name="connsiteY16" fmla="*/ 9219 h 10000"/>
                  <a:gd name="connsiteX17" fmla="*/ 1165 w 10000"/>
                  <a:gd name="connsiteY17" fmla="*/ 7822 h 10000"/>
                  <a:gd name="connsiteX18" fmla="*/ 0 w 10000"/>
                  <a:gd name="connsiteY18" fmla="*/ 6983 h 10000"/>
                  <a:gd name="connsiteX19" fmla="*/ 0 w 10000"/>
                  <a:gd name="connsiteY19" fmla="*/ 6983 h 10000"/>
                  <a:gd name="connsiteX0" fmla="*/ 0 w 10000"/>
                  <a:gd name="connsiteY0" fmla="*/ 6983 h 10000"/>
                  <a:gd name="connsiteX1" fmla="*/ 0 w 10000"/>
                  <a:gd name="connsiteY1" fmla="*/ 6983 h 10000"/>
                  <a:gd name="connsiteX2" fmla="*/ 777 w 10000"/>
                  <a:gd name="connsiteY2" fmla="*/ 6480 h 10000"/>
                  <a:gd name="connsiteX3" fmla="*/ 825 w 10000"/>
                  <a:gd name="connsiteY3" fmla="*/ 5196 h 10000"/>
                  <a:gd name="connsiteX4" fmla="*/ 2136 w 10000"/>
                  <a:gd name="connsiteY4" fmla="*/ 3576 h 10000"/>
                  <a:gd name="connsiteX5" fmla="*/ 2670 w 10000"/>
                  <a:gd name="connsiteY5" fmla="*/ 614 h 10000"/>
                  <a:gd name="connsiteX6" fmla="*/ 3689 w 10000"/>
                  <a:gd name="connsiteY6" fmla="*/ 0 h 10000"/>
                  <a:gd name="connsiteX7" fmla="*/ 4417 w 10000"/>
                  <a:gd name="connsiteY7" fmla="*/ 1955 h 10000"/>
                  <a:gd name="connsiteX8" fmla="*/ 6650 w 10000"/>
                  <a:gd name="connsiteY8" fmla="*/ 3688 h 10000"/>
                  <a:gd name="connsiteX9" fmla="*/ 6410 w 10000"/>
                  <a:gd name="connsiteY9" fmla="*/ 3910 h 10000"/>
                  <a:gd name="connsiteX10" fmla="*/ 5713 w 10000"/>
                  <a:gd name="connsiteY10" fmla="*/ 3609 h 10000"/>
                  <a:gd name="connsiteX11" fmla="*/ 4656 w 10000"/>
                  <a:gd name="connsiteY11" fmla="*/ 2614 h 10000"/>
                  <a:gd name="connsiteX12" fmla="*/ 10000 w 10000"/>
                  <a:gd name="connsiteY12" fmla="*/ 6871 h 10000"/>
                  <a:gd name="connsiteX13" fmla="*/ 7961 w 10000"/>
                  <a:gd name="connsiteY13" fmla="*/ 8939 h 10000"/>
                  <a:gd name="connsiteX14" fmla="*/ 5873 w 10000"/>
                  <a:gd name="connsiteY14" fmla="*/ 9665 h 10000"/>
                  <a:gd name="connsiteX15" fmla="*/ 3980 w 10000"/>
                  <a:gd name="connsiteY15" fmla="*/ 10000 h 10000"/>
                  <a:gd name="connsiteX16" fmla="*/ 1893 w 10000"/>
                  <a:gd name="connsiteY16" fmla="*/ 9219 h 10000"/>
                  <a:gd name="connsiteX17" fmla="*/ 1165 w 10000"/>
                  <a:gd name="connsiteY17" fmla="*/ 7822 h 10000"/>
                  <a:gd name="connsiteX18" fmla="*/ 0 w 10000"/>
                  <a:gd name="connsiteY18" fmla="*/ 6983 h 10000"/>
                  <a:gd name="connsiteX19" fmla="*/ 0 w 10000"/>
                  <a:gd name="connsiteY19" fmla="*/ 6983 h 10000"/>
                  <a:gd name="connsiteX0" fmla="*/ 0 w 7961"/>
                  <a:gd name="connsiteY0" fmla="*/ 6983 h 10000"/>
                  <a:gd name="connsiteX1" fmla="*/ 0 w 7961"/>
                  <a:gd name="connsiteY1" fmla="*/ 6983 h 10000"/>
                  <a:gd name="connsiteX2" fmla="*/ 777 w 7961"/>
                  <a:gd name="connsiteY2" fmla="*/ 6480 h 10000"/>
                  <a:gd name="connsiteX3" fmla="*/ 825 w 7961"/>
                  <a:gd name="connsiteY3" fmla="*/ 5196 h 10000"/>
                  <a:gd name="connsiteX4" fmla="*/ 2136 w 7961"/>
                  <a:gd name="connsiteY4" fmla="*/ 3576 h 10000"/>
                  <a:gd name="connsiteX5" fmla="*/ 2670 w 7961"/>
                  <a:gd name="connsiteY5" fmla="*/ 614 h 10000"/>
                  <a:gd name="connsiteX6" fmla="*/ 3689 w 7961"/>
                  <a:gd name="connsiteY6" fmla="*/ 0 h 10000"/>
                  <a:gd name="connsiteX7" fmla="*/ 4417 w 7961"/>
                  <a:gd name="connsiteY7" fmla="*/ 1955 h 10000"/>
                  <a:gd name="connsiteX8" fmla="*/ 6650 w 7961"/>
                  <a:gd name="connsiteY8" fmla="*/ 3688 h 10000"/>
                  <a:gd name="connsiteX9" fmla="*/ 6410 w 7961"/>
                  <a:gd name="connsiteY9" fmla="*/ 3910 h 10000"/>
                  <a:gd name="connsiteX10" fmla="*/ 5713 w 7961"/>
                  <a:gd name="connsiteY10" fmla="*/ 3609 h 10000"/>
                  <a:gd name="connsiteX11" fmla="*/ 4656 w 7961"/>
                  <a:gd name="connsiteY11" fmla="*/ 2614 h 10000"/>
                  <a:gd name="connsiteX12" fmla="*/ 3733 w 7961"/>
                  <a:gd name="connsiteY12" fmla="*/ 2452 h 10000"/>
                  <a:gd name="connsiteX13" fmla="*/ 7961 w 7961"/>
                  <a:gd name="connsiteY13" fmla="*/ 8939 h 10000"/>
                  <a:gd name="connsiteX14" fmla="*/ 5873 w 7961"/>
                  <a:gd name="connsiteY14" fmla="*/ 9665 h 10000"/>
                  <a:gd name="connsiteX15" fmla="*/ 3980 w 7961"/>
                  <a:gd name="connsiteY15" fmla="*/ 10000 h 10000"/>
                  <a:gd name="connsiteX16" fmla="*/ 1893 w 7961"/>
                  <a:gd name="connsiteY16" fmla="*/ 9219 h 10000"/>
                  <a:gd name="connsiteX17" fmla="*/ 1165 w 7961"/>
                  <a:gd name="connsiteY17" fmla="*/ 7822 h 10000"/>
                  <a:gd name="connsiteX18" fmla="*/ 0 w 7961"/>
                  <a:gd name="connsiteY18" fmla="*/ 6983 h 10000"/>
                  <a:gd name="connsiteX19" fmla="*/ 0 w 7961"/>
                  <a:gd name="connsiteY19" fmla="*/ 6983 h 10000"/>
                  <a:gd name="connsiteX0" fmla="*/ 0 w 8353"/>
                  <a:gd name="connsiteY0" fmla="*/ 6983 h 10000"/>
                  <a:gd name="connsiteX1" fmla="*/ 0 w 8353"/>
                  <a:gd name="connsiteY1" fmla="*/ 6983 h 10000"/>
                  <a:gd name="connsiteX2" fmla="*/ 976 w 8353"/>
                  <a:gd name="connsiteY2" fmla="*/ 6480 h 10000"/>
                  <a:gd name="connsiteX3" fmla="*/ 1036 w 8353"/>
                  <a:gd name="connsiteY3" fmla="*/ 5196 h 10000"/>
                  <a:gd name="connsiteX4" fmla="*/ 2683 w 8353"/>
                  <a:gd name="connsiteY4" fmla="*/ 3576 h 10000"/>
                  <a:gd name="connsiteX5" fmla="*/ 3354 w 8353"/>
                  <a:gd name="connsiteY5" fmla="*/ 614 h 10000"/>
                  <a:gd name="connsiteX6" fmla="*/ 4634 w 8353"/>
                  <a:gd name="connsiteY6" fmla="*/ 0 h 10000"/>
                  <a:gd name="connsiteX7" fmla="*/ 5548 w 8353"/>
                  <a:gd name="connsiteY7" fmla="*/ 1955 h 10000"/>
                  <a:gd name="connsiteX8" fmla="*/ 8353 w 8353"/>
                  <a:gd name="connsiteY8" fmla="*/ 3688 h 10000"/>
                  <a:gd name="connsiteX9" fmla="*/ 8052 w 8353"/>
                  <a:gd name="connsiteY9" fmla="*/ 3910 h 10000"/>
                  <a:gd name="connsiteX10" fmla="*/ 7176 w 8353"/>
                  <a:gd name="connsiteY10" fmla="*/ 3609 h 10000"/>
                  <a:gd name="connsiteX11" fmla="*/ 5849 w 8353"/>
                  <a:gd name="connsiteY11" fmla="*/ 2614 h 10000"/>
                  <a:gd name="connsiteX12" fmla="*/ 4689 w 8353"/>
                  <a:gd name="connsiteY12" fmla="*/ 2452 h 10000"/>
                  <a:gd name="connsiteX13" fmla="*/ 3964 w 8353"/>
                  <a:gd name="connsiteY13" fmla="*/ 2609 h 10000"/>
                  <a:gd name="connsiteX14" fmla="*/ 7377 w 8353"/>
                  <a:gd name="connsiteY14" fmla="*/ 9665 h 10000"/>
                  <a:gd name="connsiteX15" fmla="*/ 4999 w 8353"/>
                  <a:gd name="connsiteY15" fmla="*/ 10000 h 10000"/>
                  <a:gd name="connsiteX16" fmla="*/ 2378 w 8353"/>
                  <a:gd name="connsiteY16" fmla="*/ 9219 h 10000"/>
                  <a:gd name="connsiteX17" fmla="*/ 1463 w 8353"/>
                  <a:gd name="connsiteY17" fmla="*/ 7822 h 10000"/>
                  <a:gd name="connsiteX18" fmla="*/ 0 w 8353"/>
                  <a:gd name="connsiteY18" fmla="*/ 6983 h 10000"/>
                  <a:gd name="connsiteX19" fmla="*/ 0 w 8353"/>
                  <a:gd name="connsiteY19" fmla="*/ 6983 h 10000"/>
                  <a:gd name="connsiteX0" fmla="*/ 0 w 10000"/>
                  <a:gd name="connsiteY0" fmla="*/ 6983 h 10000"/>
                  <a:gd name="connsiteX1" fmla="*/ 0 w 10000"/>
                  <a:gd name="connsiteY1" fmla="*/ 6983 h 10000"/>
                  <a:gd name="connsiteX2" fmla="*/ 1168 w 10000"/>
                  <a:gd name="connsiteY2" fmla="*/ 6480 h 10000"/>
                  <a:gd name="connsiteX3" fmla="*/ 1240 w 10000"/>
                  <a:gd name="connsiteY3" fmla="*/ 5196 h 10000"/>
                  <a:gd name="connsiteX4" fmla="*/ 3212 w 10000"/>
                  <a:gd name="connsiteY4" fmla="*/ 3576 h 10000"/>
                  <a:gd name="connsiteX5" fmla="*/ 4015 w 10000"/>
                  <a:gd name="connsiteY5" fmla="*/ 614 h 10000"/>
                  <a:gd name="connsiteX6" fmla="*/ 5548 w 10000"/>
                  <a:gd name="connsiteY6" fmla="*/ 0 h 10000"/>
                  <a:gd name="connsiteX7" fmla="*/ 6642 w 10000"/>
                  <a:gd name="connsiteY7" fmla="*/ 1955 h 10000"/>
                  <a:gd name="connsiteX8" fmla="*/ 10000 w 10000"/>
                  <a:gd name="connsiteY8" fmla="*/ 3688 h 10000"/>
                  <a:gd name="connsiteX9" fmla="*/ 9640 w 10000"/>
                  <a:gd name="connsiteY9" fmla="*/ 3910 h 10000"/>
                  <a:gd name="connsiteX10" fmla="*/ 8591 w 10000"/>
                  <a:gd name="connsiteY10" fmla="*/ 3609 h 10000"/>
                  <a:gd name="connsiteX11" fmla="*/ 7002 w 10000"/>
                  <a:gd name="connsiteY11" fmla="*/ 2614 h 10000"/>
                  <a:gd name="connsiteX12" fmla="*/ 5477 w 10000"/>
                  <a:gd name="connsiteY12" fmla="*/ 2421 h 10000"/>
                  <a:gd name="connsiteX13" fmla="*/ 4746 w 10000"/>
                  <a:gd name="connsiteY13" fmla="*/ 2609 h 10000"/>
                  <a:gd name="connsiteX14" fmla="*/ 8832 w 10000"/>
                  <a:gd name="connsiteY14" fmla="*/ 9665 h 10000"/>
                  <a:gd name="connsiteX15" fmla="*/ 5985 w 10000"/>
                  <a:gd name="connsiteY15" fmla="*/ 10000 h 10000"/>
                  <a:gd name="connsiteX16" fmla="*/ 2847 w 10000"/>
                  <a:gd name="connsiteY16" fmla="*/ 9219 h 10000"/>
                  <a:gd name="connsiteX17" fmla="*/ 1751 w 10000"/>
                  <a:gd name="connsiteY17" fmla="*/ 7822 h 10000"/>
                  <a:gd name="connsiteX18" fmla="*/ 0 w 10000"/>
                  <a:gd name="connsiteY18" fmla="*/ 6983 h 10000"/>
                  <a:gd name="connsiteX19" fmla="*/ 0 w 10000"/>
                  <a:gd name="connsiteY19" fmla="*/ 6983 h 10000"/>
                  <a:gd name="connsiteX0" fmla="*/ 0 w 10000"/>
                  <a:gd name="connsiteY0" fmla="*/ 6983 h 10000"/>
                  <a:gd name="connsiteX1" fmla="*/ 0 w 10000"/>
                  <a:gd name="connsiteY1" fmla="*/ 6983 h 10000"/>
                  <a:gd name="connsiteX2" fmla="*/ 1168 w 10000"/>
                  <a:gd name="connsiteY2" fmla="*/ 6480 h 10000"/>
                  <a:gd name="connsiteX3" fmla="*/ 1240 w 10000"/>
                  <a:gd name="connsiteY3" fmla="*/ 5196 h 10000"/>
                  <a:gd name="connsiteX4" fmla="*/ 3212 w 10000"/>
                  <a:gd name="connsiteY4" fmla="*/ 3576 h 10000"/>
                  <a:gd name="connsiteX5" fmla="*/ 4015 w 10000"/>
                  <a:gd name="connsiteY5" fmla="*/ 614 h 10000"/>
                  <a:gd name="connsiteX6" fmla="*/ 5548 w 10000"/>
                  <a:gd name="connsiteY6" fmla="*/ 0 h 10000"/>
                  <a:gd name="connsiteX7" fmla="*/ 6642 w 10000"/>
                  <a:gd name="connsiteY7" fmla="*/ 1955 h 10000"/>
                  <a:gd name="connsiteX8" fmla="*/ 10000 w 10000"/>
                  <a:gd name="connsiteY8" fmla="*/ 3688 h 10000"/>
                  <a:gd name="connsiteX9" fmla="*/ 9640 w 10000"/>
                  <a:gd name="connsiteY9" fmla="*/ 3910 h 10000"/>
                  <a:gd name="connsiteX10" fmla="*/ 8591 w 10000"/>
                  <a:gd name="connsiteY10" fmla="*/ 3609 h 10000"/>
                  <a:gd name="connsiteX11" fmla="*/ 7002 w 10000"/>
                  <a:gd name="connsiteY11" fmla="*/ 2614 h 10000"/>
                  <a:gd name="connsiteX12" fmla="*/ 5477 w 10000"/>
                  <a:gd name="connsiteY12" fmla="*/ 2421 h 10000"/>
                  <a:gd name="connsiteX13" fmla="*/ 4746 w 10000"/>
                  <a:gd name="connsiteY13" fmla="*/ 2609 h 10000"/>
                  <a:gd name="connsiteX14" fmla="*/ 4436 w 10000"/>
                  <a:gd name="connsiteY14" fmla="*/ 2363 h 10000"/>
                  <a:gd name="connsiteX15" fmla="*/ 5985 w 10000"/>
                  <a:gd name="connsiteY15" fmla="*/ 10000 h 10000"/>
                  <a:gd name="connsiteX16" fmla="*/ 2847 w 10000"/>
                  <a:gd name="connsiteY16" fmla="*/ 9219 h 10000"/>
                  <a:gd name="connsiteX17" fmla="*/ 1751 w 10000"/>
                  <a:gd name="connsiteY17" fmla="*/ 7822 h 10000"/>
                  <a:gd name="connsiteX18" fmla="*/ 0 w 10000"/>
                  <a:gd name="connsiteY18" fmla="*/ 6983 h 10000"/>
                  <a:gd name="connsiteX19" fmla="*/ 0 w 10000"/>
                  <a:gd name="connsiteY19" fmla="*/ 6983 h 10000"/>
                  <a:gd name="connsiteX0" fmla="*/ 0 w 10000"/>
                  <a:gd name="connsiteY0" fmla="*/ 6983 h 9219"/>
                  <a:gd name="connsiteX1" fmla="*/ 0 w 10000"/>
                  <a:gd name="connsiteY1" fmla="*/ 6983 h 9219"/>
                  <a:gd name="connsiteX2" fmla="*/ 1168 w 10000"/>
                  <a:gd name="connsiteY2" fmla="*/ 6480 h 9219"/>
                  <a:gd name="connsiteX3" fmla="*/ 1240 w 10000"/>
                  <a:gd name="connsiteY3" fmla="*/ 5196 h 9219"/>
                  <a:gd name="connsiteX4" fmla="*/ 3212 w 10000"/>
                  <a:gd name="connsiteY4" fmla="*/ 3576 h 9219"/>
                  <a:gd name="connsiteX5" fmla="*/ 4015 w 10000"/>
                  <a:gd name="connsiteY5" fmla="*/ 614 h 9219"/>
                  <a:gd name="connsiteX6" fmla="*/ 5548 w 10000"/>
                  <a:gd name="connsiteY6" fmla="*/ 0 h 9219"/>
                  <a:gd name="connsiteX7" fmla="*/ 6642 w 10000"/>
                  <a:gd name="connsiteY7" fmla="*/ 1955 h 9219"/>
                  <a:gd name="connsiteX8" fmla="*/ 10000 w 10000"/>
                  <a:gd name="connsiteY8" fmla="*/ 3688 h 9219"/>
                  <a:gd name="connsiteX9" fmla="*/ 9640 w 10000"/>
                  <a:gd name="connsiteY9" fmla="*/ 3910 h 9219"/>
                  <a:gd name="connsiteX10" fmla="*/ 8591 w 10000"/>
                  <a:gd name="connsiteY10" fmla="*/ 3609 h 9219"/>
                  <a:gd name="connsiteX11" fmla="*/ 7002 w 10000"/>
                  <a:gd name="connsiteY11" fmla="*/ 2614 h 9219"/>
                  <a:gd name="connsiteX12" fmla="*/ 5477 w 10000"/>
                  <a:gd name="connsiteY12" fmla="*/ 2421 h 9219"/>
                  <a:gd name="connsiteX13" fmla="*/ 4746 w 10000"/>
                  <a:gd name="connsiteY13" fmla="*/ 2609 h 9219"/>
                  <a:gd name="connsiteX14" fmla="*/ 4436 w 10000"/>
                  <a:gd name="connsiteY14" fmla="*/ 2363 h 9219"/>
                  <a:gd name="connsiteX15" fmla="*/ 4117 w 10000"/>
                  <a:gd name="connsiteY15" fmla="*/ 2244 h 9219"/>
                  <a:gd name="connsiteX16" fmla="*/ 2847 w 10000"/>
                  <a:gd name="connsiteY16" fmla="*/ 9219 h 9219"/>
                  <a:gd name="connsiteX17" fmla="*/ 1751 w 10000"/>
                  <a:gd name="connsiteY17" fmla="*/ 7822 h 9219"/>
                  <a:gd name="connsiteX18" fmla="*/ 0 w 10000"/>
                  <a:gd name="connsiteY18" fmla="*/ 6983 h 9219"/>
                  <a:gd name="connsiteX19" fmla="*/ 0 w 10000"/>
                  <a:gd name="connsiteY19" fmla="*/ 6983 h 9219"/>
                  <a:gd name="connsiteX0" fmla="*/ 0 w 10000"/>
                  <a:gd name="connsiteY0" fmla="*/ 7575 h 8485"/>
                  <a:gd name="connsiteX1" fmla="*/ 0 w 10000"/>
                  <a:gd name="connsiteY1" fmla="*/ 7575 h 8485"/>
                  <a:gd name="connsiteX2" fmla="*/ 1168 w 10000"/>
                  <a:gd name="connsiteY2" fmla="*/ 7029 h 8485"/>
                  <a:gd name="connsiteX3" fmla="*/ 1240 w 10000"/>
                  <a:gd name="connsiteY3" fmla="*/ 5636 h 8485"/>
                  <a:gd name="connsiteX4" fmla="*/ 3212 w 10000"/>
                  <a:gd name="connsiteY4" fmla="*/ 3879 h 8485"/>
                  <a:gd name="connsiteX5" fmla="*/ 4015 w 10000"/>
                  <a:gd name="connsiteY5" fmla="*/ 666 h 8485"/>
                  <a:gd name="connsiteX6" fmla="*/ 5548 w 10000"/>
                  <a:gd name="connsiteY6" fmla="*/ 0 h 8485"/>
                  <a:gd name="connsiteX7" fmla="*/ 6642 w 10000"/>
                  <a:gd name="connsiteY7" fmla="*/ 2121 h 8485"/>
                  <a:gd name="connsiteX8" fmla="*/ 10000 w 10000"/>
                  <a:gd name="connsiteY8" fmla="*/ 4000 h 8485"/>
                  <a:gd name="connsiteX9" fmla="*/ 9640 w 10000"/>
                  <a:gd name="connsiteY9" fmla="*/ 4241 h 8485"/>
                  <a:gd name="connsiteX10" fmla="*/ 8591 w 10000"/>
                  <a:gd name="connsiteY10" fmla="*/ 3915 h 8485"/>
                  <a:gd name="connsiteX11" fmla="*/ 7002 w 10000"/>
                  <a:gd name="connsiteY11" fmla="*/ 2835 h 8485"/>
                  <a:gd name="connsiteX12" fmla="*/ 5477 w 10000"/>
                  <a:gd name="connsiteY12" fmla="*/ 2626 h 8485"/>
                  <a:gd name="connsiteX13" fmla="*/ 4746 w 10000"/>
                  <a:gd name="connsiteY13" fmla="*/ 2830 h 8485"/>
                  <a:gd name="connsiteX14" fmla="*/ 4436 w 10000"/>
                  <a:gd name="connsiteY14" fmla="*/ 2563 h 8485"/>
                  <a:gd name="connsiteX15" fmla="*/ 4117 w 10000"/>
                  <a:gd name="connsiteY15" fmla="*/ 2434 h 8485"/>
                  <a:gd name="connsiteX16" fmla="*/ 3754 w 10000"/>
                  <a:gd name="connsiteY16" fmla="*/ 2981 h 8485"/>
                  <a:gd name="connsiteX17" fmla="*/ 1751 w 10000"/>
                  <a:gd name="connsiteY17" fmla="*/ 8485 h 8485"/>
                  <a:gd name="connsiteX18" fmla="*/ 0 w 10000"/>
                  <a:gd name="connsiteY18" fmla="*/ 7575 h 8485"/>
                  <a:gd name="connsiteX19" fmla="*/ 0 w 10000"/>
                  <a:gd name="connsiteY19" fmla="*/ 7575 h 8485"/>
                  <a:gd name="connsiteX0" fmla="*/ 0 w 10000"/>
                  <a:gd name="connsiteY0" fmla="*/ 8928 h 10000"/>
                  <a:gd name="connsiteX1" fmla="*/ 0 w 10000"/>
                  <a:gd name="connsiteY1" fmla="*/ 8928 h 10000"/>
                  <a:gd name="connsiteX2" fmla="*/ 1168 w 10000"/>
                  <a:gd name="connsiteY2" fmla="*/ 8284 h 10000"/>
                  <a:gd name="connsiteX3" fmla="*/ 1240 w 10000"/>
                  <a:gd name="connsiteY3" fmla="*/ 6642 h 10000"/>
                  <a:gd name="connsiteX4" fmla="*/ 3157 w 10000"/>
                  <a:gd name="connsiteY4" fmla="*/ 1027 h 10000"/>
                  <a:gd name="connsiteX5" fmla="*/ 4015 w 10000"/>
                  <a:gd name="connsiteY5" fmla="*/ 785 h 10000"/>
                  <a:gd name="connsiteX6" fmla="*/ 5548 w 10000"/>
                  <a:gd name="connsiteY6" fmla="*/ 0 h 10000"/>
                  <a:gd name="connsiteX7" fmla="*/ 6642 w 10000"/>
                  <a:gd name="connsiteY7" fmla="*/ 2500 h 10000"/>
                  <a:gd name="connsiteX8" fmla="*/ 10000 w 10000"/>
                  <a:gd name="connsiteY8" fmla="*/ 4714 h 10000"/>
                  <a:gd name="connsiteX9" fmla="*/ 9640 w 10000"/>
                  <a:gd name="connsiteY9" fmla="*/ 4998 h 10000"/>
                  <a:gd name="connsiteX10" fmla="*/ 8591 w 10000"/>
                  <a:gd name="connsiteY10" fmla="*/ 4614 h 10000"/>
                  <a:gd name="connsiteX11" fmla="*/ 7002 w 10000"/>
                  <a:gd name="connsiteY11" fmla="*/ 3341 h 10000"/>
                  <a:gd name="connsiteX12" fmla="*/ 5477 w 10000"/>
                  <a:gd name="connsiteY12" fmla="*/ 3095 h 10000"/>
                  <a:gd name="connsiteX13" fmla="*/ 4746 w 10000"/>
                  <a:gd name="connsiteY13" fmla="*/ 3335 h 10000"/>
                  <a:gd name="connsiteX14" fmla="*/ 4436 w 10000"/>
                  <a:gd name="connsiteY14" fmla="*/ 3021 h 10000"/>
                  <a:gd name="connsiteX15" fmla="*/ 4117 w 10000"/>
                  <a:gd name="connsiteY15" fmla="*/ 2869 h 10000"/>
                  <a:gd name="connsiteX16" fmla="*/ 3754 w 10000"/>
                  <a:gd name="connsiteY16" fmla="*/ 3513 h 10000"/>
                  <a:gd name="connsiteX17" fmla="*/ 1751 w 10000"/>
                  <a:gd name="connsiteY17" fmla="*/ 10000 h 10000"/>
                  <a:gd name="connsiteX18" fmla="*/ 0 w 10000"/>
                  <a:gd name="connsiteY18" fmla="*/ 8928 h 10000"/>
                  <a:gd name="connsiteX19" fmla="*/ 0 w 10000"/>
                  <a:gd name="connsiteY19" fmla="*/ 8928 h 10000"/>
                  <a:gd name="connsiteX0" fmla="*/ 0 w 10000"/>
                  <a:gd name="connsiteY0" fmla="*/ 8928 h 10000"/>
                  <a:gd name="connsiteX1" fmla="*/ 0 w 10000"/>
                  <a:gd name="connsiteY1" fmla="*/ 8928 h 10000"/>
                  <a:gd name="connsiteX2" fmla="*/ 1168 w 10000"/>
                  <a:gd name="connsiteY2" fmla="*/ 8284 h 10000"/>
                  <a:gd name="connsiteX3" fmla="*/ 1240 w 10000"/>
                  <a:gd name="connsiteY3" fmla="*/ 6642 h 10000"/>
                  <a:gd name="connsiteX4" fmla="*/ 3157 w 10000"/>
                  <a:gd name="connsiteY4" fmla="*/ 1027 h 10000"/>
                  <a:gd name="connsiteX5" fmla="*/ 4015 w 10000"/>
                  <a:gd name="connsiteY5" fmla="*/ 785 h 10000"/>
                  <a:gd name="connsiteX6" fmla="*/ 5548 w 10000"/>
                  <a:gd name="connsiteY6" fmla="*/ 0 h 10000"/>
                  <a:gd name="connsiteX7" fmla="*/ 6642 w 10000"/>
                  <a:gd name="connsiteY7" fmla="*/ 2500 h 10000"/>
                  <a:gd name="connsiteX8" fmla="*/ 10000 w 10000"/>
                  <a:gd name="connsiteY8" fmla="*/ 4714 h 10000"/>
                  <a:gd name="connsiteX9" fmla="*/ 9640 w 10000"/>
                  <a:gd name="connsiteY9" fmla="*/ 4998 h 10000"/>
                  <a:gd name="connsiteX10" fmla="*/ 8591 w 10000"/>
                  <a:gd name="connsiteY10" fmla="*/ 4614 h 10000"/>
                  <a:gd name="connsiteX11" fmla="*/ 7002 w 10000"/>
                  <a:gd name="connsiteY11" fmla="*/ 3341 h 10000"/>
                  <a:gd name="connsiteX12" fmla="*/ 5477 w 10000"/>
                  <a:gd name="connsiteY12" fmla="*/ 3095 h 10000"/>
                  <a:gd name="connsiteX13" fmla="*/ 4746 w 10000"/>
                  <a:gd name="connsiteY13" fmla="*/ 3335 h 10000"/>
                  <a:gd name="connsiteX14" fmla="*/ 4436 w 10000"/>
                  <a:gd name="connsiteY14" fmla="*/ 3021 h 10000"/>
                  <a:gd name="connsiteX15" fmla="*/ 4117 w 10000"/>
                  <a:gd name="connsiteY15" fmla="*/ 2869 h 10000"/>
                  <a:gd name="connsiteX16" fmla="*/ 3754 w 10000"/>
                  <a:gd name="connsiteY16" fmla="*/ 3513 h 10000"/>
                  <a:gd name="connsiteX17" fmla="*/ 1751 w 10000"/>
                  <a:gd name="connsiteY17" fmla="*/ 10000 h 10000"/>
                  <a:gd name="connsiteX18" fmla="*/ 0 w 10000"/>
                  <a:gd name="connsiteY18" fmla="*/ 8928 h 10000"/>
                  <a:gd name="connsiteX19" fmla="*/ 0 w 10000"/>
                  <a:gd name="connsiteY19" fmla="*/ 8928 h 10000"/>
                  <a:gd name="connsiteX0" fmla="*/ 0 w 10000"/>
                  <a:gd name="connsiteY0" fmla="*/ 8928 h 10000"/>
                  <a:gd name="connsiteX1" fmla="*/ 0 w 10000"/>
                  <a:gd name="connsiteY1" fmla="*/ 8928 h 10000"/>
                  <a:gd name="connsiteX2" fmla="*/ 1168 w 10000"/>
                  <a:gd name="connsiteY2" fmla="*/ 8284 h 10000"/>
                  <a:gd name="connsiteX3" fmla="*/ 2531 w 10000"/>
                  <a:gd name="connsiteY3" fmla="*/ 2636 h 10000"/>
                  <a:gd name="connsiteX4" fmla="*/ 3157 w 10000"/>
                  <a:gd name="connsiteY4" fmla="*/ 1027 h 10000"/>
                  <a:gd name="connsiteX5" fmla="*/ 4015 w 10000"/>
                  <a:gd name="connsiteY5" fmla="*/ 785 h 10000"/>
                  <a:gd name="connsiteX6" fmla="*/ 5548 w 10000"/>
                  <a:gd name="connsiteY6" fmla="*/ 0 h 10000"/>
                  <a:gd name="connsiteX7" fmla="*/ 6642 w 10000"/>
                  <a:gd name="connsiteY7" fmla="*/ 2500 h 10000"/>
                  <a:gd name="connsiteX8" fmla="*/ 10000 w 10000"/>
                  <a:gd name="connsiteY8" fmla="*/ 4714 h 10000"/>
                  <a:gd name="connsiteX9" fmla="*/ 9640 w 10000"/>
                  <a:gd name="connsiteY9" fmla="*/ 4998 h 10000"/>
                  <a:gd name="connsiteX10" fmla="*/ 8591 w 10000"/>
                  <a:gd name="connsiteY10" fmla="*/ 4614 h 10000"/>
                  <a:gd name="connsiteX11" fmla="*/ 7002 w 10000"/>
                  <a:gd name="connsiteY11" fmla="*/ 3341 h 10000"/>
                  <a:gd name="connsiteX12" fmla="*/ 5477 w 10000"/>
                  <a:gd name="connsiteY12" fmla="*/ 3095 h 10000"/>
                  <a:gd name="connsiteX13" fmla="*/ 4746 w 10000"/>
                  <a:gd name="connsiteY13" fmla="*/ 3335 h 10000"/>
                  <a:gd name="connsiteX14" fmla="*/ 4436 w 10000"/>
                  <a:gd name="connsiteY14" fmla="*/ 3021 h 10000"/>
                  <a:gd name="connsiteX15" fmla="*/ 4117 w 10000"/>
                  <a:gd name="connsiteY15" fmla="*/ 2869 h 10000"/>
                  <a:gd name="connsiteX16" fmla="*/ 3754 w 10000"/>
                  <a:gd name="connsiteY16" fmla="*/ 3513 h 10000"/>
                  <a:gd name="connsiteX17" fmla="*/ 1751 w 10000"/>
                  <a:gd name="connsiteY17" fmla="*/ 10000 h 10000"/>
                  <a:gd name="connsiteX18" fmla="*/ 0 w 10000"/>
                  <a:gd name="connsiteY18" fmla="*/ 8928 h 10000"/>
                  <a:gd name="connsiteX19" fmla="*/ 0 w 10000"/>
                  <a:gd name="connsiteY19" fmla="*/ 8928 h 10000"/>
                  <a:gd name="connsiteX0" fmla="*/ 0 w 10000"/>
                  <a:gd name="connsiteY0" fmla="*/ 8928 h 10000"/>
                  <a:gd name="connsiteX1" fmla="*/ 0 w 10000"/>
                  <a:gd name="connsiteY1" fmla="*/ 8928 h 10000"/>
                  <a:gd name="connsiteX2" fmla="*/ 2514 w 10000"/>
                  <a:gd name="connsiteY2" fmla="*/ 3316 h 10000"/>
                  <a:gd name="connsiteX3" fmla="*/ 2531 w 10000"/>
                  <a:gd name="connsiteY3" fmla="*/ 2636 h 10000"/>
                  <a:gd name="connsiteX4" fmla="*/ 3157 w 10000"/>
                  <a:gd name="connsiteY4" fmla="*/ 1027 h 10000"/>
                  <a:gd name="connsiteX5" fmla="*/ 4015 w 10000"/>
                  <a:gd name="connsiteY5" fmla="*/ 785 h 10000"/>
                  <a:gd name="connsiteX6" fmla="*/ 5548 w 10000"/>
                  <a:gd name="connsiteY6" fmla="*/ 0 h 10000"/>
                  <a:gd name="connsiteX7" fmla="*/ 6642 w 10000"/>
                  <a:gd name="connsiteY7" fmla="*/ 2500 h 10000"/>
                  <a:gd name="connsiteX8" fmla="*/ 10000 w 10000"/>
                  <a:gd name="connsiteY8" fmla="*/ 4714 h 10000"/>
                  <a:gd name="connsiteX9" fmla="*/ 9640 w 10000"/>
                  <a:gd name="connsiteY9" fmla="*/ 4998 h 10000"/>
                  <a:gd name="connsiteX10" fmla="*/ 8591 w 10000"/>
                  <a:gd name="connsiteY10" fmla="*/ 4614 h 10000"/>
                  <a:gd name="connsiteX11" fmla="*/ 7002 w 10000"/>
                  <a:gd name="connsiteY11" fmla="*/ 3341 h 10000"/>
                  <a:gd name="connsiteX12" fmla="*/ 5477 w 10000"/>
                  <a:gd name="connsiteY12" fmla="*/ 3095 h 10000"/>
                  <a:gd name="connsiteX13" fmla="*/ 4746 w 10000"/>
                  <a:gd name="connsiteY13" fmla="*/ 3335 h 10000"/>
                  <a:gd name="connsiteX14" fmla="*/ 4436 w 10000"/>
                  <a:gd name="connsiteY14" fmla="*/ 3021 h 10000"/>
                  <a:gd name="connsiteX15" fmla="*/ 4117 w 10000"/>
                  <a:gd name="connsiteY15" fmla="*/ 2869 h 10000"/>
                  <a:gd name="connsiteX16" fmla="*/ 3754 w 10000"/>
                  <a:gd name="connsiteY16" fmla="*/ 3513 h 10000"/>
                  <a:gd name="connsiteX17" fmla="*/ 1751 w 10000"/>
                  <a:gd name="connsiteY17" fmla="*/ 10000 h 10000"/>
                  <a:gd name="connsiteX18" fmla="*/ 0 w 10000"/>
                  <a:gd name="connsiteY18" fmla="*/ 8928 h 10000"/>
                  <a:gd name="connsiteX19" fmla="*/ 0 w 10000"/>
                  <a:gd name="connsiteY19" fmla="*/ 8928 h 10000"/>
                  <a:gd name="connsiteX0" fmla="*/ 0 w 10000"/>
                  <a:gd name="connsiteY0" fmla="*/ 8928 h 10000"/>
                  <a:gd name="connsiteX1" fmla="*/ 0 w 10000"/>
                  <a:gd name="connsiteY1" fmla="*/ 8928 h 10000"/>
                  <a:gd name="connsiteX2" fmla="*/ 2514 w 10000"/>
                  <a:gd name="connsiteY2" fmla="*/ 3316 h 10000"/>
                  <a:gd name="connsiteX3" fmla="*/ 2531 w 10000"/>
                  <a:gd name="connsiteY3" fmla="*/ 2636 h 10000"/>
                  <a:gd name="connsiteX4" fmla="*/ 3157 w 10000"/>
                  <a:gd name="connsiteY4" fmla="*/ 1027 h 10000"/>
                  <a:gd name="connsiteX5" fmla="*/ 4015 w 10000"/>
                  <a:gd name="connsiteY5" fmla="*/ 785 h 10000"/>
                  <a:gd name="connsiteX6" fmla="*/ 5548 w 10000"/>
                  <a:gd name="connsiteY6" fmla="*/ 0 h 10000"/>
                  <a:gd name="connsiteX7" fmla="*/ 6642 w 10000"/>
                  <a:gd name="connsiteY7" fmla="*/ 2500 h 10000"/>
                  <a:gd name="connsiteX8" fmla="*/ 10000 w 10000"/>
                  <a:gd name="connsiteY8" fmla="*/ 4714 h 10000"/>
                  <a:gd name="connsiteX9" fmla="*/ 9640 w 10000"/>
                  <a:gd name="connsiteY9" fmla="*/ 4998 h 10000"/>
                  <a:gd name="connsiteX10" fmla="*/ 8591 w 10000"/>
                  <a:gd name="connsiteY10" fmla="*/ 4614 h 10000"/>
                  <a:gd name="connsiteX11" fmla="*/ 7002 w 10000"/>
                  <a:gd name="connsiteY11" fmla="*/ 3341 h 10000"/>
                  <a:gd name="connsiteX12" fmla="*/ 5477 w 10000"/>
                  <a:gd name="connsiteY12" fmla="*/ 3095 h 10000"/>
                  <a:gd name="connsiteX13" fmla="*/ 4746 w 10000"/>
                  <a:gd name="connsiteY13" fmla="*/ 3335 h 10000"/>
                  <a:gd name="connsiteX14" fmla="*/ 4436 w 10000"/>
                  <a:gd name="connsiteY14" fmla="*/ 3021 h 10000"/>
                  <a:gd name="connsiteX15" fmla="*/ 4117 w 10000"/>
                  <a:gd name="connsiteY15" fmla="*/ 2869 h 10000"/>
                  <a:gd name="connsiteX16" fmla="*/ 3754 w 10000"/>
                  <a:gd name="connsiteY16" fmla="*/ 3513 h 10000"/>
                  <a:gd name="connsiteX17" fmla="*/ 1751 w 10000"/>
                  <a:gd name="connsiteY17" fmla="*/ 10000 h 10000"/>
                  <a:gd name="connsiteX18" fmla="*/ 0 w 10000"/>
                  <a:gd name="connsiteY18" fmla="*/ 8928 h 10000"/>
                  <a:gd name="connsiteX19" fmla="*/ 0 w 10000"/>
                  <a:gd name="connsiteY19" fmla="*/ 8928 h 10000"/>
                  <a:gd name="connsiteX0" fmla="*/ 0 w 10000"/>
                  <a:gd name="connsiteY0" fmla="*/ 8928 h 10000"/>
                  <a:gd name="connsiteX1" fmla="*/ 0 w 10000"/>
                  <a:gd name="connsiteY1" fmla="*/ 8928 h 10000"/>
                  <a:gd name="connsiteX2" fmla="*/ 2514 w 10000"/>
                  <a:gd name="connsiteY2" fmla="*/ 3316 h 10000"/>
                  <a:gd name="connsiteX3" fmla="*/ 2531 w 10000"/>
                  <a:gd name="connsiteY3" fmla="*/ 2636 h 10000"/>
                  <a:gd name="connsiteX4" fmla="*/ 3157 w 10000"/>
                  <a:gd name="connsiteY4" fmla="*/ 1027 h 10000"/>
                  <a:gd name="connsiteX5" fmla="*/ 4015 w 10000"/>
                  <a:gd name="connsiteY5" fmla="*/ 785 h 10000"/>
                  <a:gd name="connsiteX6" fmla="*/ 5548 w 10000"/>
                  <a:gd name="connsiteY6" fmla="*/ 0 h 10000"/>
                  <a:gd name="connsiteX7" fmla="*/ 6642 w 10000"/>
                  <a:gd name="connsiteY7" fmla="*/ 2500 h 10000"/>
                  <a:gd name="connsiteX8" fmla="*/ 10000 w 10000"/>
                  <a:gd name="connsiteY8" fmla="*/ 4714 h 10000"/>
                  <a:gd name="connsiteX9" fmla="*/ 9640 w 10000"/>
                  <a:gd name="connsiteY9" fmla="*/ 4998 h 10000"/>
                  <a:gd name="connsiteX10" fmla="*/ 8591 w 10000"/>
                  <a:gd name="connsiteY10" fmla="*/ 4614 h 10000"/>
                  <a:gd name="connsiteX11" fmla="*/ 7002 w 10000"/>
                  <a:gd name="connsiteY11" fmla="*/ 3341 h 10000"/>
                  <a:gd name="connsiteX12" fmla="*/ 5477 w 10000"/>
                  <a:gd name="connsiteY12" fmla="*/ 3095 h 10000"/>
                  <a:gd name="connsiteX13" fmla="*/ 4746 w 10000"/>
                  <a:gd name="connsiteY13" fmla="*/ 3335 h 10000"/>
                  <a:gd name="connsiteX14" fmla="*/ 4436 w 10000"/>
                  <a:gd name="connsiteY14" fmla="*/ 3021 h 10000"/>
                  <a:gd name="connsiteX15" fmla="*/ 4117 w 10000"/>
                  <a:gd name="connsiteY15" fmla="*/ 2869 h 10000"/>
                  <a:gd name="connsiteX16" fmla="*/ 3754 w 10000"/>
                  <a:gd name="connsiteY16" fmla="*/ 3513 h 10000"/>
                  <a:gd name="connsiteX17" fmla="*/ 1751 w 10000"/>
                  <a:gd name="connsiteY17" fmla="*/ 10000 h 10000"/>
                  <a:gd name="connsiteX18" fmla="*/ 0 w 10000"/>
                  <a:gd name="connsiteY18" fmla="*/ 8928 h 10000"/>
                  <a:gd name="connsiteX19" fmla="*/ 2665 w 10000"/>
                  <a:gd name="connsiteY19" fmla="*/ 5102 h 10000"/>
                  <a:gd name="connsiteX0" fmla="*/ 0 w 10000"/>
                  <a:gd name="connsiteY0" fmla="*/ 8928 h 10000"/>
                  <a:gd name="connsiteX1" fmla="*/ 0 w 10000"/>
                  <a:gd name="connsiteY1" fmla="*/ 8928 h 10000"/>
                  <a:gd name="connsiteX2" fmla="*/ 2514 w 10000"/>
                  <a:gd name="connsiteY2" fmla="*/ 3316 h 10000"/>
                  <a:gd name="connsiteX3" fmla="*/ 2531 w 10000"/>
                  <a:gd name="connsiteY3" fmla="*/ 2636 h 10000"/>
                  <a:gd name="connsiteX4" fmla="*/ 3157 w 10000"/>
                  <a:gd name="connsiteY4" fmla="*/ 1027 h 10000"/>
                  <a:gd name="connsiteX5" fmla="*/ 4015 w 10000"/>
                  <a:gd name="connsiteY5" fmla="*/ 785 h 10000"/>
                  <a:gd name="connsiteX6" fmla="*/ 5548 w 10000"/>
                  <a:gd name="connsiteY6" fmla="*/ 0 h 10000"/>
                  <a:gd name="connsiteX7" fmla="*/ 6642 w 10000"/>
                  <a:gd name="connsiteY7" fmla="*/ 2500 h 10000"/>
                  <a:gd name="connsiteX8" fmla="*/ 10000 w 10000"/>
                  <a:gd name="connsiteY8" fmla="*/ 4714 h 10000"/>
                  <a:gd name="connsiteX9" fmla="*/ 9640 w 10000"/>
                  <a:gd name="connsiteY9" fmla="*/ 4998 h 10000"/>
                  <a:gd name="connsiteX10" fmla="*/ 8591 w 10000"/>
                  <a:gd name="connsiteY10" fmla="*/ 4614 h 10000"/>
                  <a:gd name="connsiteX11" fmla="*/ 7002 w 10000"/>
                  <a:gd name="connsiteY11" fmla="*/ 3341 h 10000"/>
                  <a:gd name="connsiteX12" fmla="*/ 5477 w 10000"/>
                  <a:gd name="connsiteY12" fmla="*/ 3095 h 10000"/>
                  <a:gd name="connsiteX13" fmla="*/ 4746 w 10000"/>
                  <a:gd name="connsiteY13" fmla="*/ 3335 h 10000"/>
                  <a:gd name="connsiteX14" fmla="*/ 4436 w 10000"/>
                  <a:gd name="connsiteY14" fmla="*/ 3021 h 10000"/>
                  <a:gd name="connsiteX15" fmla="*/ 4117 w 10000"/>
                  <a:gd name="connsiteY15" fmla="*/ 2869 h 10000"/>
                  <a:gd name="connsiteX16" fmla="*/ 3754 w 10000"/>
                  <a:gd name="connsiteY16" fmla="*/ 3513 h 10000"/>
                  <a:gd name="connsiteX17" fmla="*/ 1751 w 10000"/>
                  <a:gd name="connsiteY17" fmla="*/ 10000 h 10000"/>
                  <a:gd name="connsiteX18" fmla="*/ 0 w 10000"/>
                  <a:gd name="connsiteY18" fmla="*/ 8928 h 10000"/>
                  <a:gd name="connsiteX0" fmla="*/ 0 w 10000"/>
                  <a:gd name="connsiteY0" fmla="*/ 8928 h 10000"/>
                  <a:gd name="connsiteX1" fmla="*/ 0 w 10000"/>
                  <a:gd name="connsiteY1" fmla="*/ 8928 h 10000"/>
                  <a:gd name="connsiteX2" fmla="*/ 2514 w 10000"/>
                  <a:gd name="connsiteY2" fmla="*/ 3316 h 10000"/>
                  <a:gd name="connsiteX3" fmla="*/ 2531 w 10000"/>
                  <a:gd name="connsiteY3" fmla="*/ 2636 h 10000"/>
                  <a:gd name="connsiteX4" fmla="*/ 3157 w 10000"/>
                  <a:gd name="connsiteY4" fmla="*/ 1027 h 10000"/>
                  <a:gd name="connsiteX5" fmla="*/ 4015 w 10000"/>
                  <a:gd name="connsiteY5" fmla="*/ 785 h 10000"/>
                  <a:gd name="connsiteX6" fmla="*/ 5548 w 10000"/>
                  <a:gd name="connsiteY6" fmla="*/ 0 h 10000"/>
                  <a:gd name="connsiteX7" fmla="*/ 6642 w 10000"/>
                  <a:gd name="connsiteY7" fmla="*/ 2500 h 10000"/>
                  <a:gd name="connsiteX8" fmla="*/ 10000 w 10000"/>
                  <a:gd name="connsiteY8" fmla="*/ 4714 h 10000"/>
                  <a:gd name="connsiteX9" fmla="*/ 9640 w 10000"/>
                  <a:gd name="connsiteY9" fmla="*/ 4998 h 10000"/>
                  <a:gd name="connsiteX10" fmla="*/ 8591 w 10000"/>
                  <a:gd name="connsiteY10" fmla="*/ 4614 h 10000"/>
                  <a:gd name="connsiteX11" fmla="*/ 7002 w 10000"/>
                  <a:gd name="connsiteY11" fmla="*/ 3341 h 10000"/>
                  <a:gd name="connsiteX12" fmla="*/ 5477 w 10000"/>
                  <a:gd name="connsiteY12" fmla="*/ 3095 h 10000"/>
                  <a:gd name="connsiteX13" fmla="*/ 4746 w 10000"/>
                  <a:gd name="connsiteY13" fmla="*/ 3335 h 10000"/>
                  <a:gd name="connsiteX14" fmla="*/ 4436 w 10000"/>
                  <a:gd name="connsiteY14" fmla="*/ 3021 h 10000"/>
                  <a:gd name="connsiteX15" fmla="*/ 4117 w 10000"/>
                  <a:gd name="connsiteY15" fmla="*/ 2869 h 10000"/>
                  <a:gd name="connsiteX16" fmla="*/ 3754 w 10000"/>
                  <a:gd name="connsiteY16" fmla="*/ 3513 h 10000"/>
                  <a:gd name="connsiteX17" fmla="*/ 1751 w 10000"/>
                  <a:gd name="connsiteY17" fmla="*/ 10000 h 10000"/>
                  <a:gd name="connsiteX18" fmla="*/ 1868 w 10000"/>
                  <a:gd name="connsiteY18" fmla="*/ 6484 h 10000"/>
                  <a:gd name="connsiteX0" fmla="*/ 0 w 10000"/>
                  <a:gd name="connsiteY0" fmla="*/ 8928 h 10000"/>
                  <a:gd name="connsiteX1" fmla="*/ 3132 w 10000"/>
                  <a:gd name="connsiteY1" fmla="*/ 3379 h 10000"/>
                  <a:gd name="connsiteX2" fmla="*/ 2514 w 10000"/>
                  <a:gd name="connsiteY2" fmla="*/ 3316 h 10000"/>
                  <a:gd name="connsiteX3" fmla="*/ 2531 w 10000"/>
                  <a:gd name="connsiteY3" fmla="*/ 2636 h 10000"/>
                  <a:gd name="connsiteX4" fmla="*/ 3157 w 10000"/>
                  <a:gd name="connsiteY4" fmla="*/ 1027 h 10000"/>
                  <a:gd name="connsiteX5" fmla="*/ 4015 w 10000"/>
                  <a:gd name="connsiteY5" fmla="*/ 785 h 10000"/>
                  <a:gd name="connsiteX6" fmla="*/ 5548 w 10000"/>
                  <a:gd name="connsiteY6" fmla="*/ 0 h 10000"/>
                  <a:gd name="connsiteX7" fmla="*/ 6642 w 10000"/>
                  <a:gd name="connsiteY7" fmla="*/ 2500 h 10000"/>
                  <a:gd name="connsiteX8" fmla="*/ 10000 w 10000"/>
                  <a:gd name="connsiteY8" fmla="*/ 4714 h 10000"/>
                  <a:gd name="connsiteX9" fmla="*/ 9640 w 10000"/>
                  <a:gd name="connsiteY9" fmla="*/ 4998 h 10000"/>
                  <a:gd name="connsiteX10" fmla="*/ 8591 w 10000"/>
                  <a:gd name="connsiteY10" fmla="*/ 4614 h 10000"/>
                  <a:gd name="connsiteX11" fmla="*/ 7002 w 10000"/>
                  <a:gd name="connsiteY11" fmla="*/ 3341 h 10000"/>
                  <a:gd name="connsiteX12" fmla="*/ 5477 w 10000"/>
                  <a:gd name="connsiteY12" fmla="*/ 3095 h 10000"/>
                  <a:gd name="connsiteX13" fmla="*/ 4746 w 10000"/>
                  <a:gd name="connsiteY13" fmla="*/ 3335 h 10000"/>
                  <a:gd name="connsiteX14" fmla="*/ 4436 w 10000"/>
                  <a:gd name="connsiteY14" fmla="*/ 3021 h 10000"/>
                  <a:gd name="connsiteX15" fmla="*/ 4117 w 10000"/>
                  <a:gd name="connsiteY15" fmla="*/ 2869 h 10000"/>
                  <a:gd name="connsiteX16" fmla="*/ 3754 w 10000"/>
                  <a:gd name="connsiteY16" fmla="*/ 3513 h 10000"/>
                  <a:gd name="connsiteX17" fmla="*/ 1751 w 10000"/>
                  <a:gd name="connsiteY17" fmla="*/ 10000 h 10000"/>
                  <a:gd name="connsiteX18" fmla="*/ 1868 w 10000"/>
                  <a:gd name="connsiteY18" fmla="*/ 6484 h 10000"/>
                  <a:gd name="connsiteX0" fmla="*/ 1629 w 8249"/>
                  <a:gd name="connsiteY0" fmla="*/ 3219 h 10000"/>
                  <a:gd name="connsiteX1" fmla="*/ 1381 w 8249"/>
                  <a:gd name="connsiteY1" fmla="*/ 3379 h 10000"/>
                  <a:gd name="connsiteX2" fmla="*/ 763 w 8249"/>
                  <a:gd name="connsiteY2" fmla="*/ 3316 h 10000"/>
                  <a:gd name="connsiteX3" fmla="*/ 780 w 8249"/>
                  <a:gd name="connsiteY3" fmla="*/ 2636 h 10000"/>
                  <a:gd name="connsiteX4" fmla="*/ 1406 w 8249"/>
                  <a:gd name="connsiteY4" fmla="*/ 1027 h 10000"/>
                  <a:gd name="connsiteX5" fmla="*/ 2264 w 8249"/>
                  <a:gd name="connsiteY5" fmla="*/ 785 h 10000"/>
                  <a:gd name="connsiteX6" fmla="*/ 3797 w 8249"/>
                  <a:gd name="connsiteY6" fmla="*/ 0 h 10000"/>
                  <a:gd name="connsiteX7" fmla="*/ 4891 w 8249"/>
                  <a:gd name="connsiteY7" fmla="*/ 2500 h 10000"/>
                  <a:gd name="connsiteX8" fmla="*/ 8249 w 8249"/>
                  <a:gd name="connsiteY8" fmla="*/ 4714 h 10000"/>
                  <a:gd name="connsiteX9" fmla="*/ 7889 w 8249"/>
                  <a:gd name="connsiteY9" fmla="*/ 4998 h 10000"/>
                  <a:gd name="connsiteX10" fmla="*/ 6840 w 8249"/>
                  <a:gd name="connsiteY10" fmla="*/ 4614 h 10000"/>
                  <a:gd name="connsiteX11" fmla="*/ 5251 w 8249"/>
                  <a:gd name="connsiteY11" fmla="*/ 3341 h 10000"/>
                  <a:gd name="connsiteX12" fmla="*/ 3726 w 8249"/>
                  <a:gd name="connsiteY12" fmla="*/ 3095 h 10000"/>
                  <a:gd name="connsiteX13" fmla="*/ 2995 w 8249"/>
                  <a:gd name="connsiteY13" fmla="*/ 3335 h 10000"/>
                  <a:gd name="connsiteX14" fmla="*/ 2685 w 8249"/>
                  <a:gd name="connsiteY14" fmla="*/ 3021 h 10000"/>
                  <a:gd name="connsiteX15" fmla="*/ 2366 w 8249"/>
                  <a:gd name="connsiteY15" fmla="*/ 2869 h 10000"/>
                  <a:gd name="connsiteX16" fmla="*/ 2003 w 8249"/>
                  <a:gd name="connsiteY16" fmla="*/ 3513 h 10000"/>
                  <a:gd name="connsiteX17" fmla="*/ 0 w 8249"/>
                  <a:gd name="connsiteY17" fmla="*/ 10000 h 10000"/>
                  <a:gd name="connsiteX18" fmla="*/ 117 w 8249"/>
                  <a:gd name="connsiteY18" fmla="*/ 6484 h 10000"/>
                  <a:gd name="connsiteX0" fmla="*/ 1833 w 9858"/>
                  <a:gd name="connsiteY0" fmla="*/ 3219 h 6484"/>
                  <a:gd name="connsiteX1" fmla="*/ 1532 w 9858"/>
                  <a:gd name="connsiteY1" fmla="*/ 3379 h 6484"/>
                  <a:gd name="connsiteX2" fmla="*/ 783 w 9858"/>
                  <a:gd name="connsiteY2" fmla="*/ 3316 h 6484"/>
                  <a:gd name="connsiteX3" fmla="*/ 804 w 9858"/>
                  <a:gd name="connsiteY3" fmla="*/ 2636 h 6484"/>
                  <a:gd name="connsiteX4" fmla="*/ 1562 w 9858"/>
                  <a:gd name="connsiteY4" fmla="*/ 1027 h 6484"/>
                  <a:gd name="connsiteX5" fmla="*/ 2603 w 9858"/>
                  <a:gd name="connsiteY5" fmla="*/ 785 h 6484"/>
                  <a:gd name="connsiteX6" fmla="*/ 4461 w 9858"/>
                  <a:gd name="connsiteY6" fmla="*/ 0 h 6484"/>
                  <a:gd name="connsiteX7" fmla="*/ 5787 w 9858"/>
                  <a:gd name="connsiteY7" fmla="*/ 2500 h 6484"/>
                  <a:gd name="connsiteX8" fmla="*/ 9858 w 9858"/>
                  <a:gd name="connsiteY8" fmla="*/ 4714 h 6484"/>
                  <a:gd name="connsiteX9" fmla="*/ 9422 w 9858"/>
                  <a:gd name="connsiteY9" fmla="*/ 4998 h 6484"/>
                  <a:gd name="connsiteX10" fmla="*/ 8150 w 9858"/>
                  <a:gd name="connsiteY10" fmla="*/ 4614 h 6484"/>
                  <a:gd name="connsiteX11" fmla="*/ 6224 w 9858"/>
                  <a:gd name="connsiteY11" fmla="*/ 3341 h 6484"/>
                  <a:gd name="connsiteX12" fmla="*/ 4375 w 9858"/>
                  <a:gd name="connsiteY12" fmla="*/ 3095 h 6484"/>
                  <a:gd name="connsiteX13" fmla="*/ 3489 w 9858"/>
                  <a:gd name="connsiteY13" fmla="*/ 3335 h 6484"/>
                  <a:gd name="connsiteX14" fmla="*/ 3113 w 9858"/>
                  <a:gd name="connsiteY14" fmla="*/ 3021 h 6484"/>
                  <a:gd name="connsiteX15" fmla="*/ 2726 w 9858"/>
                  <a:gd name="connsiteY15" fmla="*/ 2869 h 6484"/>
                  <a:gd name="connsiteX16" fmla="*/ 2286 w 9858"/>
                  <a:gd name="connsiteY16" fmla="*/ 3513 h 6484"/>
                  <a:gd name="connsiteX17" fmla="*/ 0 w 9858"/>
                  <a:gd name="connsiteY17" fmla="*/ 6484 h 6484"/>
                  <a:gd name="connsiteX0" fmla="*/ 1065 w 9206"/>
                  <a:gd name="connsiteY0" fmla="*/ 4965 h 7859"/>
                  <a:gd name="connsiteX1" fmla="*/ 760 w 9206"/>
                  <a:gd name="connsiteY1" fmla="*/ 5211 h 7859"/>
                  <a:gd name="connsiteX2" fmla="*/ 0 w 9206"/>
                  <a:gd name="connsiteY2" fmla="*/ 5114 h 7859"/>
                  <a:gd name="connsiteX3" fmla="*/ 22 w 9206"/>
                  <a:gd name="connsiteY3" fmla="*/ 4065 h 7859"/>
                  <a:gd name="connsiteX4" fmla="*/ 790 w 9206"/>
                  <a:gd name="connsiteY4" fmla="*/ 1584 h 7859"/>
                  <a:gd name="connsiteX5" fmla="*/ 1846 w 9206"/>
                  <a:gd name="connsiteY5" fmla="*/ 1211 h 7859"/>
                  <a:gd name="connsiteX6" fmla="*/ 3731 w 9206"/>
                  <a:gd name="connsiteY6" fmla="*/ 0 h 7859"/>
                  <a:gd name="connsiteX7" fmla="*/ 5076 w 9206"/>
                  <a:gd name="connsiteY7" fmla="*/ 3856 h 7859"/>
                  <a:gd name="connsiteX8" fmla="*/ 9206 w 9206"/>
                  <a:gd name="connsiteY8" fmla="*/ 7270 h 7859"/>
                  <a:gd name="connsiteX9" fmla="*/ 8764 w 9206"/>
                  <a:gd name="connsiteY9" fmla="*/ 7708 h 7859"/>
                  <a:gd name="connsiteX10" fmla="*/ 7473 w 9206"/>
                  <a:gd name="connsiteY10" fmla="*/ 7116 h 7859"/>
                  <a:gd name="connsiteX11" fmla="*/ 5520 w 9206"/>
                  <a:gd name="connsiteY11" fmla="*/ 5153 h 7859"/>
                  <a:gd name="connsiteX12" fmla="*/ 3644 w 9206"/>
                  <a:gd name="connsiteY12" fmla="*/ 4773 h 7859"/>
                  <a:gd name="connsiteX13" fmla="*/ 2745 w 9206"/>
                  <a:gd name="connsiteY13" fmla="*/ 5143 h 7859"/>
                  <a:gd name="connsiteX14" fmla="*/ 2364 w 9206"/>
                  <a:gd name="connsiteY14" fmla="*/ 4659 h 7859"/>
                  <a:gd name="connsiteX15" fmla="*/ 1971 w 9206"/>
                  <a:gd name="connsiteY15" fmla="*/ 4425 h 7859"/>
                  <a:gd name="connsiteX16" fmla="*/ 1525 w 9206"/>
                  <a:gd name="connsiteY16" fmla="*/ 5418 h 7859"/>
                  <a:gd name="connsiteX17" fmla="*/ 1064 w 9206"/>
                  <a:gd name="connsiteY17" fmla="*/ 4872 h 7859"/>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858 w 10000"/>
                  <a:gd name="connsiteY4" fmla="*/ 2016 h 10000"/>
                  <a:gd name="connsiteX5" fmla="*/ 2005 w 10000"/>
                  <a:gd name="connsiteY5" fmla="*/ 1541 h 10000"/>
                  <a:gd name="connsiteX6" fmla="*/ 4053 w 10000"/>
                  <a:gd name="connsiteY6" fmla="*/ 0 h 10000"/>
                  <a:gd name="connsiteX7" fmla="*/ 5514 w 10000"/>
                  <a:gd name="connsiteY7" fmla="*/ 4906 h 10000"/>
                  <a:gd name="connsiteX8" fmla="*/ 10000 w 10000"/>
                  <a:gd name="connsiteY8" fmla="*/ 9251 h 10000"/>
                  <a:gd name="connsiteX9" fmla="*/ 9520 w 10000"/>
                  <a:gd name="connsiteY9" fmla="*/ 9808 h 10000"/>
                  <a:gd name="connsiteX10" fmla="*/ 8118 w 10000"/>
                  <a:gd name="connsiteY10" fmla="*/ 9055 h 10000"/>
                  <a:gd name="connsiteX11" fmla="*/ 5996 w 10000"/>
                  <a:gd name="connsiteY11" fmla="*/ 6557 h 10000"/>
                  <a:gd name="connsiteX12" fmla="*/ 3958 w 10000"/>
                  <a:gd name="connsiteY12" fmla="*/ 6073 h 10000"/>
                  <a:gd name="connsiteX13" fmla="*/ 2982 w 10000"/>
                  <a:gd name="connsiteY13" fmla="*/ 6544 h 10000"/>
                  <a:gd name="connsiteX14" fmla="*/ 2568 w 10000"/>
                  <a:gd name="connsiteY14" fmla="*/ 5928 h 10000"/>
                  <a:gd name="connsiteX15" fmla="*/ 2141 w 10000"/>
                  <a:gd name="connsiteY15" fmla="*/ 5630 h 10000"/>
                  <a:gd name="connsiteX16" fmla="*/ 1657 w 10000"/>
                  <a:gd name="connsiteY16" fmla="*/ 6894 h 10000"/>
                  <a:gd name="connsiteX17" fmla="*/ 1156 w 10000"/>
                  <a:gd name="connsiteY17" fmla="*/ 6199 h 10000"/>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323 w 10000"/>
                  <a:gd name="connsiteY4" fmla="*/ 3605 h 10000"/>
                  <a:gd name="connsiteX5" fmla="*/ 858 w 10000"/>
                  <a:gd name="connsiteY5" fmla="*/ 2016 h 10000"/>
                  <a:gd name="connsiteX6" fmla="*/ 2005 w 10000"/>
                  <a:gd name="connsiteY6" fmla="*/ 1541 h 10000"/>
                  <a:gd name="connsiteX7" fmla="*/ 4053 w 10000"/>
                  <a:gd name="connsiteY7" fmla="*/ 0 h 10000"/>
                  <a:gd name="connsiteX8" fmla="*/ 5514 w 10000"/>
                  <a:gd name="connsiteY8" fmla="*/ 4906 h 10000"/>
                  <a:gd name="connsiteX9" fmla="*/ 10000 w 10000"/>
                  <a:gd name="connsiteY9" fmla="*/ 9251 h 10000"/>
                  <a:gd name="connsiteX10" fmla="*/ 9520 w 10000"/>
                  <a:gd name="connsiteY10" fmla="*/ 9808 h 10000"/>
                  <a:gd name="connsiteX11" fmla="*/ 8118 w 10000"/>
                  <a:gd name="connsiteY11" fmla="*/ 9055 h 10000"/>
                  <a:gd name="connsiteX12" fmla="*/ 5996 w 10000"/>
                  <a:gd name="connsiteY12" fmla="*/ 6557 h 10000"/>
                  <a:gd name="connsiteX13" fmla="*/ 3958 w 10000"/>
                  <a:gd name="connsiteY13" fmla="*/ 6073 h 10000"/>
                  <a:gd name="connsiteX14" fmla="*/ 2982 w 10000"/>
                  <a:gd name="connsiteY14" fmla="*/ 6544 h 10000"/>
                  <a:gd name="connsiteX15" fmla="*/ 2568 w 10000"/>
                  <a:gd name="connsiteY15" fmla="*/ 5928 h 10000"/>
                  <a:gd name="connsiteX16" fmla="*/ 2141 w 10000"/>
                  <a:gd name="connsiteY16" fmla="*/ 5630 h 10000"/>
                  <a:gd name="connsiteX17" fmla="*/ 1657 w 10000"/>
                  <a:gd name="connsiteY17" fmla="*/ 6894 h 10000"/>
                  <a:gd name="connsiteX18" fmla="*/ 1156 w 10000"/>
                  <a:gd name="connsiteY18" fmla="*/ 6199 h 10000"/>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690 w 10000"/>
                  <a:gd name="connsiteY4" fmla="*/ 3291 h 10000"/>
                  <a:gd name="connsiteX5" fmla="*/ 858 w 10000"/>
                  <a:gd name="connsiteY5" fmla="*/ 2016 h 10000"/>
                  <a:gd name="connsiteX6" fmla="*/ 2005 w 10000"/>
                  <a:gd name="connsiteY6" fmla="*/ 1541 h 10000"/>
                  <a:gd name="connsiteX7" fmla="*/ 4053 w 10000"/>
                  <a:gd name="connsiteY7" fmla="*/ 0 h 10000"/>
                  <a:gd name="connsiteX8" fmla="*/ 5514 w 10000"/>
                  <a:gd name="connsiteY8" fmla="*/ 4906 h 10000"/>
                  <a:gd name="connsiteX9" fmla="*/ 10000 w 10000"/>
                  <a:gd name="connsiteY9" fmla="*/ 9251 h 10000"/>
                  <a:gd name="connsiteX10" fmla="*/ 9520 w 10000"/>
                  <a:gd name="connsiteY10" fmla="*/ 9808 h 10000"/>
                  <a:gd name="connsiteX11" fmla="*/ 8118 w 10000"/>
                  <a:gd name="connsiteY11" fmla="*/ 9055 h 10000"/>
                  <a:gd name="connsiteX12" fmla="*/ 5996 w 10000"/>
                  <a:gd name="connsiteY12" fmla="*/ 6557 h 10000"/>
                  <a:gd name="connsiteX13" fmla="*/ 3958 w 10000"/>
                  <a:gd name="connsiteY13" fmla="*/ 6073 h 10000"/>
                  <a:gd name="connsiteX14" fmla="*/ 2982 w 10000"/>
                  <a:gd name="connsiteY14" fmla="*/ 6544 h 10000"/>
                  <a:gd name="connsiteX15" fmla="*/ 2568 w 10000"/>
                  <a:gd name="connsiteY15" fmla="*/ 5928 h 10000"/>
                  <a:gd name="connsiteX16" fmla="*/ 2141 w 10000"/>
                  <a:gd name="connsiteY16" fmla="*/ 5630 h 10000"/>
                  <a:gd name="connsiteX17" fmla="*/ 1657 w 10000"/>
                  <a:gd name="connsiteY17" fmla="*/ 6894 h 10000"/>
                  <a:gd name="connsiteX18" fmla="*/ 1156 w 10000"/>
                  <a:gd name="connsiteY18" fmla="*/ 6199 h 10000"/>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690 w 10000"/>
                  <a:gd name="connsiteY4" fmla="*/ 3291 h 10000"/>
                  <a:gd name="connsiteX5" fmla="*/ 858 w 10000"/>
                  <a:gd name="connsiteY5" fmla="*/ 2016 h 10000"/>
                  <a:gd name="connsiteX6" fmla="*/ 2645 w 10000"/>
                  <a:gd name="connsiteY6" fmla="*/ 1160 h 10000"/>
                  <a:gd name="connsiteX7" fmla="*/ 4053 w 10000"/>
                  <a:gd name="connsiteY7" fmla="*/ 0 h 10000"/>
                  <a:gd name="connsiteX8" fmla="*/ 5514 w 10000"/>
                  <a:gd name="connsiteY8" fmla="*/ 4906 h 10000"/>
                  <a:gd name="connsiteX9" fmla="*/ 10000 w 10000"/>
                  <a:gd name="connsiteY9" fmla="*/ 9251 h 10000"/>
                  <a:gd name="connsiteX10" fmla="*/ 9520 w 10000"/>
                  <a:gd name="connsiteY10" fmla="*/ 9808 h 10000"/>
                  <a:gd name="connsiteX11" fmla="*/ 8118 w 10000"/>
                  <a:gd name="connsiteY11" fmla="*/ 9055 h 10000"/>
                  <a:gd name="connsiteX12" fmla="*/ 5996 w 10000"/>
                  <a:gd name="connsiteY12" fmla="*/ 6557 h 10000"/>
                  <a:gd name="connsiteX13" fmla="*/ 3958 w 10000"/>
                  <a:gd name="connsiteY13" fmla="*/ 6073 h 10000"/>
                  <a:gd name="connsiteX14" fmla="*/ 2982 w 10000"/>
                  <a:gd name="connsiteY14" fmla="*/ 6544 h 10000"/>
                  <a:gd name="connsiteX15" fmla="*/ 2568 w 10000"/>
                  <a:gd name="connsiteY15" fmla="*/ 5928 h 10000"/>
                  <a:gd name="connsiteX16" fmla="*/ 2141 w 10000"/>
                  <a:gd name="connsiteY16" fmla="*/ 5630 h 10000"/>
                  <a:gd name="connsiteX17" fmla="*/ 1657 w 10000"/>
                  <a:gd name="connsiteY17" fmla="*/ 6894 h 10000"/>
                  <a:gd name="connsiteX18" fmla="*/ 1156 w 10000"/>
                  <a:gd name="connsiteY18" fmla="*/ 6199 h 10000"/>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690 w 10000"/>
                  <a:gd name="connsiteY4" fmla="*/ 3291 h 10000"/>
                  <a:gd name="connsiteX5" fmla="*/ 858 w 10000"/>
                  <a:gd name="connsiteY5" fmla="*/ 2016 h 10000"/>
                  <a:gd name="connsiteX6" fmla="*/ 2645 w 10000"/>
                  <a:gd name="connsiteY6" fmla="*/ 1160 h 10000"/>
                  <a:gd name="connsiteX7" fmla="*/ 4053 w 10000"/>
                  <a:gd name="connsiteY7" fmla="*/ 0 h 10000"/>
                  <a:gd name="connsiteX8" fmla="*/ 5514 w 10000"/>
                  <a:gd name="connsiteY8" fmla="*/ 4906 h 10000"/>
                  <a:gd name="connsiteX9" fmla="*/ 10000 w 10000"/>
                  <a:gd name="connsiteY9" fmla="*/ 9251 h 10000"/>
                  <a:gd name="connsiteX10" fmla="*/ 9520 w 10000"/>
                  <a:gd name="connsiteY10" fmla="*/ 9808 h 10000"/>
                  <a:gd name="connsiteX11" fmla="*/ 8118 w 10000"/>
                  <a:gd name="connsiteY11" fmla="*/ 9055 h 10000"/>
                  <a:gd name="connsiteX12" fmla="*/ 5996 w 10000"/>
                  <a:gd name="connsiteY12" fmla="*/ 6557 h 10000"/>
                  <a:gd name="connsiteX13" fmla="*/ 3958 w 10000"/>
                  <a:gd name="connsiteY13" fmla="*/ 6073 h 10000"/>
                  <a:gd name="connsiteX14" fmla="*/ 2982 w 10000"/>
                  <a:gd name="connsiteY14" fmla="*/ 6544 h 10000"/>
                  <a:gd name="connsiteX15" fmla="*/ 2568 w 10000"/>
                  <a:gd name="connsiteY15" fmla="*/ 5928 h 10000"/>
                  <a:gd name="connsiteX16" fmla="*/ 2141 w 10000"/>
                  <a:gd name="connsiteY16" fmla="*/ 5630 h 10000"/>
                  <a:gd name="connsiteX17" fmla="*/ 1657 w 10000"/>
                  <a:gd name="connsiteY17" fmla="*/ 6894 h 10000"/>
                  <a:gd name="connsiteX18" fmla="*/ 1156 w 10000"/>
                  <a:gd name="connsiteY18" fmla="*/ 6199 h 10000"/>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690 w 10000"/>
                  <a:gd name="connsiteY4" fmla="*/ 3291 h 10000"/>
                  <a:gd name="connsiteX5" fmla="*/ 858 w 10000"/>
                  <a:gd name="connsiteY5" fmla="*/ 2016 h 10000"/>
                  <a:gd name="connsiteX6" fmla="*/ 2645 w 10000"/>
                  <a:gd name="connsiteY6" fmla="*/ 1160 h 10000"/>
                  <a:gd name="connsiteX7" fmla="*/ 4053 w 10000"/>
                  <a:gd name="connsiteY7" fmla="*/ 0 h 10000"/>
                  <a:gd name="connsiteX8" fmla="*/ 5514 w 10000"/>
                  <a:gd name="connsiteY8" fmla="*/ 4906 h 10000"/>
                  <a:gd name="connsiteX9" fmla="*/ 10000 w 10000"/>
                  <a:gd name="connsiteY9" fmla="*/ 9251 h 10000"/>
                  <a:gd name="connsiteX10" fmla="*/ 9520 w 10000"/>
                  <a:gd name="connsiteY10" fmla="*/ 9808 h 10000"/>
                  <a:gd name="connsiteX11" fmla="*/ 8118 w 10000"/>
                  <a:gd name="connsiteY11" fmla="*/ 9055 h 10000"/>
                  <a:gd name="connsiteX12" fmla="*/ 5996 w 10000"/>
                  <a:gd name="connsiteY12" fmla="*/ 6557 h 10000"/>
                  <a:gd name="connsiteX13" fmla="*/ 3958 w 10000"/>
                  <a:gd name="connsiteY13" fmla="*/ 6073 h 10000"/>
                  <a:gd name="connsiteX14" fmla="*/ 2982 w 10000"/>
                  <a:gd name="connsiteY14" fmla="*/ 6544 h 10000"/>
                  <a:gd name="connsiteX15" fmla="*/ 2568 w 10000"/>
                  <a:gd name="connsiteY15" fmla="*/ 5928 h 10000"/>
                  <a:gd name="connsiteX16" fmla="*/ 2141 w 10000"/>
                  <a:gd name="connsiteY16" fmla="*/ 5630 h 10000"/>
                  <a:gd name="connsiteX17" fmla="*/ 1657 w 10000"/>
                  <a:gd name="connsiteY17" fmla="*/ 6894 h 10000"/>
                  <a:gd name="connsiteX18" fmla="*/ 1156 w 10000"/>
                  <a:gd name="connsiteY18" fmla="*/ 6199 h 10000"/>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690 w 10000"/>
                  <a:gd name="connsiteY4" fmla="*/ 3291 h 10000"/>
                  <a:gd name="connsiteX5" fmla="*/ 858 w 10000"/>
                  <a:gd name="connsiteY5" fmla="*/ 2016 h 10000"/>
                  <a:gd name="connsiteX6" fmla="*/ 2645 w 10000"/>
                  <a:gd name="connsiteY6" fmla="*/ 1160 h 10000"/>
                  <a:gd name="connsiteX7" fmla="*/ 4053 w 10000"/>
                  <a:gd name="connsiteY7" fmla="*/ 0 h 10000"/>
                  <a:gd name="connsiteX8" fmla="*/ 5514 w 10000"/>
                  <a:gd name="connsiteY8" fmla="*/ 4906 h 10000"/>
                  <a:gd name="connsiteX9" fmla="*/ 10000 w 10000"/>
                  <a:gd name="connsiteY9" fmla="*/ 9251 h 10000"/>
                  <a:gd name="connsiteX10" fmla="*/ 9520 w 10000"/>
                  <a:gd name="connsiteY10" fmla="*/ 9808 h 10000"/>
                  <a:gd name="connsiteX11" fmla="*/ 8118 w 10000"/>
                  <a:gd name="connsiteY11" fmla="*/ 9055 h 10000"/>
                  <a:gd name="connsiteX12" fmla="*/ 5996 w 10000"/>
                  <a:gd name="connsiteY12" fmla="*/ 6557 h 10000"/>
                  <a:gd name="connsiteX13" fmla="*/ 3958 w 10000"/>
                  <a:gd name="connsiteY13" fmla="*/ 6073 h 10000"/>
                  <a:gd name="connsiteX14" fmla="*/ 2982 w 10000"/>
                  <a:gd name="connsiteY14" fmla="*/ 6544 h 10000"/>
                  <a:gd name="connsiteX15" fmla="*/ 2568 w 10000"/>
                  <a:gd name="connsiteY15" fmla="*/ 5928 h 10000"/>
                  <a:gd name="connsiteX16" fmla="*/ 2141 w 10000"/>
                  <a:gd name="connsiteY16" fmla="*/ 5630 h 10000"/>
                  <a:gd name="connsiteX17" fmla="*/ 1657 w 10000"/>
                  <a:gd name="connsiteY17" fmla="*/ 6894 h 10000"/>
                  <a:gd name="connsiteX18" fmla="*/ 1156 w 10000"/>
                  <a:gd name="connsiteY18" fmla="*/ 6199 h 10000"/>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690 w 10000"/>
                  <a:gd name="connsiteY4" fmla="*/ 3291 h 10000"/>
                  <a:gd name="connsiteX5" fmla="*/ 858 w 10000"/>
                  <a:gd name="connsiteY5" fmla="*/ 2016 h 10000"/>
                  <a:gd name="connsiteX6" fmla="*/ 2645 w 10000"/>
                  <a:gd name="connsiteY6" fmla="*/ 1160 h 10000"/>
                  <a:gd name="connsiteX7" fmla="*/ 4053 w 10000"/>
                  <a:gd name="connsiteY7" fmla="*/ 0 h 10000"/>
                  <a:gd name="connsiteX8" fmla="*/ 5514 w 10000"/>
                  <a:gd name="connsiteY8" fmla="*/ 4906 h 10000"/>
                  <a:gd name="connsiteX9" fmla="*/ 10000 w 10000"/>
                  <a:gd name="connsiteY9" fmla="*/ 9251 h 10000"/>
                  <a:gd name="connsiteX10" fmla="*/ 9520 w 10000"/>
                  <a:gd name="connsiteY10" fmla="*/ 9808 h 10000"/>
                  <a:gd name="connsiteX11" fmla="*/ 8118 w 10000"/>
                  <a:gd name="connsiteY11" fmla="*/ 9055 h 10000"/>
                  <a:gd name="connsiteX12" fmla="*/ 5996 w 10000"/>
                  <a:gd name="connsiteY12" fmla="*/ 6557 h 10000"/>
                  <a:gd name="connsiteX13" fmla="*/ 3958 w 10000"/>
                  <a:gd name="connsiteY13" fmla="*/ 6073 h 10000"/>
                  <a:gd name="connsiteX14" fmla="*/ 2982 w 10000"/>
                  <a:gd name="connsiteY14" fmla="*/ 6544 h 10000"/>
                  <a:gd name="connsiteX15" fmla="*/ 2568 w 10000"/>
                  <a:gd name="connsiteY15" fmla="*/ 5928 h 10000"/>
                  <a:gd name="connsiteX16" fmla="*/ 2141 w 10000"/>
                  <a:gd name="connsiteY16" fmla="*/ 5630 h 10000"/>
                  <a:gd name="connsiteX17" fmla="*/ 1657 w 10000"/>
                  <a:gd name="connsiteY17" fmla="*/ 6894 h 10000"/>
                  <a:gd name="connsiteX18" fmla="*/ 1156 w 10000"/>
                  <a:gd name="connsiteY18" fmla="*/ 6199 h 10000"/>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690 w 10000"/>
                  <a:gd name="connsiteY4" fmla="*/ 3291 h 10000"/>
                  <a:gd name="connsiteX5" fmla="*/ 858 w 10000"/>
                  <a:gd name="connsiteY5" fmla="*/ 2016 h 10000"/>
                  <a:gd name="connsiteX6" fmla="*/ 2645 w 10000"/>
                  <a:gd name="connsiteY6" fmla="*/ 1160 h 10000"/>
                  <a:gd name="connsiteX7" fmla="*/ 4053 w 10000"/>
                  <a:gd name="connsiteY7" fmla="*/ 0 h 10000"/>
                  <a:gd name="connsiteX8" fmla="*/ 5514 w 10000"/>
                  <a:gd name="connsiteY8" fmla="*/ 4906 h 10000"/>
                  <a:gd name="connsiteX9" fmla="*/ 10000 w 10000"/>
                  <a:gd name="connsiteY9" fmla="*/ 9251 h 10000"/>
                  <a:gd name="connsiteX10" fmla="*/ 9520 w 10000"/>
                  <a:gd name="connsiteY10" fmla="*/ 9808 h 10000"/>
                  <a:gd name="connsiteX11" fmla="*/ 8118 w 10000"/>
                  <a:gd name="connsiteY11" fmla="*/ 9055 h 10000"/>
                  <a:gd name="connsiteX12" fmla="*/ 5996 w 10000"/>
                  <a:gd name="connsiteY12" fmla="*/ 6557 h 10000"/>
                  <a:gd name="connsiteX13" fmla="*/ 3958 w 10000"/>
                  <a:gd name="connsiteY13" fmla="*/ 6073 h 10000"/>
                  <a:gd name="connsiteX14" fmla="*/ 2982 w 10000"/>
                  <a:gd name="connsiteY14" fmla="*/ 6544 h 10000"/>
                  <a:gd name="connsiteX15" fmla="*/ 2568 w 10000"/>
                  <a:gd name="connsiteY15" fmla="*/ 5928 h 10000"/>
                  <a:gd name="connsiteX16" fmla="*/ 2141 w 10000"/>
                  <a:gd name="connsiteY16" fmla="*/ 5630 h 10000"/>
                  <a:gd name="connsiteX17" fmla="*/ 1657 w 10000"/>
                  <a:gd name="connsiteY17" fmla="*/ 6894 h 10000"/>
                  <a:gd name="connsiteX18" fmla="*/ 1156 w 10000"/>
                  <a:gd name="connsiteY18" fmla="*/ 6199 h 10000"/>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690 w 10000"/>
                  <a:gd name="connsiteY4" fmla="*/ 3291 h 10000"/>
                  <a:gd name="connsiteX5" fmla="*/ 858 w 10000"/>
                  <a:gd name="connsiteY5" fmla="*/ 2016 h 10000"/>
                  <a:gd name="connsiteX6" fmla="*/ 2645 w 10000"/>
                  <a:gd name="connsiteY6" fmla="*/ 1160 h 10000"/>
                  <a:gd name="connsiteX7" fmla="*/ 4053 w 10000"/>
                  <a:gd name="connsiteY7" fmla="*/ 0 h 10000"/>
                  <a:gd name="connsiteX8" fmla="*/ 5514 w 10000"/>
                  <a:gd name="connsiteY8" fmla="*/ 4906 h 10000"/>
                  <a:gd name="connsiteX9" fmla="*/ 10000 w 10000"/>
                  <a:gd name="connsiteY9" fmla="*/ 9251 h 10000"/>
                  <a:gd name="connsiteX10" fmla="*/ 9520 w 10000"/>
                  <a:gd name="connsiteY10" fmla="*/ 9808 h 10000"/>
                  <a:gd name="connsiteX11" fmla="*/ 8118 w 10000"/>
                  <a:gd name="connsiteY11" fmla="*/ 9055 h 10000"/>
                  <a:gd name="connsiteX12" fmla="*/ 5996 w 10000"/>
                  <a:gd name="connsiteY12" fmla="*/ 6557 h 10000"/>
                  <a:gd name="connsiteX13" fmla="*/ 3958 w 10000"/>
                  <a:gd name="connsiteY13" fmla="*/ 6073 h 10000"/>
                  <a:gd name="connsiteX14" fmla="*/ 2982 w 10000"/>
                  <a:gd name="connsiteY14" fmla="*/ 6544 h 10000"/>
                  <a:gd name="connsiteX15" fmla="*/ 2568 w 10000"/>
                  <a:gd name="connsiteY15" fmla="*/ 5928 h 10000"/>
                  <a:gd name="connsiteX16" fmla="*/ 2141 w 10000"/>
                  <a:gd name="connsiteY16" fmla="*/ 5630 h 10000"/>
                  <a:gd name="connsiteX17" fmla="*/ 1657 w 10000"/>
                  <a:gd name="connsiteY17" fmla="*/ 6894 h 10000"/>
                  <a:gd name="connsiteX18" fmla="*/ 1156 w 10000"/>
                  <a:gd name="connsiteY18" fmla="*/ 6199 h 10000"/>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690 w 10000"/>
                  <a:gd name="connsiteY4" fmla="*/ 3291 h 10000"/>
                  <a:gd name="connsiteX5" fmla="*/ 858 w 10000"/>
                  <a:gd name="connsiteY5" fmla="*/ 2016 h 10000"/>
                  <a:gd name="connsiteX6" fmla="*/ 2645 w 10000"/>
                  <a:gd name="connsiteY6" fmla="*/ 1160 h 10000"/>
                  <a:gd name="connsiteX7" fmla="*/ 4053 w 10000"/>
                  <a:gd name="connsiteY7" fmla="*/ 0 h 10000"/>
                  <a:gd name="connsiteX8" fmla="*/ 5514 w 10000"/>
                  <a:gd name="connsiteY8" fmla="*/ 4906 h 10000"/>
                  <a:gd name="connsiteX9" fmla="*/ 10000 w 10000"/>
                  <a:gd name="connsiteY9" fmla="*/ 9251 h 10000"/>
                  <a:gd name="connsiteX10" fmla="*/ 9520 w 10000"/>
                  <a:gd name="connsiteY10" fmla="*/ 9808 h 10000"/>
                  <a:gd name="connsiteX11" fmla="*/ 8118 w 10000"/>
                  <a:gd name="connsiteY11" fmla="*/ 9055 h 10000"/>
                  <a:gd name="connsiteX12" fmla="*/ 5996 w 10000"/>
                  <a:gd name="connsiteY12" fmla="*/ 6557 h 10000"/>
                  <a:gd name="connsiteX13" fmla="*/ 3958 w 10000"/>
                  <a:gd name="connsiteY13" fmla="*/ 6073 h 10000"/>
                  <a:gd name="connsiteX14" fmla="*/ 2982 w 10000"/>
                  <a:gd name="connsiteY14" fmla="*/ 6544 h 10000"/>
                  <a:gd name="connsiteX15" fmla="*/ 2568 w 10000"/>
                  <a:gd name="connsiteY15" fmla="*/ 5928 h 10000"/>
                  <a:gd name="connsiteX16" fmla="*/ 2141 w 10000"/>
                  <a:gd name="connsiteY16" fmla="*/ 5630 h 10000"/>
                  <a:gd name="connsiteX17" fmla="*/ 1657 w 10000"/>
                  <a:gd name="connsiteY17" fmla="*/ 6894 h 10000"/>
                  <a:gd name="connsiteX18" fmla="*/ 1156 w 10000"/>
                  <a:gd name="connsiteY18" fmla="*/ 6199 h 10000"/>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690 w 10000"/>
                  <a:gd name="connsiteY4" fmla="*/ 3291 h 10000"/>
                  <a:gd name="connsiteX5" fmla="*/ 858 w 10000"/>
                  <a:gd name="connsiteY5" fmla="*/ 2016 h 10000"/>
                  <a:gd name="connsiteX6" fmla="*/ 2645 w 10000"/>
                  <a:gd name="connsiteY6" fmla="*/ 1160 h 10000"/>
                  <a:gd name="connsiteX7" fmla="*/ 4053 w 10000"/>
                  <a:gd name="connsiteY7" fmla="*/ 0 h 10000"/>
                  <a:gd name="connsiteX8" fmla="*/ 5514 w 10000"/>
                  <a:gd name="connsiteY8" fmla="*/ 4906 h 10000"/>
                  <a:gd name="connsiteX9" fmla="*/ 10000 w 10000"/>
                  <a:gd name="connsiteY9" fmla="*/ 9251 h 10000"/>
                  <a:gd name="connsiteX10" fmla="*/ 9520 w 10000"/>
                  <a:gd name="connsiteY10" fmla="*/ 9808 h 10000"/>
                  <a:gd name="connsiteX11" fmla="*/ 8118 w 10000"/>
                  <a:gd name="connsiteY11" fmla="*/ 9055 h 10000"/>
                  <a:gd name="connsiteX12" fmla="*/ 5996 w 10000"/>
                  <a:gd name="connsiteY12" fmla="*/ 6557 h 10000"/>
                  <a:gd name="connsiteX13" fmla="*/ 3958 w 10000"/>
                  <a:gd name="connsiteY13" fmla="*/ 6073 h 10000"/>
                  <a:gd name="connsiteX14" fmla="*/ 2982 w 10000"/>
                  <a:gd name="connsiteY14" fmla="*/ 6544 h 10000"/>
                  <a:gd name="connsiteX15" fmla="*/ 2568 w 10000"/>
                  <a:gd name="connsiteY15" fmla="*/ 5928 h 10000"/>
                  <a:gd name="connsiteX16" fmla="*/ 2141 w 10000"/>
                  <a:gd name="connsiteY16" fmla="*/ 5630 h 10000"/>
                  <a:gd name="connsiteX17" fmla="*/ 1657 w 10000"/>
                  <a:gd name="connsiteY17" fmla="*/ 6894 h 10000"/>
                  <a:gd name="connsiteX18" fmla="*/ 1156 w 10000"/>
                  <a:gd name="connsiteY18" fmla="*/ 6199 h 10000"/>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690 w 10000"/>
                  <a:gd name="connsiteY4" fmla="*/ 3291 h 10000"/>
                  <a:gd name="connsiteX5" fmla="*/ 858 w 10000"/>
                  <a:gd name="connsiteY5" fmla="*/ 2016 h 10000"/>
                  <a:gd name="connsiteX6" fmla="*/ 2645 w 10000"/>
                  <a:gd name="connsiteY6" fmla="*/ 1160 h 10000"/>
                  <a:gd name="connsiteX7" fmla="*/ 4053 w 10000"/>
                  <a:gd name="connsiteY7" fmla="*/ 0 h 10000"/>
                  <a:gd name="connsiteX8" fmla="*/ 5514 w 10000"/>
                  <a:gd name="connsiteY8" fmla="*/ 4906 h 10000"/>
                  <a:gd name="connsiteX9" fmla="*/ 10000 w 10000"/>
                  <a:gd name="connsiteY9" fmla="*/ 9251 h 10000"/>
                  <a:gd name="connsiteX10" fmla="*/ 9520 w 10000"/>
                  <a:gd name="connsiteY10" fmla="*/ 9808 h 10000"/>
                  <a:gd name="connsiteX11" fmla="*/ 8118 w 10000"/>
                  <a:gd name="connsiteY11" fmla="*/ 9055 h 10000"/>
                  <a:gd name="connsiteX12" fmla="*/ 5996 w 10000"/>
                  <a:gd name="connsiteY12" fmla="*/ 6557 h 10000"/>
                  <a:gd name="connsiteX13" fmla="*/ 3958 w 10000"/>
                  <a:gd name="connsiteY13" fmla="*/ 6073 h 10000"/>
                  <a:gd name="connsiteX14" fmla="*/ 2982 w 10000"/>
                  <a:gd name="connsiteY14" fmla="*/ 6544 h 10000"/>
                  <a:gd name="connsiteX15" fmla="*/ 2568 w 10000"/>
                  <a:gd name="connsiteY15" fmla="*/ 5928 h 10000"/>
                  <a:gd name="connsiteX16" fmla="*/ 2141 w 10000"/>
                  <a:gd name="connsiteY16" fmla="*/ 5630 h 10000"/>
                  <a:gd name="connsiteX17" fmla="*/ 1657 w 10000"/>
                  <a:gd name="connsiteY17" fmla="*/ 6894 h 10000"/>
                  <a:gd name="connsiteX18" fmla="*/ 1156 w 10000"/>
                  <a:gd name="connsiteY18" fmla="*/ 6199 h 10000"/>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690 w 10000"/>
                  <a:gd name="connsiteY4" fmla="*/ 3291 h 10000"/>
                  <a:gd name="connsiteX5" fmla="*/ 858 w 10000"/>
                  <a:gd name="connsiteY5" fmla="*/ 2016 h 10000"/>
                  <a:gd name="connsiteX6" fmla="*/ 2645 w 10000"/>
                  <a:gd name="connsiteY6" fmla="*/ 1160 h 10000"/>
                  <a:gd name="connsiteX7" fmla="*/ 4053 w 10000"/>
                  <a:gd name="connsiteY7" fmla="*/ 0 h 10000"/>
                  <a:gd name="connsiteX8" fmla="*/ 5514 w 10000"/>
                  <a:gd name="connsiteY8" fmla="*/ 4906 h 10000"/>
                  <a:gd name="connsiteX9" fmla="*/ 10000 w 10000"/>
                  <a:gd name="connsiteY9" fmla="*/ 9251 h 10000"/>
                  <a:gd name="connsiteX10" fmla="*/ 9520 w 10000"/>
                  <a:gd name="connsiteY10" fmla="*/ 9808 h 10000"/>
                  <a:gd name="connsiteX11" fmla="*/ 8118 w 10000"/>
                  <a:gd name="connsiteY11" fmla="*/ 9055 h 10000"/>
                  <a:gd name="connsiteX12" fmla="*/ 5996 w 10000"/>
                  <a:gd name="connsiteY12" fmla="*/ 6557 h 10000"/>
                  <a:gd name="connsiteX13" fmla="*/ 3958 w 10000"/>
                  <a:gd name="connsiteY13" fmla="*/ 6073 h 10000"/>
                  <a:gd name="connsiteX14" fmla="*/ 2982 w 10000"/>
                  <a:gd name="connsiteY14" fmla="*/ 6544 h 10000"/>
                  <a:gd name="connsiteX15" fmla="*/ 2568 w 10000"/>
                  <a:gd name="connsiteY15" fmla="*/ 5928 h 10000"/>
                  <a:gd name="connsiteX16" fmla="*/ 2141 w 10000"/>
                  <a:gd name="connsiteY16" fmla="*/ 5630 h 10000"/>
                  <a:gd name="connsiteX17" fmla="*/ 1657 w 10000"/>
                  <a:gd name="connsiteY17" fmla="*/ 6894 h 10000"/>
                  <a:gd name="connsiteX18" fmla="*/ 1156 w 10000"/>
                  <a:gd name="connsiteY18" fmla="*/ 6199 h 10000"/>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690 w 10000"/>
                  <a:gd name="connsiteY4" fmla="*/ 3291 h 10000"/>
                  <a:gd name="connsiteX5" fmla="*/ 858 w 10000"/>
                  <a:gd name="connsiteY5" fmla="*/ 2016 h 10000"/>
                  <a:gd name="connsiteX6" fmla="*/ 1804 w 10000"/>
                  <a:gd name="connsiteY6" fmla="*/ 1501 h 10000"/>
                  <a:gd name="connsiteX7" fmla="*/ 2645 w 10000"/>
                  <a:gd name="connsiteY7" fmla="*/ 1160 h 10000"/>
                  <a:gd name="connsiteX8" fmla="*/ 4053 w 10000"/>
                  <a:gd name="connsiteY8" fmla="*/ 0 h 10000"/>
                  <a:gd name="connsiteX9" fmla="*/ 5514 w 10000"/>
                  <a:gd name="connsiteY9" fmla="*/ 4906 h 10000"/>
                  <a:gd name="connsiteX10" fmla="*/ 10000 w 10000"/>
                  <a:gd name="connsiteY10" fmla="*/ 9251 h 10000"/>
                  <a:gd name="connsiteX11" fmla="*/ 9520 w 10000"/>
                  <a:gd name="connsiteY11" fmla="*/ 9808 h 10000"/>
                  <a:gd name="connsiteX12" fmla="*/ 8118 w 10000"/>
                  <a:gd name="connsiteY12" fmla="*/ 9055 h 10000"/>
                  <a:gd name="connsiteX13" fmla="*/ 5996 w 10000"/>
                  <a:gd name="connsiteY13" fmla="*/ 6557 h 10000"/>
                  <a:gd name="connsiteX14" fmla="*/ 3958 w 10000"/>
                  <a:gd name="connsiteY14" fmla="*/ 6073 h 10000"/>
                  <a:gd name="connsiteX15" fmla="*/ 2982 w 10000"/>
                  <a:gd name="connsiteY15" fmla="*/ 6544 h 10000"/>
                  <a:gd name="connsiteX16" fmla="*/ 2568 w 10000"/>
                  <a:gd name="connsiteY16" fmla="*/ 5928 h 10000"/>
                  <a:gd name="connsiteX17" fmla="*/ 2141 w 10000"/>
                  <a:gd name="connsiteY17" fmla="*/ 5630 h 10000"/>
                  <a:gd name="connsiteX18" fmla="*/ 1657 w 10000"/>
                  <a:gd name="connsiteY18" fmla="*/ 6894 h 10000"/>
                  <a:gd name="connsiteX19" fmla="*/ 1156 w 10000"/>
                  <a:gd name="connsiteY19" fmla="*/ 6199 h 10000"/>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690 w 10000"/>
                  <a:gd name="connsiteY4" fmla="*/ 3291 h 10000"/>
                  <a:gd name="connsiteX5" fmla="*/ 858 w 10000"/>
                  <a:gd name="connsiteY5" fmla="*/ 2016 h 10000"/>
                  <a:gd name="connsiteX6" fmla="*/ 1804 w 10000"/>
                  <a:gd name="connsiteY6" fmla="*/ 1501 h 10000"/>
                  <a:gd name="connsiteX7" fmla="*/ 2645 w 10000"/>
                  <a:gd name="connsiteY7" fmla="*/ 1160 h 10000"/>
                  <a:gd name="connsiteX8" fmla="*/ 4053 w 10000"/>
                  <a:gd name="connsiteY8" fmla="*/ 0 h 10000"/>
                  <a:gd name="connsiteX9" fmla="*/ 5514 w 10000"/>
                  <a:gd name="connsiteY9" fmla="*/ 4906 h 10000"/>
                  <a:gd name="connsiteX10" fmla="*/ 10000 w 10000"/>
                  <a:gd name="connsiteY10" fmla="*/ 9251 h 10000"/>
                  <a:gd name="connsiteX11" fmla="*/ 9520 w 10000"/>
                  <a:gd name="connsiteY11" fmla="*/ 9808 h 10000"/>
                  <a:gd name="connsiteX12" fmla="*/ 8118 w 10000"/>
                  <a:gd name="connsiteY12" fmla="*/ 9055 h 10000"/>
                  <a:gd name="connsiteX13" fmla="*/ 5996 w 10000"/>
                  <a:gd name="connsiteY13" fmla="*/ 6557 h 10000"/>
                  <a:gd name="connsiteX14" fmla="*/ 3958 w 10000"/>
                  <a:gd name="connsiteY14" fmla="*/ 6073 h 10000"/>
                  <a:gd name="connsiteX15" fmla="*/ 2982 w 10000"/>
                  <a:gd name="connsiteY15" fmla="*/ 6544 h 10000"/>
                  <a:gd name="connsiteX16" fmla="*/ 2568 w 10000"/>
                  <a:gd name="connsiteY16" fmla="*/ 5928 h 10000"/>
                  <a:gd name="connsiteX17" fmla="*/ 2141 w 10000"/>
                  <a:gd name="connsiteY17" fmla="*/ 5630 h 10000"/>
                  <a:gd name="connsiteX18" fmla="*/ 1657 w 10000"/>
                  <a:gd name="connsiteY18" fmla="*/ 6894 h 10000"/>
                  <a:gd name="connsiteX19" fmla="*/ 1156 w 10000"/>
                  <a:gd name="connsiteY19" fmla="*/ 6199 h 10000"/>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690 w 10000"/>
                  <a:gd name="connsiteY4" fmla="*/ 3291 h 10000"/>
                  <a:gd name="connsiteX5" fmla="*/ 858 w 10000"/>
                  <a:gd name="connsiteY5" fmla="*/ 2016 h 10000"/>
                  <a:gd name="connsiteX6" fmla="*/ 1911 w 10000"/>
                  <a:gd name="connsiteY6" fmla="*/ 1349 h 10000"/>
                  <a:gd name="connsiteX7" fmla="*/ 2645 w 10000"/>
                  <a:gd name="connsiteY7" fmla="*/ 1160 h 10000"/>
                  <a:gd name="connsiteX8" fmla="*/ 4053 w 10000"/>
                  <a:gd name="connsiteY8" fmla="*/ 0 h 10000"/>
                  <a:gd name="connsiteX9" fmla="*/ 5514 w 10000"/>
                  <a:gd name="connsiteY9" fmla="*/ 4906 h 10000"/>
                  <a:gd name="connsiteX10" fmla="*/ 10000 w 10000"/>
                  <a:gd name="connsiteY10" fmla="*/ 9251 h 10000"/>
                  <a:gd name="connsiteX11" fmla="*/ 9520 w 10000"/>
                  <a:gd name="connsiteY11" fmla="*/ 9808 h 10000"/>
                  <a:gd name="connsiteX12" fmla="*/ 8118 w 10000"/>
                  <a:gd name="connsiteY12" fmla="*/ 9055 h 10000"/>
                  <a:gd name="connsiteX13" fmla="*/ 5996 w 10000"/>
                  <a:gd name="connsiteY13" fmla="*/ 6557 h 10000"/>
                  <a:gd name="connsiteX14" fmla="*/ 3958 w 10000"/>
                  <a:gd name="connsiteY14" fmla="*/ 6073 h 10000"/>
                  <a:gd name="connsiteX15" fmla="*/ 2982 w 10000"/>
                  <a:gd name="connsiteY15" fmla="*/ 6544 h 10000"/>
                  <a:gd name="connsiteX16" fmla="*/ 2568 w 10000"/>
                  <a:gd name="connsiteY16" fmla="*/ 5928 h 10000"/>
                  <a:gd name="connsiteX17" fmla="*/ 2141 w 10000"/>
                  <a:gd name="connsiteY17" fmla="*/ 5630 h 10000"/>
                  <a:gd name="connsiteX18" fmla="*/ 1657 w 10000"/>
                  <a:gd name="connsiteY18" fmla="*/ 6894 h 10000"/>
                  <a:gd name="connsiteX19" fmla="*/ 1156 w 10000"/>
                  <a:gd name="connsiteY19" fmla="*/ 6199 h 10000"/>
                  <a:gd name="connsiteX0" fmla="*/ 1157 w 10000"/>
                  <a:gd name="connsiteY0" fmla="*/ 6318 h 10000"/>
                  <a:gd name="connsiteX1" fmla="*/ 826 w 10000"/>
                  <a:gd name="connsiteY1" fmla="*/ 6631 h 10000"/>
                  <a:gd name="connsiteX2" fmla="*/ 0 w 10000"/>
                  <a:gd name="connsiteY2" fmla="*/ 6507 h 10000"/>
                  <a:gd name="connsiteX3" fmla="*/ 24 w 10000"/>
                  <a:gd name="connsiteY3" fmla="*/ 5172 h 10000"/>
                  <a:gd name="connsiteX4" fmla="*/ 690 w 10000"/>
                  <a:gd name="connsiteY4" fmla="*/ 3291 h 10000"/>
                  <a:gd name="connsiteX5" fmla="*/ 858 w 10000"/>
                  <a:gd name="connsiteY5" fmla="*/ 2016 h 10000"/>
                  <a:gd name="connsiteX6" fmla="*/ 1911 w 10000"/>
                  <a:gd name="connsiteY6" fmla="*/ 1349 h 10000"/>
                  <a:gd name="connsiteX7" fmla="*/ 2645 w 10000"/>
                  <a:gd name="connsiteY7" fmla="*/ 1160 h 10000"/>
                  <a:gd name="connsiteX8" fmla="*/ 4053 w 10000"/>
                  <a:gd name="connsiteY8" fmla="*/ 0 h 10000"/>
                  <a:gd name="connsiteX9" fmla="*/ 5514 w 10000"/>
                  <a:gd name="connsiteY9" fmla="*/ 4906 h 10000"/>
                  <a:gd name="connsiteX10" fmla="*/ 10000 w 10000"/>
                  <a:gd name="connsiteY10" fmla="*/ 9251 h 10000"/>
                  <a:gd name="connsiteX11" fmla="*/ 9520 w 10000"/>
                  <a:gd name="connsiteY11" fmla="*/ 9808 h 10000"/>
                  <a:gd name="connsiteX12" fmla="*/ 8118 w 10000"/>
                  <a:gd name="connsiteY12" fmla="*/ 9055 h 10000"/>
                  <a:gd name="connsiteX13" fmla="*/ 5996 w 10000"/>
                  <a:gd name="connsiteY13" fmla="*/ 6557 h 10000"/>
                  <a:gd name="connsiteX14" fmla="*/ 3958 w 10000"/>
                  <a:gd name="connsiteY14" fmla="*/ 6073 h 10000"/>
                  <a:gd name="connsiteX15" fmla="*/ 2982 w 10000"/>
                  <a:gd name="connsiteY15" fmla="*/ 6544 h 10000"/>
                  <a:gd name="connsiteX16" fmla="*/ 2568 w 10000"/>
                  <a:gd name="connsiteY16" fmla="*/ 5928 h 10000"/>
                  <a:gd name="connsiteX17" fmla="*/ 2141 w 10000"/>
                  <a:gd name="connsiteY17" fmla="*/ 5630 h 10000"/>
                  <a:gd name="connsiteX18" fmla="*/ 1657 w 10000"/>
                  <a:gd name="connsiteY18" fmla="*/ 6894 h 10000"/>
                  <a:gd name="connsiteX19" fmla="*/ 1156 w 10000"/>
                  <a:gd name="connsiteY19" fmla="*/ 6199 h 10000"/>
                  <a:gd name="connsiteX0" fmla="*/ 1157 w 10000"/>
                  <a:gd name="connsiteY0" fmla="*/ 6318 h 10074"/>
                  <a:gd name="connsiteX1" fmla="*/ 826 w 10000"/>
                  <a:gd name="connsiteY1" fmla="*/ 6631 h 10074"/>
                  <a:gd name="connsiteX2" fmla="*/ 0 w 10000"/>
                  <a:gd name="connsiteY2" fmla="*/ 6507 h 10074"/>
                  <a:gd name="connsiteX3" fmla="*/ 24 w 10000"/>
                  <a:gd name="connsiteY3" fmla="*/ 5172 h 10074"/>
                  <a:gd name="connsiteX4" fmla="*/ 690 w 10000"/>
                  <a:gd name="connsiteY4" fmla="*/ 3291 h 10074"/>
                  <a:gd name="connsiteX5" fmla="*/ 858 w 10000"/>
                  <a:gd name="connsiteY5" fmla="*/ 2016 h 10074"/>
                  <a:gd name="connsiteX6" fmla="*/ 1911 w 10000"/>
                  <a:gd name="connsiteY6" fmla="*/ 1349 h 10074"/>
                  <a:gd name="connsiteX7" fmla="*/ 2645 w 10000"/>
                  <a:gd name="connsiteY7" fmla="*/ 1160 h 10074"/>
                  <a:gd name="connsiteX8" fmla="*/ 4053 w 10000"/>
                  <a:gd name="connsiteY8" fmla="*/ 0 h 10074"/>
                  <a:gd name="connsiteX9" fmla="*/ 5514 w 10000"/>
                  <a:gd name="connsiteY9" fmla="*/ 4906 h 10074"/>
                  <a:gd name="connsiteX10" fmla="*/ 10000 w 10000"/>
                  <a:gd name="connsiteY10" fmla="*/ 9251 h 10074"/>
                  <a:gd name="connsiteX11" fmla="*/ 9520 w 10000"/>
                  <a:gd name="connsiteY11" fmla="*/ 9808 h 10074"/>
                  <a:gd name="connsiteX12" fmla="*/ 8118 w 10000"/>
                  <a:gd name="connsiteY12" fmla="*/ 9055 h 10074"/>
                  <a:gd name="connsiteX13" fmla="*/ 5996 w 10000"/>
                  <a:gd name="connsiteY13" fmla="*/ 6557 h 10074"/>
                  <a:gd name="connsiteX14" fmla="*/ 3958 w 10000"/>
                  <a:gd name="connsiteY14" fmla="*/ 6073 h 10074"/>
                  <a:gd name="connsiteX15" fmla="*/ 2982 w 10000"/>
                  <a:gd name="connsiteY15" fmla="*/ 6544 h 10074"/>
                  <a:gd name="connsiteX16" fmla="*/ 2568 w 10000"/>
                  <a:gd name="connsiteY16" fmla="*/ 5928 h 10074"/>
                  <a:gd name="connsiteX17" fmla="*/ 2141 w 10000"/>
                  <a:gd name="connsiteY17" fmla="*/ 5630 h 10074"/>
                  <a:gd name="connsiteX18" fmla="*/ 1657 w 10000"/>
                  <a:gd name="connsiteY18" fmla="*/ 6894 h 10074"/>
                  <a:gd name="connsiteX19" fmla="*/ 1156 w 10000"/>
                  <a:gd name="connsiteY19" fmla="*/ 6199 h 10074"/>
                  <a:gd name="connsiteX0" fmla="*/ 1157 w 10000"/>
                  <a:gd name="connsiteY0" fmla="*/ 6318 h 10074"/>
                  <a:gd name="connsiteX1" fmla="*/ 826 w 10000"/>
                  <a:gd name="connsiteY1" fmla="*/ 6631 h 10074"/>
                  <a:gd name="connsiteX2" fmla="*/ 0 w 10000"/>
                  <a:gd name="connsiteY2" fmla="*/ 6507 h 10074"/>
                  <a:gd name="connsiteX3" fmla="*/ 24 w 10000"/>
                  <a:gd name="connsiteY3" fmla="*/ 5172 h 10074"/>
                  <a:gd name="connsiteX4" fmla="*/ 690 w 10000"/>
                  <a:gd name="connsiteY4" fmla="*/ 3291 h 10074"/>
                  <a:gd name="connsiteX5" fmla="*/ 858 w 10000"/>
                  <a:gd name="connsiteY5" fmla="*/ 2016 h 10074"/>
                  <a:gd name="connsiteX6" fmla="*/ 1911 w 10000"/>
                  <a:gd name="connsiteY6" fmla="*/ 1349 h 10074"/>
                  <a:gd name="connsiteX7" fmla="*/ 2645 w 10000"/>
                  <a:gd name="connsiteY7" fmla="*/ 1160 h 10074"/>
                  <a:gd name="connsiteX8" fmla="*/ 4053 w 10000"/>
                  <a:gd name="connsiteY8" fmla="*/ 0 h 10074"/>
                  <a:gd name="connsiteX9" fmla="*/ 5514 w 10000"/>
                  <a:gd name="connsiteY9" fmla="*/ 4906 h 10074"/>
                  <a:gd name="connsiteX10" fmla="*/ 10000 w 10000"/>
                  <a:gd name="connsiteY10" fmla="*/ 9251 h 10074"/>
                  <a:gd name="connsiteX11" fmla="*/ 9520 w 10000"/>
                  <a:gd name="connsiteY11" fmla="*/ 9808 h 10074"/>
                  <a:gd name="connsiteX12" fmla="*/ 8118 w 10000"/>
                  <a:gd name="connsiteY12" fmla="*/ 9055 h 10074"/>
                  <a:gd name="connsiteX13" fmla="*/ 5996 w 10000"/>
                  <a:gd name="connsiteY13" fmla="*/ 6557 h 10074"/>
                  <a:gd name="connsiteX14" fmla="*/ 3958 w 10000"/>
                  <a:gd name="connsiteY14" fmla="*/ 6073 h 10074"/>
                  <a:gd name="connsiteX15" fmla="*/ 2982 w 10000"/>
                  <a:gd name="connsiteY15" fmla="*/ 6544 h 10074"/>
                  <a:gd name="connsiteX16" fmla="*/ 2568 w 10000"/>
                  <a:gd name="connsiteY16" fmla="*/ 5928 h 10074"/>
                  <a:gd name="connsiteX17" fmla="*/ 2141 w 10000"/>
                  <a:gd name="connsiteY17" fmla="*/ 5630 h 10074"/>
                  <a:gd name="connsiteX18" fmla="*/ 1657 w 10000"/>
                  <a:gd name="connsiteY18" fmla="*/ 6894 h 10074"/>
                  <a:gd name="connsiteX19" fmla="*/ 1156 w 10000"/>
                  <a:gd name="connsiteY19" fmla="*/ 6199 h 10074"/>
                  <a:gd name="connsiteX0" fmla="*/ 1157 w 10000"/>
                  <a:gd name="connsiteY0" fmla="*/ 6318 h 10049"/>
                  <a:gd name="connsiteX1" fmla="*/ 826 w 10000"/>
                  <a:gd name="connsiteY1" fmla="*/ 6631 h 10049"/>
                  <a:gd name="connsiteX2" fmla="*/ 0 w 10000"/>
                  <a:gd name="connsiteY2" fmla="*/ 6507 h 10049"/>
                  <a:gd name="connsiteX3" fmla="*/ 24 w 10000"/>
                  <a:gd name="connsiteY3" fmla="*/ 5172 h 10049"/>
                  <a:gd name="connsiteX4" fmla="*/ 690 w 10000"/>
                  <a:gd name="connsiteY4" fmla="*/ 3291 h 10049"/>
                  <a:gd name="connsiteX5" fmla="*/ 858 w 10000"/>
                  <a:gd name="connsiteY5" fmla="*/ 2016 h 10049"/>
                  <a:gd name="connsiteX6" fmla="*/ 1911 w 10000"/>
                  <a:gd name="connsiteY6" fmla="*/ 1349 h 10049"/>
                  <a:gd name="connsiteX7" fmla="*/ 2645 w 10000"/>
                  <a:gd name="connsiteY7" fmla="*/ 1160 h 10049"/>
                  <a:gd name="connsiteX8" fmla="*/ 4053 w 10000"/>
                  <a:gd name="connsiteY8" fmla="*/ 0 h 10049"/>
                  <a:gd name="connsiteX9" fmla="*/ 5514 w 10000"/>
                  <a:gd name="connsiteY9" fmla="*/ 4906 h 10049"/>
                  <a:gd name="connsiteX10" fmla="*/ 10000 w 10000"/>
                  <a:gd name="connsiteY10" fmla="*/ 9251 h 10049"/>
                  <a:gd name="connsiteX11" fmla="*/ 9520 w 10000"/>
                  <a:gd name="connsiteY11" fmla="*/ 9808 h 10049"/>
                  <a:gd name="connsiteX12" fmla="*/ 8331 w 10000"/>
                  <a:gd name="connsiteY12" fmla="*/ 8827 h 10049"/>
                  <a:gd name="connsiteX13" fmla="*/ 5996 w 10000"/>
                  <a:gd name="connsiteY13" fmla="*/ 6557 h 10049"/>
                  <a:gd name="connsiteX14" fmla="*/ 3958 w 10000"/>
                  <a:gd name="connsiteY14" fmla="*/ 6073 h 10049"/>
                  <a:gd name="connsiteX15" fmla="*/ 2982 w 10000"/>
                  <a:gd name="connsiteY15" fmla="*/ 6544 h 10049"/>
                  <a:gd name="connsiteX16" fmla="*/ 2568 w 10000"/>
                  <a:gd name="connsiteY16" fmla="*/ 5928 h 10049"/>
                  <a:gd name="connsiteX17" fmla="*/ 2141 w 10000"/>
                  <a:gd name="connsiteY17" fmla="*/ 5630 h 10049"/>
                  <a:gd name="connsiteX18" fmla="*/ 1657 w 10000"/>
                  <a:gd name="connsiteY18" fmla="*/ 6894 h 10049"/>
                  <a:gd name="connsiteX19" fmla="*/ 1156 w 10000"/>
                  <a:gd name="connsiteY19" fmla="*/ 6199 h 10049"/>
                  <a:gd name="connsiteX0" fmla="*/ 1157 w 10000"/>
                  <a:gd name="connsiteY0" fmla="*/ 6318 h 10049"/>
                  <a:gd name="connsiteX1" fmla="*/ 826 w 10000"/>
                  <a:gd name="connsiteY1" fmla="*/ 6631 h 10049"/>
                  <a:gd name="connsiteX2" fmla="*/ 0 w 10000"/>
                  <a:gd name="connsiteY2" fmla="*/ 6507 h 10049"/>
                  <a:gd name="connsiteX3" fmla="*/ 24 w 10000"/>
                  <a:gd name="connsiteY3" fmla="*/ 5172 h 10049"/>
                  <a:gd name="connsiteX4" fmla="*/ 690 w 10000"/>
                  <a:gd name="connsiteY4" fmla="*/ 3291 h 10049"/>
                  <a:gd name="connsiteX5" fmla="*/ 858 w 10000"/>
                  <a:gd name="connsiteY5" fmla="*/ 2016 h 10049"/>
                  <a:gd name="connsiteX6" fmla="*/ 1911 w 10000"/>
                  <a:gd name="connsiteY6" fmla="*/ 1349 h 10049"/>
                  <a:gd name="connsiteX7" fmla="*/ 2645 w 10000"/>
                  <a:gd name="connsiteY7" fmla="*/ 1160 h 10049"/>
                  <a:gd name="connsiteX8" fmla="*/ 4053 w 10000"/>
                  <a:gd name="connsiteY8" fmla="*/ 0 h 10049"/>
                  <a:gd name="connsiteX9" fmla="*/ 5514 w 10000"/>
                  <a:gd name="connsiteY9" fmla="*/ 4906 h 10049"/>
                  <a:gd name="connsiteX10" fmla="*/ 10000 w 10000"/>
                  <a:gd name="connsiteY10" fmla="*/ 9251 h 10049"/>
                  <a:gd name="connsiteX11" fmla="*/ 9520 w 10000"/>
                  <a:gd name="connsiteY11" fmla="*/ 9808 h 10049"/>
                  <a:gd name="connsiteX12" fmla="*/ 8331 w 10000"/>
                  <a:gd name="connsiteY12" fmla="*/ 8827 h 10049"/>
                  <a:gd name="connsiteX13" fmla="*/ 5996 w 10000"/>
                  <a:gd name="connsiteY13" fmla="*/ 6557 h 10049"/>
                  <a:gd name="connsiteX14" fmla="*/ 3958 w 10000"/>
                  <a:gd name="connsiteY14" fmla="*/ 6073 h 10049"/>
                  <a:gd name="connsiteX15" fmla="*/ 2982 w 10000"/>
                  <a:gd name="connsiteY15" fmla="*/ 6544 h 10049"/>
                  <a:gd name="connsiteX16" fmla="*/ 2568 w 10000"/>
                  <a:gd name="connsiteY16" fmla="*/ 5928 h 10049"/>
                  <a:gd name="connsiteX17" fmla="*/ 2141 w 10000"/>
                  <a:gd name="connsiteY17" fmla="*/ 5630 h 10049"/>
                  <a:gd name="connsiteX18" fmla="*/ 1657 w 10000"/>
                  <a:gd name="connsiteY18" fmla="*/ 6894 h 10049"/>
                  <a:gd name="connsiteX19" fmla="*/ 1156 w 10000"/>
                  <a:gd name="connsiteY19" fmla="*/ 6199 h 10049"/>
                  <a:gd name="connsiteX0" fmla="*/ 1157 w 10000"/>
                  <a:gd name="connsiteY0" fmla="*/ 6318 h 10049"/>
                  <a:gd name="connsiteX1" fmla="*/ 826 w 10000"/>
                  <a:gd name="connsiteY1" fmla="*/ 6631 h 10049"/>
                  <a:gd name="connsiteX2" fmla="*/ 0 w 10000"/>
                  <a:gd name="connsiteY2" fmla="*/ 6507 h 10049"/>
                  <a:gd name="connsiteX3" fmla="*/ 24 w 10000"/>
                  <a:gd name="connsiteY3" fmla="*/ 5172 h 10049"/>
                  <a:gd name="connsiteX4" fmla="*/ 690 w 10000"/>
                  <a:gd name="connsiteY4" fmla="*/ 3291 h 10049"/>
                  <a:gd name="connsiteX5" fmla="*/ 858 w 10000"/>
                  <a:gd name="connsiteY5" fmla="*/ 2016 h 10049"/>
                  <a:gd name="connsiteX6" fmla="*/ 1911 w 10000"/>
                  <a:gd name="connsiteY6" fmla="*/ 1349 h 10049"/>
                  <a:gd name="connsiteX7" fmla="*/ 2645 w 10000"/>
                  <a:gd name="connsiteY7" fmla="*/ 1160 h 10049"/>
                  <a:gd name="connsiteX8" fmla="*/ 4053 w 10000"/>
                  <a:gd name="connsiteY8" fmla="*/ 0 h 10049"/>
                  <a:gd name="connsiteX9" fmla="*/ 5514 w 10000"/>
                  <a:gd name="connsiteY9" fmla="*/ 4906 h 10049"/>
                  <a:gd name="connsiteX10" fmla="*/ 10000 w 10000"/>
                  <a:gd name="connsiteY10" fmla="*/ 9251 h 10049"/>
                  <a:gd name="connsiteX11" fmla="*/ 9520 w 10000"/>
                  <a:gd name="connsiteY11" fmla="*/ 9808 h 10049"/>
                  <a:gd name="connsiteX12" fmla="*/ 8331 w 10000"/>
                  <a:gd name="connsiteY12" fmla="*/ 8827 h 10049"/>
                  <a:gd name="connsiteX13" fmla="*/ 5996 w 10000"/>
                  <a:gd name="connsiteY13" fmla="*/ 6557 h 10049"/>
                  <a:gd name="connsiteX14" fmla="*/ 3958 w 10000"/>
                  <a:gd name="connsiteY14" fmla="*/ 6073 h 10049"/>
                  <a:gd name="connsiteX15" fmla="*/ 2982 w 10000"/>
                  <a:gd name="connsiteY15" fmla="*/ 6544 h 10049"/>
                  <a:gd name="connsiteX16" fmla="*/ 2568 w 10000"/>
                  <a:gd name="connsiteY16" fmla="*/ 5928 h 10049"/>
                  <a:gd name="connsiteX17" fmla="*/ 2141 w 10000"/>
                  <a:gd name="connsiteY17" fmla="*/ 5630 h 10049"/>
                  <a:gd name="connsiteX18" fmla="*/ 1657 w 10000"/>
                  <a:gd name="connsiteY18" fmla="*/ 6894 h 10049"/>
                  <a:gd name="connsiteX19" fmla="*/ 1156 w 10000"/>
                  <a:gd name="connsiteY19" fmla="*/ 6199 h 10049"/>
                  <a:gd name="connsiteX0" fmla="*/ 1157 w 10000"/>
                  <a:gd name="connsiteY0" fmla="*/ 6318 h 10049"/>
                  <a:gd name="connsiteX1" fmla="*/ 826 w 10000"/>
                  <a:gd name="connsiteY1" fmla="*/ 6631 h 10049"/>
                  <a:gd name="connsiteX2" fmla="*/ 0 w 10000"/>
                  <a:gd name="connsiteY2" fmla="*/ 6507 h 10049"/>
                  <a:gd name="connsiteX3" fmla="*/ 24 w 10000"/>
                  <a:gd name="connsiteY3" fmla="*/ 5172 h 10049"/>
                  <a:gd name="connsiteX4" fmla="*/ 690 w 10000"/>
                  <a:gd name="connsiteY4" fmla="*/ 3291 h 10049"/>
                  <a:gd name="connsiteX5" fmla="*/ 858 w 10000"/>
                  <a:gd name="connsiteY5" fmla="*/ 2016 h 10049"/>
                  <a:gd name="connsiteX6" fmla="*/ 1911 w 10000"/>
                  <a:gd name="connsiteY6" fmla="*/ 1349 h 10049"/>
                  <a:gd name="connsiteX7" fmla="*/ 2645 w 10000"/>
                  <a:gd name="connsiteY7" fmla="*/ 1160 h 10049"/>
                  <a:gd name="connsiteX8" fmla="*/ 4053 w 10000"/>
                  <a:gd name="connsiteY8" fmla="*/ 0 h 10049"/>
                  <a:gd name="connsiteX9" fmla="*/ 5514 w 10000"/>
                  <a:gd name="connsiteY9" fmla="*/ 4906 h 10049"/>
                  <a:gd name="connsiteX10" fmla="*/ 10000 w 10000"/>
                  <a:gd name="connsiteY10" fmla="*/ 9251 h 10049"/>
                  <a:gd name="connsiteX11" fmla="*/ 9520 w 10000"/>
                  <a:gd name="connsiteY11" fmla="*/ 9808 h 10049"/>
                  <a:gd name="connsiteX12" fmla="*/ 8331 w 10000"/>
                  <a:gd name="connsiteY12" fmla="*/ 8827 h 10049"/>
                  <a:gd name="connsiteX13" fmla="*/ 5996 w 10000"/>
                  <a:gd name="connsiteY13" fmla="*/ 6557 h 10049"/>
                  <a:gd name="connsiteX14" fmla="*/ 3958 w 10000"/>
                  <a:gd name="connsiteY14" fmla="*/ 6073 h 10049"/>
                  <a:gd name="connsiteX15" fmla="*/ 3034 w 10000"/>
                  <a:gd name="connsiteY15" fmla="*/ 6425 h 10049"/>
                  <a:gd name="connsiteX16" fmla="*/ 2568 w 10000"/>
                  <a:gd name="connsiteY16" fmla="*/ 5928 h 10049"/>
                  <a:gd name="connsiteX17" fmla="*/ 2141 w 10000"/>
                  <a:gd name="connsiteY17" fmla="*/ 5630 h 10049"/>
                  <a:gd name="connsiteX18" fmla="*/ 1657 w 10000"/>
                  <a:gd name="connsiteY18" fmla="*/ 6894 h 10049"/>
                  <a:gd name="connsiteX19" fmla="*/ 1156 w 10000"/>
                  <a:gd name="connsiteY19" fmla="*/ 6199 h 10049"/>
                  <a:gd name="connsiteX0" fmla="*/ 1157 w 10000"/>
                  <a:gd name="connsiteY0" fmla="*/ 6318 h 10049"/>
                  <a:gd name="connsiteX1" fmla="*/ 826 w 10000"/>
                  <a:gd name="connsiteY1" fmla="*/ 6631 h 10049"/>
                  <a:gd name="connsiteX2" fmla="*/ 0 w 10000"/>
                  <a:gd name="connsiteY2" fmla="*/ 6507 h 10049"/>
                  <a:gd name="connsiteX3" fmla="*/ 24 w 10000"/>
                  <a:gd name="connsiteY3" fmla="*/ 5172 h 10049"/>
                  <a:gd name="connsiteX4" fmla="*/ 690 w 10000"/>
                  <a:gd name="connsiteY4" fmla="*/ 3291 h 10049"/>
                  <a:gd name="connsiteX5" fmla="*/ 858 w 10000"/>
                  <a:gd name="connsiteY5" fmla="*/ 2016 h 10049"/>
                  <a:gd name="connsiteX6" fmla="*/ 1911 w 10000"/>
                  <a:gd name="connsiteY6" fmla="*/ 1349 h 10049"/>
                  <a:gd name="connsiteX7" fmla="*/ 2645 w 10000"/>
                  <a:gd name="connsiteY7" fmla="*/ 1160 h 10049"/>
                  <a:gd name="connsiteX8" fmla="*/ 4053 w 10000"/>
                  <a:gd name="connsiteY8" fmla="*/ 0 h 10049"/>
                  <a:gd name="connsiteX9" fmla="*/ 5514 w 10000"/>
                  <a:gd name="connsiteY9" fmla="*/ 4906 h 10049"/>
                  <a:gd name="connsiteX10" fmla="*/ 10000 w 10000"/>
                  <a:gd name="connsiteY10" fmla="*/ 9251 h 10049"/>
                  <a:gd name="connsiteX11" fmla="*/ 9520 w 10000"/>
                  <a:gd name="connsiteY11" fmla="*/ 9808 h 10049"/>
                  <a:gd name="connsiteX12" fmla="*/ 8331 w 10000"/>
                  <a:gd name="connsiteY12" fmla="*/ 8827 h 10049"/>
                  <a:gd name="connsiteX13" fmla="*/ 5996 w 10000"/>
                  <a:gd name="connsiteY13" fmla="*/ 6557 h 10049"/>
                  <a:gd name="connsiteX14" fmla="*/ 4907 w 10000"/>
                  <a:gd name="connsiteY14" fmla="*/ 6287 h 10049"/>
                  <a:gd name="connsiteX15" fmla="*/ 3958 w 10000"/>
                  <a:gd name="connsiteY15" fmla="*/ 6073 h 10049"/>
                  <a:gd name="connsiteX16" fmla="*/ 3034 w 10000"/>
                  <a:gd name="connsiteY16" fmla="*/ 6425 h 10049"/>
                  <a:gd name="connsiteX17" fmla="*/ 2568 w 10000"/>
                  <a:gd name="connsiteY17" fmla="*/ 5928 h 10049"/>
                  <a:gd name="connsiteX18" fmla="*/ 2141 w 10000"/>
                  <a:gd name="connsiteY18" fmla="*/ 5630 h 10049"/>
                  <a:gd name="connsiteX19" fmla="*/ 1657 w 10000"/>
                  <a:gd name="connsiteY19" fmla="*/ 6894 h 10049"/>
                  <a:gd name="connsiteX20" fmla="*/ 1156 w 10000"/>
                  <a:gd name="connsiteY20" fmla="*/ 6199 h 10049"/>
                  <a:gd name="connsiteX0" fmla="*/ 1157 w 10000"/>
                  <a:gd name="connsiteY0" fmla="*/ 6318 h 10049"/>
                  <a:gd name="connsiteX1" fmla="*/ 826 w 10000"/>
                  <a:gd name="connsiteY1" fmla="*/ 6631 h 10049"/>
                  <a:gd name="connsiteX2" fmla="*/ 0 w 10000"/>
                  <a:gd name="connsiteY2" fmla="*/ 6507 h 10049"/>
                  <a:gd name="connsiteX3" fmla="*/ 24 w 10000"/>
                  <a:gd name="connsiteY3" fmla="*/ 5172 h 10049"/>
                  <a:gd name="connsiteX4" fmla="*/ 690 w 10000"/>
                  <a:gd name="connsiteY4" fmla="*/ 3291 h 10049"/>
                  <a:gd name="connsiteX5" fmla="*/ 858 w 10000"/>
                  <a:gd name="connsiteY5" fmla="*/ 2016 h 10049"/>
                  <a:gd name="connsiteX6" fmla="*/ 1911 w 10000"/>
                  <a:gd name="connsiteY6" fmla="*/ 1349 h 10049"/>
                  <a:gd name="connsiteX7" fmla="*/ 2645 w 10000"/>
                  <a:gd name="connsiteY7" fmla="*/ 1160 h 10049"/>
                  <a:gd name="connsiteX8" fmla="*/ 4053 w 10000"/>
                  <a:gd name="connsiteY8" fmla="*/ 0 h 10049"/>
                  <a:gd name="connsiteX9" fmla="*/ 5514 w 10000"/>
                  <a:gd name="connsiteY9" fmla="*/ 4906 h 10049"/>
                  <a:gd name="connsiteX10" fmla="*/ 10000 w 10000"/>
                  <a:gd name="connsiteY10" fmla="*/ 9251 h 10049"/>
                  <a:gd name="connsiteX11" fmla="*/ 9520 w 10000"/>
                  <a:gd name="connsiteY11" fmla="*/ 9808 h 10049"/>
                  <a:gd name="connsiteX12" fmla="*/ 8331 w 10000"/>
                  <a:gd name="connsiteY12" fmla="*/ 8827 h 10049"/>
                  <a:gd name="connsiteX13" fmla="*/ 5996 w 10000"/>
                  <a:gd name="connsiteY13" fmla="*/ 6557 h 10049"/>
                  <a:gd name="connsiteX14" fmla="*/ 4172 w 10000"/>
                  <a:gd name="connsiteY14" fmla="*/ 6393 h 10049"/>
                  <a:gd name="connsiteX15" fmla="*/ 3958 w 10000"/>
                  <a:gd name="connsiteY15" fmla="*/ 6073 h 10049"/>
                  <a:gd name="connsiteX16" fmla="*/ 3034 w 10000"/>
                  <a:gd name="connsiteY16" fmla="*/ 6425 h 10049"/>
                  <a:gd name="connsiteX17" fmla="*/ 2568 w 10000"/>
                  <a:gd name="connsiteY17" fmla="*/ 5928 h 10049"/>
                  <a:gd name="connsiteX18" fmla="*/ 2141 w 10000"/>
                  <a:gd name="connsiteY18" fmla="*/ 5630 h 10049"/>
                  <a:gd name="connsiteX19" fmla="*/ 1657 w 10000"/>
                  <a:gd name="connsiteY19" fmla="*/ 6894 h 10049"/>
                  <a:gd name="connsiteX20" fmla="*/ 1156 w 10000"/>
                  <a:gd name="connsiteY20" fmla="*/ 6199 h 10049"/>
                  <a:gd name="connsiteX0" fmla="*/ 1157 w 10000"/>
                  <a:gd name="connsiteY0" fmla="*/ 6318 h 10049"/>
                  <a:gd name="connsiteX1" fmla="*/ 826 w 10000"/>
                  <a:gd name="connsiteY1" fmla="*/ 6631 h 10049"/>
                  <a:gd name="connsiteX2" fmla="*/ 0 w 10000"/>
                  <a:gd name="connsiteY2" fmla="*/ 6507 h 10049"/>
                  <a:gd name="connsiteX3" fmla="*/ 24 w 10000"/>
                  <a:gd name="connsiteY3" fmla="*/ 5172 h 10049"/>
                  <a:gd name="connsiteX4" fmla="*/ 690 w 10000"/>
                  <a:gd name="connsiteY4" fmla="*/ 3291 h 10049"/>
                  <a:gd name="connsiteX5" fmla="*/ 858 w 10000"/>
                  <a:gd name="connsiteY5" fmla="*/ 2016 h 10049"/>
                  <a:gd name="connsiteX6" fmla="*/ 1911 w 10000"/>
                  <a:gd name="connsiteY6" fmla="*/ 1349 h 10049"/>
                  <a:gd name="connsiteX7" fmla="*/ 2645 w 10000"/>
                  <a:gd name="connsiteY7" fmla="*/ 1160 h 10049"/>
                  <a:gd name="connsiteX8" fmla="*/ 4053 w 10000"/>
                  <a:gd name="connsiteY8" fmla="*/ 0 h 10049"/>
                  <a:gd name="connsiteX9" fmla="*/ 5514 w 10000"/>
                  <a:gd name="connsiteY9" fmla="*/ 4906 h 10049"/>
                  <a:gd name="connsiteX10" fmla="*/ 10000 w 10000"/>
                  <a:gd name="connsiteY10" fmla="*/ 9251 h 10049"/>
                  <a:gd name="connsiteX11" fmla="*/ 9520 w 10000"/>
                  <a:gd name="connsiteY11" fmla="*/ 9808 h 10049"/>
                  <a:gd name="connsiteX12" fmla="*/ 8331 w 10000"/>
                  <a:gd name="connsiteY12" fmla="*/ 8827 h 10049"/>
                  <a:gd name="connsiteX13" fmla="*/ 5996 w 10000"/>
                  <a:gd name="connsiteY13" fmla="*/ 6557 h 10049"/>
                  <a:gd name="connsiteX14" fmla="*/ 4172 w 10000"/>
                  <a:gd name="connsiteY14" fmla="*/ 6393 h 10049"/>
                  <a:gd name="connsiteX15" fmla="*/ 3946 w 10000"/>
                  <a:gd name="connsiteY15" fmla="*/ 5992 h 10049"/>
                  <a:gd name="connsiteX16" fmla="*/ 3034 w 10000"/>
                  <a:gd name="connsiteY16" fmla="*/ 6425 h 10049"/>
                  <a:gd name="connsiteX17" fmla="*/ 2568 w 10000"/>
                  <a:gd name="connsiteY17" fmla="*/ 5928 h 10049"/>
                  <a:gd name="connsiteX18" fmla="*/ 2141 w 10000"/>
                  <a:gd name="connsiteY18" fmla="*/ 5630 h 10049"/>
                  <a:gd name="connsiteX19" fmla="*/ 1657 w 10000"/>
                  <a:gd name="connsiteY19" fmla="*/ 6894 h 10049"/>
                  <a:gd name="connsiteX20" fmla="*/ 1156 w 10000"/>
                  <a:gd name="connsiteY20" fmla="*/ 6199 h 10049"/>
                  <a:gd name="connsiteX0" fmla="*/ 1157 w 10000"/>
                  <a:gd name="connsiteY0" fmla="*/ 6318 h 10049"/>
                  <a:gd name="connsiteX1" fmla="*/ 826 w 10000"/>
                  <a:gd name="connsiteY1" fmla="*/ 6631 h 10049"/>
                  <a:gd name="connsiteX2" fmla="*/ 0 w 10000"/>
                  <a:gd name="connsiteY2" fmla="*/ 6507 h 10049"/>
                  <a:gd name="connsiteX3" fmla="*/ 24 w 10000"/>
                  <a:gd name="connsiteY3" fmla="*/ 5172 h 10049"/>
                  <a:gd name="connsiteX4" fmla="*/ 690 w 10000"/>
                  <a:gd name="connsiteY4" fmla="*/ 3291 h 10049"/>
                  <a:gd name="connsiteX5" fmla="*/ 858 w 10000"/>
                  <a:gd name="connsiteY5" fmla="*/ 2016 h 10049"/>
                  <a:gd name="connsiteX6" fmla="*/ 1911 w 10000"/>
                  <a:gd name="connsiteY6" fmla="*/ 1349 h 10049"/>
                  <a:gd name="connsiteX7" fmla="*/ 2645 w 10000"/>
                  <a:gd name="connsiteY7" fmla="*/ 1160 h 10049"/>
                  <a:gd name="connsiteX8" fmla="*/ 4053 w 10000"/>
                  <a:gd name="connsiteY8" fmla="*/ 0 h 10049"/>
                  <a:gd name="connsiteX9" fmla="*/ 5514 w 10000"/>
                  <a:gd name="connsiteY9" fmla="*/ 4906 h 10049"/>
                  <a:gd name="connsiteX10" fmla="*/ 10000 w 10000"/>
                  <a:gd name="connsiteY10" fmla="*/ 9251 h 10049"/>
                  <a:gd name="connsiteX11" fmla="*/ 9520 w 10000"/>
                  <a:gd name="connsiteY11" fmla="*/ 9808 h 10049"/>
                  <a:gd name="connsiteX12" fmla="*/ 8331 w 10000"/>
                  <a:gd name="connsiteY12" fmla="*/ 8827 h 10049"/>
                  <a:gd name="connsiteX13" fmla="*/ 6457 w 10000"/>
                  <a:gd name="connsiteY13" fmla="*/ 6387 h 10049"/>
                  <a:gd name="connsiteX14" fmla="*/ 5996 w 10000"/>
                  <a:gd name="connsiteY14" fmla="*/ 6557 h 10049"/>
                  <a:gd name="connsiteX15" fmla="*/ 4172 w 10000"/>
                  <a:gd name="connsiteY15" fmla="*/ 6393 h 10049"/>
                  <a:gd name="connsiteX16" fmla="*/ 3946 w 10000"/>
                  <a:gd name="connsiteY16" fmla="*/ 5992 h 10049"/>
                  <a:gd name="connsiteX17" fmla="*/ 3034 w 10000"/>
                  <a:gd name="connsiteY17" fmla="*/ 6425 h 10049"/>
                  <a:gd name="connsiteX18" fmla="*/ 2568 w 10000"/>
                  <a:gd name="connsiteY18" fmla="*/ 5928 h 10049"/>
                  <a:gd name="connsiteX19" fmla="*/ 2141 w 10000"/>
                  <a:gd name="connsiteY19" fmla="*/ 5630 h 10049"/>
                  <a:gd name="connsiteX20" fmla="*/ 1657 w 10000"/>
                  <a:gd name="connsiteY20" fmla="*/ 6894 h 10049"/>
                  <a:gd name="connsiteX21" fmla="*/ 1156 w 10000"/>
                  <a:gd name="connsiteY21" fmla="*/ 6199 h 10049"/>
                  <a:gd name="connsiteX0" fmla="*/ 1157 w 10000"/>
                  <a:gd name="connsiteY0" fmla="*/ 6318 h 10049"/>
                  <a:gd name="connsiteX1" fmla="*/ 826 w 10000"/>
                  <a:gd name="connsiteY1" fmla="*/ 6631 h 10049"/>
                  <a:gd name="connsiteX2" fmla="*/ 0 w 10000"/>
                  <a:gd name="connsiteY2" fmla="*/ 6507 h 10049"/>
                  <a:gd name="connsiteX3" fmla="*/ 24 w 10000"/>
                  <a:gd name="connsiteY3" fmla="*/ 5172 h 10049"/>
                  <a:gd name="connsiteX4" fmla="*/ 690 w 10000"/>
                  <a:gd name="connsiteY4" fmla="*/ 3291 h 10049"/>
                  <a:gd name="connsiteX5" fmla="*/ 858 w 10000"/>
                  <a:gd name="connsiteY5" fmla="*/ 2016 h 10049"/>
                  <a:gd name="connsiteX6" fmla="*/ 1911 w 10000"/>
                  <a:gd name="connsiteY6" fmla="*/ 1349 h 10049"/>
                  <a:gd name="connsiteX7" fmla="*/ 2645 w 10000"/>
                  <a:gd name="connsiteY7" fmla="*/ 1160 h 10049"/>
                  <a:gd name="connsiteX8" fmla="*/ 4053 w 10000"/>
                  <a:gd name="connsiteY8" fmla="*/ 0 h 10049"/>
                  <a:gd name="connsiteX9" fmla="*/ 5514 w 10000"/>
                  <a:gd name="connsiteY9" fmla="*/ 4906 h 10049"/>
                  <a:gd name="connsiteX10" fmla="*/ 10000 w 10000"/>
                  <a:gd name="connsiteY10" fmla="*/ 9251 h 10049"/>
                  <a:gd name="connsiteX11" fmla="*/ 9520 w 10000"/>
                  <a:gd name="connsiteY11" fmla="*/ 9808 h 10049"/>
                  <a:gd name="connsiteX12" fmla="*/ 8331 w 10000"/>
                  <a:gd name="connsiteY12" fmla="*/ 8827 h 10049"/>
                  <a:gd name="connsiteX13" fmla="*/ 5996 w 10000"/>
                  <a:gd name="connsiteY13" fmla="*/ 6557 h 10049"/>
                  <a:gd name="connsiteX14" fmla="*/ 4172 w 10000"/>
                  <a:gd name="connsiteY14" fmla="*/ 6393 h 10049"/>
                  <a:gd name="connsiteX15" fmla="*/ 3946 w 10000"/>
                  <a:gd name="connsiteY15" fmla="*/ 5992 h 10049"/>
                  <a:gd name="connsiteX16" fmla="*/ 3034 w 10000"/>
                  <a:gd name="connsiteY16" fmla="*/ 6425 h 10049"/>
                  <a:gd name="connsiteX17" fmla="*/ 2568 w 10000"/>
                  <a:gd name="connsiteY17" fmla="*/ 5928 h 10049"/>
                  <a:gd name="connsiteX18" fmla="*/ 2141 w 10000"/>
                  <a:gd name="connsiteY18" fmla="*/ 5630 h 10049"/>
                  <a:gd name="connsiteX19" fmla="*/ 1657 w 10000"/>
                  <a:gd name="connsiteY19" fmla="*/ 6894 h 10049"/>
                  <a:gd name="connsiteX20" fmla="*/ 1156 w 10000"/>
                  <a:gd name="connsiteY20" fmla="*/ 6199 h 10049"/>
                  <a:gd name="connsiteX0" fmla="*/ 1157 w 10000"/>
                  <a:gd name="connsiteY0" fmla="*/ 6318 h 10049"/>
                  <a:gd name="connsiteX1" fmla="*/ 826 w 10000"/>
                  <a:gd name="connsiteY1" fmla="*/ 6631 h 10049"/>
                  <a:gd name="connsiteX2" fmla="*/ 0 w 10000"/>
                  <a:gd name="connsiteY2" fmla="*/ 6507 h 10049"/>
                  <a:gd name="connsiteX3" fmla="*/ 24 w 10000"/>
                  <a:gd name="connsiteY3" fmla="*/ 5172 h 10049"/>
                  <a:gd name="connsiteX4" fmla="*/ 690 w 10000"/>
                  <a:gd name="connsiteY4" fmla="*/ 3291 h 10049"/>
                  <a:gd name="connsiteX5" fmla="*/ 858 w 10000"/>
                  <a:gd name="connsiteY5" fmla="*/ 2016 h 10049"/>
                  <a:gd name="connsiteX6" fmla="*/ 1911 w 10000"/>
                  <a:gd name="connsiteY6" fmla="*/ 1349 h 10049"/>
                  <a:gd name="connsiteX7" fmla="*/ 2645 w 10000"/>
                  <a:gd name="connsiteY7" fmla="*/ 1160 h 10049"/>
                  <a:gd name="connsiteX8" fmla="*/ 4053 w 10000"/>
                  <a:gd name="connsiteY8" fmla="*/ 0 h 10049"/>
                  <a:gd name="connsiteX9" fmla="*/ 5514 w 10000"/>
                  <a:gd name="connsiteY9" fmla="*/ 4906 h 10049"/>
                  <a:gd name="connsiteX10" fmla="*/ 10000 w 10000"/>
                  <a:gd name="connsiteY10" fmla="*/ 9251 h 10049"/>
                  <a:gd name="connsiteX11" fmla="*/ 9520 w 10000"/>
                  <a:gd name="connsiteY11" fmla="*/ 9808 h 10049"/>
                  <a:gd name="connsiteX12" fmla="*/ 8331 w 10000"/>
                  <a:gd name="connsiteY12" fmla="*/ 8827 h 10049"/>
                  <a:gd name="connsiteX13" fmla="*/ 5681 w 10000"/>
                  <a:gd name="connsiteY13" fmla="*/ 6332 h 10049"/>
                  <a:gd name="connsiteX14" fmla="*/ 4172 w 10000"/>
                  <a:gd name="connsiteY14" fmla="*/ 6393 h 10049"/>
                  <a:gd name="connsiteX15" fmla="*/ 3946 w 10000"/>
                  <a:gd name="connsiteY15" fmla="*/ 5992 h 10049"/>
                  <a:gd name="connsiteX16" fmla="*/ 3034 w 10000"/>
                  <a:gd name="connsiteY16" fmla="*/ 6425 h 10049"/>
                  <a:gd name="connsiteX17" fmla="*/ 2568 w 10000"/>
                  <a:gd name="connsiteY17" fmla="*/ 5928 h 10049"/>
                  <a:gd name="connsiteX18" fmla="*/ 2141 w 10000"/>
                  <a:gd name="connsiteY18" fmla="*/ 5630 h 10049"/>
                  <a:gd name="connsiteX19" fmla="*/ 1657 w 10000"/>
                  <a:gd name="connsiteY19" fmla="*/ 6894 h 10049"/>
                  <a:gd name="connsiteX20" fmla="*/ 1156 w 10000"/>
                  <a:gd name="connsiteY20" fmla="*/ 6199 h 10049"/>
                  <a:gd name="connsiteX0" fmla="*/ 1157 w 10000"/>
                  <a:gd name="connsiteY0" fmla="*/ 6318 h 9808"/>
                  <a:gd name="connsiteX1" fmla="*/ 826 w 10000"/>
                  <a:gd name="connsiteY1" fmla="*/ 6631 h 9808"/>
                  <a:gd name="connsiteX2" fmla="*/ 0 w 10000"/>
                  <a:gd name="connsiteY2" fmla="*/ 6507 h 9808"/>
                  <a:gd name="connsiteX3" fmla="*/ 24 w 10000"/>
                  <a:gd name="connsiteY3" fmla="*/ 5172 h 9808"/>
                  <a:gd name="connsiteX4" fmla="*/ 690 w 10000"/>
                  <a:gd name="connsiteY4" fmla="*/ 3291 h 9808"/>
                  <a:gd name="connsiteX5" fmla="*/ 858 w 10000"/>
                  <a:gd name="connsiteY5" fmla="*/ 2016 h 9808"/>
                  <a:gd name="connsiteX6" fmla="*/ 1911 w 10000"/>
                  <a:gd name="connsiteY6" fmla="*/ 1349 h 9808"/>
                  <a:gd name="connsiteX7" fmla="*/ 2645 w 10000"/>
                  <a:gd name="connsiteY7" fmla="*/ 1160 h 9808"/>
                  <a:gd name="connsiteX8" fmla="*/ 4053 w 10000"/>
                  <a:gd name="connsiteY8" fmla="*/ 0 h 9808"/>
                  <a:gd name="connsiteX9" fmla="*/ 5514 w 10000"/>
                  <a:gd name="connsiteY9" fmla="*/ 4906 h 9808"/>
                  <a:gd name="connsiteX10" fmla="*/ 10000 w 10000"/>
                  <a:gd name="connsiteY10" fmla="*/ 9251 h 9808"/>
                  <a:gd name="connsiteX11" fmla="*/ 9520 w 10000"/>
                  <a:gd name="connsiteY11" fmla="*/ 9808 h 9808"/>
                  <a:gd name="connsiteX12" fmla="*/ 8331 w 10000"/>
                  <a:gd name="connsiteY12" fmla="*/ 8827 h 9808"/>
                  <a:gd name="connsiteX13" fmla="*/ 5681 w 10000"/>
                  <a:gd name="connsiteY13" fmla="*/ 6332 h 9808"/>
                  <a:gd name="connsiteX14" fmla="*/ 4172 w 10000"/>
                  <a:gd name="connsiteY14" fmla="*/ 6393 h 9808"/>
                  <a:gd name="connsiteX15" fmla="*/ 3946 w 10000"/>
                  <a:gd name="connsiteY15" fmla="*/ 5992 h 9808"/>
                  <a:gd name="connsiteX16" fmla="*/ 3034 w 10000"/>
                  <a:gd name="connsiteY16" fmla="*/ 6425 h 9808"/>
                  <a:gd name="connsiteX17" fmla="*/ 2568 w 10000"/>
                  <a:gd name="connsiteY17" fmla="*/ 5928 h 9808"/>
                  <a:gd name="connsiteX18" fmla="*/ 2141 w 10000"/>
                  <a:gd name="connsiteY18" fmla="*/ 5630 h 9808"/>
                  <a:gd name="connsiteX19" fmla="*/ 1657 w 10000"/>
                  <a:gd name="connsiteY19" fmla="*/ 6894 h 9808"/>
                  <a:gd name="connsiteX20" fmla="*/ 1156 w 10000"/>
                  <a:gd name="connsiteY20" fmla="*/ 6199 h 9808"/>
                  <a:gd name="connsiteX0" fmla="*/ 1157 w 10000"/>
                  <a:gd name="connsiteY0" fmla="*/ 6442 h 10000"/>
                  <a:gd name="connsiteX1" fmla="*/ 826 w 10000"/>
                  <a:gd name="connsiteY1" fmla="*/ 6761 h 10000"/>
                  <a:gd name="connsiteX2" fmla="*/ 0 w 10000"/>
                  <a:gd name="connsiteY2" fmla="*/ 6634 h 10000"/>
                  <a:gd name="connsiteX3" fmla="*/ 24 w 10000"/>
                  <a:gd name="connsiteY3" fmla="*/ 5273 h 10000"/>
                  <a:gd name="connsiteX4" fmla="*/ 690 w 10000"/>
                  <a:gd name="connsiteY4" fmla="*/ 3355 h 10000"/>
                  <a:gd name="connsiteX5" fmla="*/ 858 w 10000"/>
                  <a:gd name="connsiteY5" fmla="*/ 2055 h 10000"/>
                  <a:gd name="connsiteX6" fmla="*/ 1911 w 10000"/>
                  <a:gd name="connsiteY6" fmla="*/ 1375 h 10000"/>
                  <a:gd name="connsiteX7" fmla="*/ 2645 w 10000"/>
                  <a:gd name="connsiteY7" fmla="*/ 1183 h 10000"/>
                  <a:gd name="connsiteX8" fmla="*/ 4053 w 10000"/>
                  <a:gd name="connsiteY8" fmla="*/ 0 h 10000"/>
                  <a:gd name="connsiteX9" fmla="*/ 5514 w 10000"/>
                  <a:gd name="connsiteY9" fmla="*/ 5002 h 10000"/>
                  <a:gd name="connsiteX10" fmla="*/ 10000 w 10000"/>
                  <a:gd name="connsiteY10" fmla="*/ 9432 h 10000"/>
                  <a:gd name="connsiteX11" fmla="*/ 9520 w 10000"/>
                  <a:gd name="connsiteY11" fmla="*/ 10000 h 10000"/>
                  <a:gd name="connsiteX12" fmla="*/ 8331 w 10000"/>
                  <a:gd name="connsiteY12" fmla="*/ 9000 h 10000"/>
                  <a:gd name="connsiteX13" fmla="*/ 8276 w 10000"/>
                  <a:gd name="connsiteY13" fmla="*/ 9060 h 10000"/>
                  <a:gd name="connsiteX14" fmla="*/ 5681 w 10000"/>
                  <a:gd name="connsiteY14" fmla="*/ 6456 h 10000"/>
                  <a:gd name="connsiteX15" fmla="*/ 4172 w 10000"/>
                  <a:gd name="connsiteY15" fmla="*/ 6518 h 10000"/>
                  <a:gd name="connsiteX16" fmla="*/ 3946 w 10000"/>
                  <a:gd name="connsiteY16" fmla="*/ 6109 h 10000"/>
                  <a:gd name="connsiteX17" fmla="*/ 3034 w 10000"/>
                  <a:gd name="connsiteY17" fmla="*/ 6551 h 10000"/>
                  <a:gd name="connsiteX18" fmla="*/ 2568 w 10000"/>
                  <a:gd name="connsiteY18" fmla="*/ 6044 h 10000"/>
                  <a:gd name="connsiteX19" fmla="*/ 2141 w 10000"/>
                  <a:gd name="connsiteY19" fmla="*/ 5740 h 10000"/>
                  <a:gd name="connsiteX20" fmla="*/ 1657 w 10000"/>
                  <a:gd name="connsiteY20" fmla="*/ 7029 h 10000"/>
                  <a:gd name="connsiteX21" fmla="*/ 1156 w 10000"/>
                  <a:gd name="connsiteY21" fmla="*/ 6320 h 10000"/>
                  <a:gd name="connsiteX0" fmla="*/ 1157 w 10000"/>
                  <a:gd name="connsiteY0" fmla="*/ 6442 h 10000"/>
                  <a:gd name="connsiteX1" fmla="*/ 826 w 10000"/>
                  <a:gd name="connsiteY1" fmla="*/ 6761 h 10000"/>
                  <a:gd name="connsiteX2" fmla="*/ 0 w 10000"/>
                  <a:gd name="connsiteY2" fmla="*/ 6634 h 10000"/>
                  <a:gd name="connsiteX3" fmla="*/ 24 w 10000"/>
                  <a:gd name="connsiteY3" fmla="*/ 5273 h 10000"/>
                  <a:gd name="connsiteX4" fmla="*/ 690 w 10000"/>
                  <a:gd name="connsiteY4" fmla="*/ 3355 h 10000"/>
                  <a:gd name="connsiteX5" fmla="*/ 858 w 10000"/>
                  <a:gd name="connsiteY5" fmla="*/ 2055 h 10000"/>
                  <a:gd name="connsiteX6" fmla="*/ 1911 w 10000"/>
                  <a:gd name="connsiteY6" fmla="*/ 1375 h 10000"/>
                  <a:gd name="connsiteX7" fmla="*/ 2645 w 10000"/>
                  <a:gd name="connsiteY7" fmla="*/ 1183 h 10000"/>
                  <a:gd name="connsiteX8" fmla="*/ 4053 w 10000"/>
                  <a:gd name="connsiteY8" fmla="*/ 0 h 10000"/>
                  <a:gd name="connsiteX9" fmla="*/ 5514 w 10000"/>
                  <a:gd name="connsiteY9" fmla="*/ 5002 h 10000"/>
                  <a:gd name="connsiteX10" fmla="*/ 10000 w 10000"/>
                  <a:gd name="connsiteY10" fmla="*/ 9432 h 10000"/>
                  <a:gd name="connsiteX11" fmla="*/ 9520 w 10000"/>
                  <a:gd name="connsiteY11" fmla="*/ 10000 h 10000"/>
                  <a:gd name="connsiteX12" fmla="*/ 8276 w 10000"/>
                  <a:gd name="connsiteY12" fmla="*/ 9060 h 10000"/>
                  <a:gd name="connsiteX13" fmla="*/ 5681 w 10000"/>
                  <a:gd name="connsiteY13" fmla="*/ 6456 h 10000"/>
                  <a:gd name="connsiteX14" fmla="*/ 4172 w 10000"/>
                  <a:gd name="connsiteY14" fmla="*/ 6518 h 10000"/>
                  <a:gd name="connsiteX15" fmla="*/ 3946 w 10000"/>
                  <a:gd name="connsiteY15" fmla="*/ 6109 h 10000"/>
                  <a:gd name="connsiteX16" fmla="*/ 3034 w 10000"/>
                  <a:gd name="connsiteY16" fmla="*/ 6551 h 10000"/>
                  <a:gd name="connsiteX17" fmla="*/ 2568 w 10000"/>
                  <a:gd name="connsiteY17" fmla="*/ 6044 h 10000"/>
                  <a:gd name="connsiteX18" fmla="*/ 2141 w 10000"/>
                  <a:gd name="connsiteY18" fmla="*/ 5740 h 10000"/>
                  <a:gd name="connsiteX19" fmla="*/ 1657 w 10000"/>
                  <a:gd name="connsiteY19" fmla="*/ 7029 h 10000"/>
                  <a:gd name="connsiteX20" fmla="*/ 1156 w 10000"/>
                  <a:gd name="connsiteY20" fmla="*/ 6320 h 10000"/>
                  <a:gd name="connsiteX0" fmla="*/ 1157 w 10000"/>
                  <a:gd name="connsiteY0" fmla="*/ 6442 h 10000"/>
                  <a:gd name="connsiteX1" fmla="*/ 826 w 10000"/>
                  <a:gd name="connsiteY1" fmla="*/ 6761 h 10000"/>
                  <a:gd name="connsiteX2" fmla="*/ 0 w 10000"/>
                  <a:gd name="connsiteY2" fmla="*/ 6634 h 10000"/>
                  <a:gd name="connsiteX3" fmla="*/ 24 w 10000"/>
                  <a:gd name="connsiteY3" fmla="*/ 5273 h 10000"/>
                  <a:gd name="connsiteX4" fmla="*/ 690 w 10000"/>
                  <a:gd name="connsiteY4" fmla="*/ 3355 h 10000"/>
                  <a:gd name="connsiteX5" fmla="*/ 858 w 10000"/>
                  <a:gd name="connsiteY5" fmla="*/ 2055 h 10000"/>
                  <a:gd name="connsiteX6" fmla="*/ 1911 w 10000"/>
                  <a:gd name="connsiteY6" fmla="*/ 1375 h 10000"/>
                  <a:gd name="connsiteX7" fmla="*/ 2645 w 10000"/>
                  <a:gd name="connsiteY7" fmla="*/ 1183 h 10000"/>
                  <a:gd name="connsiteX8" fmla="*/ 4053 w 10000"/>
                  <a:gd name="connsiteY8" fmla="*/ 0 h 10000"/>
                  <a:gd name="connsiteX9" fmla="*/ 5514 w 10000"/>
                  <a:gd name="connsiteY9" fmla="*/ 5002 h 10000"/>
                  <a:gd name="connsiteX10" fmla="*/ 10000 w 10000"/>
                  <a:gd name="connsiteY10" fmla="*/ 9432 h 10000"/>
                  <a:gd name="connsiteX11" fmla="*/ 9520 w 10000"/>
                  <a:gd name="connsiteY11" fmla="*/ 10000 h 10000"/>
                  <a:gd name="connsiteX12" fmla="*/ 8276 w 10000"/>
                  <a:gd name="connsiteY12" fmla="*/ 9060 h 10000"/>
                  <a:gd name="connsiteX13" fmla="*/ 5681 w 10000"/>
                  <a:gd name="connsiteY13" fmla="*/ 6456 h 10000"/>
                  <a:gd name="connsiteX14" fmla="*/ 4172 w 10000"/>
                  <a:gd name="connsiteY14" fmla="*/ 6518 h 10000"/>
                  <a:gd name="connsiteX15" fmla="*/ 3946 w 10000"/>
                  <a:gd name="connsiteY15" fmla="*/ 6109 h 10000"/>
                  <a:gd name="connsiteX16" fmla="*/ 3034 w 10000"/>
                  <a:gd name="connsiteY16" fmla="*/ 6551 h 10000"/>
                  <a:gd name="connsiteX17" fmla="*/ 2568 w 10000"/>
                  <a:gd name="connsiteY17" fmla="*/ 6044 h 10000"/>
                  <a:gd name="connsiteX18" fmla="*/ 2141 w 10000"/>
                  <a:gd name="connsiteY18" fmla="*/ 5740 h 10000"/>
                  <a:gd name="connsiteX19" fmla="*/ 1657 w 10000"/>
                  <a:gd name="connsiteY19" fmla="*/ 7029 h 10000"/>
                  <a:gd name="connsiteX20" fmla="*/ 1156 w 10000"/>
                  <a:gd name="connsiteY20" fmla="*/ 6320 h 10000"/>
                  <a:gd name="connsiteX0" fmla="*/ 1157 w 10000"/>
                  <a:gd name="connsiteY0" fmla="*/ 6442 h 10000"/>
                  <a:gd name="connsiteX1" fmla="*/ 826 w 10000"/>
                  <a:gd name="connsiteY1" fmla="*/ 6761 h 10000"/>
                  <a:gd name="connsiteX2" fmla="*/ 0 w 10000"/>
                  <a:gd name="connsiteY2" fmla="*/ 6634 h 10000"/>
                  <a:gd name="connsiteX3" fmla="*/ 24 w 10000"/>
                  <a:gd name="connsiteY3" fmla="*/ 5273 h 10000"/>
                  <a:gd name="connsiteX4" fmla="*/ 690 w 10000"/>
                  <a:gd name="connsiteY4" fmla="*/ 3355 h 10000"/>
                  <a:gd name="connsiteX5" fmla="*/ 858 w 10000"/>
                  <a:gd name="connsiteY5" fmla="*/ 2055 h 10000"/>
                  <a:gd name="connsiteX6" fmla="*/ 1911 w 10000"/>
                  <a:gd name="connsiteY6" fmla="*/ 1375 h 10000"/>
                  <a:gd name="connsiteX7" fmla="*/ 2645 w 10000"/>
                  <a:gd name="connsiteY7" fmla="*/ 1183 h 10000"/>
                  <a:gd name="connsiteX8" fmla="*/ 4053 w 10000"/>
                  <a:gd name="connsiteY8" fmla="*/ 0 h 10000"/>
                  <a:gd name="connsiteX9" fmla="*/ 5514 w 10000"/>
                  <a:gd name="connsiteY9" fmla="*/ 5002 h 10000"/>
                  <a:gd name="connsiteX10" fmla="*/ 10000 w 10000"/>
                  <a:gd name="connsiteY10" fmla="*/ 9432 h 10000"/>
                  <a:gd name="connsiteX11" fmla="*/ 9520 w 10000"/>
                  <a:gd name="connsiteY11" fmla="*/ 10000 h 10000"/>
                  <a:gd name="connsiteX12" fmla="*/ 8276 w 10000"/>
                  <a:gd name="connsiteY12" fmla="*/ 9060 h 10000"/>
                  <a:gd name="connsiteX13" fmla="*/ 5681 w 10000"/>
                  <a:gd name="connsiteY13" fmla="*/ 6456 h 10000"/>
                  <a:gd name="connsiteX14" fmla="*/ 4673 w 10000"/>
                  <a:gd name="connsiteY14" fmla="*/ 6482 h 10000"/>
                  <a:gd name="connsiteX15" fmla="*/ 4172 w 10000"/>
                  <a:gd name="connsiteY15" fmla="*/ 6518 h 10000"/>
                  <a:gd name="connsiteX16" fmla="*/ 3946 w 10000"/>
                  <a:gd name="connsiteY16" fmla="*/ 6109 h 10000"/>
                  <a:gd name="connsiteX17" fmla="*/ 3034 w 10000"/>
                  <a:gd name="connsiteY17" fmla="*/ 6551 h 10000"/>
                  <a:gd name="connsiteX18" fmla="*/ 2568 w 10000"/>
                  <a:gd name="connsiteY18" fmla="*/ 6044 h 10000"/>
                  <a:gd name="connsiteX19" fmla="*/ 2141 w 10000"/>
                  <a:gd name="connsiteY19" fmla="*/ 5740 h 10000"/>
                  <a:gd name="connsiteX20" fmla="*/ 1657 w 10000"/>
                  <a:gd name="connsiteY20" fmla="*/ 7029 h 10000"/>
                  <a:gd name="connsiteX21" fmla="*/ 1156 w 10000"/>
                  <a:gd name="connsiteY21" fmla="*/ 6320 h 10000"/>
                  <a:gd name="connsiteX0" fmla="*/ 1157 w 10000"/>
                  <a:gd name="connsiteY0" fmla="*/ 6442 h 10000"/>
                  <a:gd name="connsiteX1" fmla="*/ 826 w 10000"/>
                  <a:gd name="connsiteY1" fmla="*/ 6761 h 10000"/>
                  <a:gd name="connsiteX2" fmla="*/ 0 w 10000"/>
                  <a:gd name="connsiteY2" fmla="*/ 6634 h 10000"/>
                  <a:gd name="connsiteX3" fmla="*/ 24 w 10000"/>
                  <a:gd name="connsiteY3" fmla="*/ 5273 h 10000"/>
                  <a:gd name="connsiteX4" fmla="*/ 690 w 10000"/>
                  <a:gd name="connsiteY4" fmla="*/ 3355 h 10000"/>
                  <a:gd name="connsiteX5" fmla="*/ 858 w 10000"/>
                  <a:gd name="connsiteY5" fmla="*/ 2055 h 10000"/>
                  <a:gd name="connsiteX6" fmla="*/ 1911 w 10000"/>
                  <a:gd name="connsiteY6" fmla="*/ 1375 h 10000"/>
                  <a:gd name="connsiteX7" fmla="*/ 2645 w 10000"/>
                  <a:gd name="connsiteY7" fmla="*/ 1183 h 10000"/>
                  <a:gd name="connsiteX8" fmla="*/ 4053 w 10000"/>
                  <a:gd name="connsiteY8" fmla="*/ 0 h 10000"/>
                  <a:gd name="connsiteX9" fmla="*/ 5514 w 10000"/>
                  <a:gd name="connsiteY9" fmla="*/ 5002 h 10000"/>
                  <a:gd name="connsiteX10" fmla="*/ 10000 w 10000"/>
                  <a:gd name="connsiteY10" fmla="*/ 9432 h 10000"/>
                  <a:gd name="connsiteX11" fmla="*/ 9520 w 10000"/>
                  <a:gd name="connsiteY11" fmla="*/ 10000 h 10000"/>
                  <a:gd name="connsiteX12" fmla="*/ 8276 w 10000"/>
                  <a:gd name="connsiteY12" fmla="*/ 9060 h 10000"/>
                  <a:gd name="connsiteX13" fmla="*/ 5681 w 10000"/>
                  <a:gd name="connsiteY13" fmla="*/ 6456 h 10000"/>
                  <a:gd name="connsiteX14" fmla="*/ 4662 w 10000"/>
                  <a:gd name="connsiteY14" fmla="*/ 6264 h 10000"/>
                  <a:gd name="connsiteX15" fmla="*/ 4172 w 10000"/>
                  <a:gd name="connsiteY15" fmla="*/ 6518 h 10000"/>
                  <a:gd name="connsiteX16" fmla="*/ 3946 w 10000"/>
                  <a:gd name="connsiteY16" fmla="*/ 6109 h 10000"/>
                  <a:gd name="connsiteX17" fmla="*/ 3034 w 10000"/>
                  <a:gd name="connsiteY17" fmla="*/ 6551 h 10000"/>
                  <a:gd name="connsiteX18" fmla="*/ 2568 w 10000"/>
                  <a:gd name="connsiteY18" fmla="*/ 6044 h 10000"/>
                  <a:gd name="connsiteX19" fmla="*/ 2141 w 10000"/>
                  <a:gd name="connsiteY19" fmla="*/ 5740 h 10000"/>
                  <a:gd name="connsiteX20" fmla="*/ 1657 w 10000"/>
                  <a:gd name="connsiteY20" fmla="*/ 7029 h 10000"/>
                  <a:gd name="connsiteX21" fmla="*/ 1156 w 10000"/>
                  <a:gd name="connsiteY21" fmla="*/ 6320 h 10000"/>
                  <a:gd name="connsiteX0" fmla="*/ 1157 w 10000"/>
                  <a:gd name="connsiteY0" fmla="*/ 6442 h 10000"/>
                  <a:gd name="connsiteX1" fmla="*/ 826 w 10000"/>
                  <a:gd name="connsiteY1" fmla="*/ 6761 h 10000"/>
                  <a:gd name="connsiteX2" fmla="*/ 0 w 10000"/>
                  <a:gd name="connsiteY2" fmla="*/ 6634 h 10000"/>
                  <a:gd name="connsiteX3" fmla="*/ 24 w 10000"/>
                  <a:gd name="connsiteY3" fmla="*/ 5273 h 10000"/>
                  <a:gd name="connsiteX4" fmla="*/ 690 w 10000"/>
                  <a:gd name="connsiteY4" fmla="*/ 3355 h 10000"/>
                  <a:gd name="connsiteX5" fmla="*/ 858 w 10000"/>
                  <a:gd name="connsiteY5" fmla="*/ 2055 h 10000"/>
                  <a:gd name="connsiteX6" fmla="*/ 1911 w 10000"/>
                  <a:gd name="connsiteY6" fmla="*/ 1375 h 10000"/>
                  <a:gd name="connsiteX7" fmla="*/ 2645 w 10000"/>
                  <a:gd name="connsiteY7" fmla="*/ 1183 h 10000"/>
                  <a:gd name="connsiteX8" fmla="*/ 4053 w 10000"/>
                  <a:gd name="connsiteY8" fmla="*/ 0 h 10000"/>
                  <a:gd name="connsiteX9" fmla="*/ 5514 w 10000"/>
                  <a:gd name="connsiteY9" fmla="*/ 5002 h 10000"/>
                  <a:gd name="connsiteX10" fmla="*/ 10000 w 10000"/>
                  <a:gd name="connsiteY10" fmla="*/ 9432 h 10000"/>
                  <a:gd name="connsiteX11" fmla="*/ 9520 w 10000"/>
                  <a:gd name="connsiteY11" fmla="*/ 10000 h 10000"/>
                  <a:gd name="connsiteX12" fmla="*/ 8276 w 10000"/>
                  <a:gd name="connsiteY12" fmla="*/ 9060 h 10000"/>
                  <a:gd name="connsiteX13" fmla="*/ 5681 w 10000"/>
                  <a:gd name="connsiteY13" fmla="*/ 6456 h 10000"/>
                  <a:gd name="connsiteX14" fmla="*/ 4662 w 10000"/>
                  <a:gd name="connsiteY14" fmla="*/ 6264 h 10000"/>
                  <a:gd name="connsiteX15" fmla="*/ 4172 w 10000"/>
                  <a:gd name="connsiteY15" fmla="*/ 6518 h 10000"/>
                  <a:gd name="connsiteX16" fmla="*/ 3946 w 10000"/>
                  <a:gd name="connsiteY16" fmla="*/ 6109 h 10000"/>
                  <a:gd name="connsiteX17" fmla="*/ 3034 w 10000"/>
                  <a:gd name="connsiteY17" fmla="*/ 6551 h 10000"/>
                  <a:gd name="connsiteX18" fmla="*/ 2646 w 10000"/>
                  <a:gd name="connsiteY18" fmla="*/ 6117 h 10000"/>
                  <a:gd name="connsiteX19" fmla="*/ 2141 w 10000"/>
                  <a:gd name="connsiteY19" fmla="*/ 5740 h 10000"/>
                  <a:gd name="connsiteX20" fmla="*/ 1657 w 10000"/>
                  <a:gd name="connsiteY20" fmla="*/ 7029 h 10000"/>
                  <a:gd name="connsiteX21" fmla="*/ 1156 w 10000"/>
                  <a:gd name="connsiteY21" fmla="*/ 6320 h 10000"/>
                  <a:gd name="connsiteX0" fmla="*/ 1157 w 10000"/>
                  <a:gd name="connsiteY0" fmla="*/ 6442 h 10000"/>
                  <a:gd name="connsiteX1" fmla="*/ 826 w 10000"/>
                  <a:gd name="connsiteY1" fmla="*/ 6761 h 10000"/>
                  <a:gd name="connsiteX2" fmla="*/ 0 w 10000"/>
                  <a:gd name="connsiteY2" fmla="*/ 6634 h 10000"/>
                  <a:gd name="connsiteX3" fmla="*/ 24 w 10000"/>
                  <a:gd name="connsiteY3" fmla="*/ 5273 h 10000"/>
                  <a:gd name="connsiteX4" fmla="*/ 690 w 10000"/>
                  <a:gd name="connsiteY4" fmla="*/ 3355 h 10000"/>
                  <a:gd name="connsiteX5" fmla="*/ 858 w 10000"/>
                  <a:gd name="connsiteY5" fmla="*/ 2055 h 10000"/>
                  <a:gd name="connsiteX6" fmla="*/ 1911 w 10000"/>
                  <a:gd name="connsiteY6" fmla="*/ 1375 h 10000"/>
                  <a:gd name="connsiteX7" fmla="*/ 2645 w 10000"/>
                  <a:gd name="connsiteY7" fmla="*/ 1183 h 10000"/>
                  <a:gd name="connsiteX8" fmla="*/ 4053 w 10000"/>
                  <a:gd name="connsiteY8" fmla="*/ 0 h 10000"/>
                  <a:gd name="connsiteX9" fmla="*/ 5514 w 10000"/>
                  <a:gd name="connsiteY9" fmla="*/ 5002 h 10000"/>
                  <a:gd name="connsiteX10" fmla="*/ 10000 w 10000"/>
                  <a:gd name="connsiteY10" fmla="*/ 9432 h 10000"/>
                  <a:gd name="connsiteX11" fmla="*/ 9520 w 10000"/>
                  <a:gd name="connsiteY11" fmla="*/ 10000 h 10000"/>
                  <a:gd name="connsiteX12" fmla="*/ 8276 w 10000"/>
                  <a:gd name="connsiteY12" fmla="*/ 9060 h 10000"/>
                  <a:gd name="connsiteX13" fmla="*/ 5681 w 10000"/>
                  <a:gd name="connsiteY13" fmla="*/ 6456 h 10000"/>
                  <a:gd name="connsiteX14" fmla="*/ 4662 w 10000"/>
                  <a:gd name="connsiteY14" fmla="*/ 6264 h 10000"/>
                  <a:gd name="connsiteX15" fmla="*/ 4172 w 10000"/>
                  <a:gd name="connsiteY15" fmla="*/ 6518 h 10000"/>
                  <a:gd name="connsiteX16" fmla="*/ 3946 w 10000"/>
                  <a:gd name="connsiteY16" fmla="*/ 6109 h 10000"/>
                  <a:gd name="connsiteX17" fmla="*/ 3034 w 10000"/>
                  <a:gd name="connsiteY17" fmla="*/ 6551 h 10000"/>
                  <a:gd name="connsiteX18" fmla="*/ 2646 w 10000"/>
                  <a:gd name="connsiteY18" fmla="*/ 6117 h 10000"/>
                  <a:gd name="connsiteX19" fmla="*/ 2141 w 10000"/>
                  <a:gd name="connsiteY19" fmla="*/ 5740 h 10000"/>
                  <a:gd name="connsiteX20" fmla="*/ 1657 w 10000"/>
                  <a:gd name="connsiteY20" fmla="*/ 7029 h 10000"/>
                  <a:gd name="connsiteX21" fmla="*/ 1156 w 10000"/>
                  <a:gd name="connsiteY21" fmla="*/ 6320 h 10000"/>
                  <a:gd name="connsiteX22" fmla="*/ 1157 w 10000"/>
                  <a:gd name="connsiteY22" fmla="*/ 6442 h 10000"/>
                  <a:gd name="connsiteX0" fmla="*/ 1157 w 10000"/>
                  <a:gd name="connsiteY0" fmla="*/ 6442 h 10000"/>
                  <a:gd name="connsiteX1" fmla="*/ 826 w 10000"/>
                  <a:gd name="connsiteY1" fmla="*/ 6761 h 10000"/>
                  <a:gd name="connsiteX2" fmla="*/ 0 w 10000"/>
                  <a:gd name="connsiteY2" fmla="*/ 6634 h 10000"/>
                  <a:gd name="connsiteX3" fmla="*/ 24 w 10000"/>
                  <a:gd name="connsiteY3" fmla="*/ 5273 h 10000"/>
                  <a:gd name="connsiteX4" fmla="*/ 690 w 10000"/>
                  <a:gd name="connsiteY4" fmla="*/ 3355 h 10000"/>
                  <a:gd name="connsiteX5" fmla="*/ 858 w 10000"/>
                  <a:gd name="connsiteY5" fmla="*/ 2055 h 10000"/>
                  <a:gd name="connsiteX6" fmla="*/ 1911 w 10000"/>
                  <a:gd name="connsiteY6" fmla="*/ 1375 h 10000"/>
                  <a:gd name="connsiteX7" fmla="*/ 2645 w 10000"/>
                  <a:gd name="connsiteY7" fmla="*/ 1183 h 10000"/>
                  <a:gd name="connsiteX8" fmla="*/ 4053 w 10000"/>
                  <a:gd name="connsiteY8" fmla="*/ 0 h 10000"/>
                  <a:gd name="connsiteX9" fmla="*/ 5514 w 10000"/>
                  <a:gd name="connsiteY9" fmla="*/ 5002 h 10000"/>
                  <a:gd name="connsiteX10" fmla="*/ 10000 w 10000"/>
                  <a:gd name="connsiteY10" fmla="*/ 9432 h 10000"/>
                  <a:gd name="connsiteX11" fmla="*/ 9520 w 10000"/>
                  <a:gd name="connsiteY11" fmla="*/ 10000 h 10000"/>
                  <a:gd name="connsiteX12" fmla="*/ 8276 w 10000"/>
                  <a:gd name="connsiteY12" fmla="*/ 9060 h 10000"/>
                  <a:gd name="connsiteX13" fmla="*/ 5681 w 10000"/>
                  <a:gd name="connsiteY13" fmla="*/ 6456 h 10000"/>
                  <a:gd name="connsiteX14" fmla="*/ 4662 w 10000"/>
                  <a:gd name="connsiteY14" fmla="*/ 6264 h 10000"/>
                  <a:gd name="connsiteX15" fmla="*/ 4172 w 10000"/>
                  <a:gd name="connsiteY15" fmla="*/ 6518 h 10000"/>
                  <a:gd name="connsiteX16" fmla="*/ 3946 w 10000"/>
                  <a:gd name="connsiteY16" fmla="*/ 6109 h 10000"/>
                  <a:gd name="connsiteX17" fmla="*/ 3034 w 10000"/>
                  <a:gd name="connsiteY17" fmla="*/ 6551 h 10000"/>
                  <a:gd name="connsiteX18" fmla="*/ 2646 w 10000"/>
                  <a:gd name="connsiteY18" fmla="*/ 6117 h 10000"/>
                  <a:gd name="connsiteX19" fmla="*/ 2141 w 10000"/>
                  <a:gd name="connsiteY19" fmla="*/ 5740 h 10000"/>
                  <a:gd name="connsiteX20" fmla="*/ 1657 w 10000"/>
                  <a:gd name="connsiteY20" fmla="*/ 7029 h 10000"/>
                  <a:gd name="connsiteX21" fmla="*/ 1156 w 10000"/>
                  <a:gd name="connsiteY21" fmla="*/ 6320 h 10000"/>
                  <a:gd name="connsiteX22" fmla="*/ 1157 w 10000"/>
                  <a:gd name="connsiteY22" fmla="*/ 6442 h 10000"/>
                  <a:gd name="connsiteX0" fmla="*/ 1157 w 10000"/>
                  <a:gd name="connsiteY0" fmla="*/ 6442 h 10000"/>
                  <a:gd name="connsiteX1" fmla="*/ 826 w 10000"/>
                  <a:gd name="connsiteY1" fmla="*/ 6761 h 10000"/>
                  <a:gd name="connsiteX2" fmla="*/ 0 w 10000"/>
                  <a:gd name="connsiteY2" fmla="*/ 6634 h 10000"/>
                  <a:gd name="connsiteX3" fmla="*/ 24 w 10000"/>
                  <a:gd name="connsiteY3" fmla="*/ 5273 h 10000"/>
                  <a:gd name="connsiteX4" fmla="*/ 690 w 10000"/>
                  <a:gd name="connsiteY4" fmla="*/ 3355 h 10000"/>
                  <a:gd name="connsiteX5" fmla="*/ 1911 w 10000"/>
                  <a:gd name="connsiteY5" fmla="*/ 1375 h 10000"/>
                  <a:gd name="connsiteX6" fmla="*/ 2645 w 10000"/>
                  <a:gd name="connsiteY6" fmla="*/ 1183 h 10000"/>
                  <a:gd name="connsiteX7" fmla="*/ 4053 w 10000"/>
                  <a:gd name="connsiteY7" fmla="*/ 0 h 10000"/>
                  <a:gd name="connsiteX8" fmla="*/ 5514 w 10000"/>
                  <a:gd name="connsiteY8" fmla="*/ 5002 h 10000"/>
                  <a:gd name="connsiteX9" fmla="*/ 10000 w 10000"/>
                  <a:gd name="connsiteY9" fmla="*/ 9432 h 10000"/>
                  <a:gd name="connsiteX10" fmla="*/ 9520 w 10000"/>
                  <a:gd name="connsiteY10" fmla="*/ 10000 h 10000"/>
                  <a:gd name="connsiteX11" fmla="*/ 8276 w 10000"/>
                  <a:gd name="connsiteY11" fmla="*/ 9060 h 10000"/>
                  <a:gd name="connsiteX12" fmla="*/ 5681 w 10000"/>
                  <a:gd name="connsiteY12" fmla="*/ 6456 h 10000"/>
                  <a:gd name="connsiteX13" fmla="*/ 4662 w 10000"/>
                  <a:gd name="connsiteY13" fmla="*/ 6264 h 10000"/>
                  <a:gd name="connsiteX14" fmla="*/ 4172 w 10000"/>
                  <a:gd name="connsiteY14" fmla="*/ 6518 h 10000"/>
                  <a:gd name="connsiteX15" fmla="*/ 3946 w 10000"/>
                  <a:gd name="connsiteY15" fmla="*/ 6109 h 10000"/>
                  <a:gd name="connsiteX16" fmla="*/ 3034 w 10000"/>
                  <a:gd name="connsiteY16" fmla="*/ 6551 h 10000"/>
                  <a:gd name="connsiteX17" fmla="*/ 2646 w 10000"/>
                  <a:gd name="connsiteY17" fmla="*/ 6117 h 10000"/>
                  <a:gd name="connsiteX18" fmla="*/ 2141 w 10000"/>
                  <a:gd name="connsiteY18" fmla="*/ 5740 h 10000"/>
                  <a:gd name="connsiteX19" fmla="*/ 1657 w 10000"/>
                  <a:gd name="connsiteY19" fmla="*/ 7029 h 10000"/>
                  <a:gd name="connsiteX20" fmla="*/ 1156 w 10000"/>
                  <a:gd name="connsiteY20" fmla="*/ 6320 h 10000"/>
                  <a:gd name="connsiteX21" fmla="*/ 1157 w 10000"/>
                  <a:gd name="connsiteY21" fmla="*/ 6442 h 10000"/>
                  <a:gd name="connsiteX0" fmla="*/ 1157 w 10000"/>
                  <a:gd name="connsiteY0" fmla="*/ 6442 h 10000"/>
                  <a:gd name="connsiteX1" fmla="*/ 826 w 10000"/>
                  <a:gd name="connsiteY1" fmla="*/ 6761 h 10000"/>
                  <a:gd name="connsiteX2" fmla="*/ 0 w 10000"/>
                  <a:gd name="connsiteY2" fmla="*/ 6634 h 10000"/>
                  <a:gd name="connsiteX3" fmla="*/ 24 w 10000"/>
                  <a:gd name="connsiteY3" fmla="*/ 5273 h 10000"/>
                  <a:gd name="connsiteX4" fmla="*/ 1911 w 10000"/>
                  <a:gd name="connsiteY4" fmla="*/ 1375 h 10000"/>
                  <a:gd name="connsiteX5" fmla="*/ 2645 w 10000"/>
                  <a:gd name="connsiteY5" fmla="*/ 1183 h 10000"/>
                  <a:gd name="connsiteX6" fmla="*/ 4053 w 10000"/>
                  <a:gd name="connsiteY6" fmla="*/ 0 h 10000"/>
                  <a:gd name="connsiteX7" fmla="*/ 5514 w 10000"/>
                  <a:gd name="connsiteY7" fmla="*/ 5002 h 10000"/>
                  <a:gd name="connsiteX8" fmla="*/ 10000 w 10000"/>
                  <a:gd name="connsiteY8" fmla="*/ 9432 h 10000"/>
                  <a:gd name="connsiteX9" fmla="*/ 9520 w 10000"/>
                  <a:gd name="connsiteY9" fmla="*/ 10000 h 10000"/>
                  <a:gd name="connsiteX10" fmla="*/ 8276 w 10000"/>
                  <a:gd name="connsiteY10" fmla="*/ 9060 h 10000"/>
                  <a:gd name="connsiteX11" fmla="*/ 5681 w 10000"/>
                  <a:gd name="connsiteY11" fmla="*/ 6456 h 10000"/>
                  <a:gd name="connsiteX12" fmla="*/ 4662 w 10000"/>
                  <a:gd name="connsiteY12" fmla="*/ 6264 h 10000"/>
                  <a:gd name="connsiteX13" fmla="*/ 4172 w 10000"/>
                  <a:gd name="connsiteY13" fmla="*/ 6518 h 10000"/>
                  <a:gd name="connsiteX14" fmla="*/ 3946 w 10000"/>
                  <a:gd name="connsiteY14" fmla="*/ 6109 h 10000"/>
                  <a:gd name="connsiteX15" fmla="*/ 3034 w 10000"/>
                  <a:gd name="connsiteY15" fmla="*/ 6551 h 10000"/>
                  <a:gd name="connsiteX16" fmla="*/ 2646 w 10000"/>
                  <a:gd name="connsiteY16" fmla="*/ 6117 h 10000"/>
                  <a:gd name="connsiteX17" fmla="*/ 2141 w 10000"/>
                  <a:gd name="connsiteY17" fmla="*/ 5740 h 10000"/>
                  <a:gd name="connsiteX18" fmla="*/ 1657 w 10000"/>
                  <a:gd name="connsiteY18" fmla="*/ 7029 h 10000"/>
                  <a:gd name="connsiteX19" fmla="*/ 1156 w 10000"/>
                  <a:gd name="connsiteY19" fmla="*/ 6320 h 10000"/>
                  <a:gd name="connsiteX20" fmla="*/ 1157 w 10000"/>
                  <a:gd name="connsiteY20" fmla="*/ 6442 h 10000"/>
                  <a:gd name="connsiteX0" fmla="*/ 1157 w 10000"/>
                  <a:gd name="connsiteY0" fmla="*/ 6442 h 10000"/>
                  <a:gd name="connsiteX1" fmla="*/ 826 w 10000"/>
                  <a:gd name="connsiteY1" fmla="*/ 6761 h 10000"/>
                  <a:gd name="connsiteX2" fmla="*/ 0 w 10000"/>
                  <a:gd name="connsiteY2" fmla="*/ 6634 h 10000"/>
                  <a:gd name="connsiteX3" fmla="*/ 1911 w 10000"/>
                  <a:gd name="connsiteY3" fmla="*/ 1375 h 10000"/>
                  <a:gd name="connsiteX4" fmla="*/ 2645 w 10000"/>
                  <a:gd name="connsiteY4" fmla="*/ 1183 h 10000"/>
                  <a:gd name="connsiteX5" fmla="*/ 4053 w 10000"/>
                  <a:gd name="connsiteY5" fmla="*/ 0 h 10000"/>
                  <a:gd name="connsiteX6" fmla="*/ 5514 w 10000"/>
                  <a:gd name="connsiteY6" fmla="*/ 5002 h 10000"/>
                  <a:gd name="connsiteX7" fmla="*/ 10000 w 10000"/>
                  <a:gd name="connsiteY7" fmla="*/ 9432 h 10000"/>
                  <a:gd name="connsiteX8" fmla="*/ 9520 w 10000"/>
                  <a:gd name="connsiteY8" fmla="*/ 10000 h 10000"/>
                  <a:gd name="connsiteX9" fmla="*/ 8276 w 10000"/>
                  <a:gd name="connsiteY9" fmla="*/ 9060 h 10000"/>
                  <a:gd name="connsiteX10" fmla="*/ 5681 w 10000"/>
                  <a:gd name="connsiteY10" fmla="*/ 6456 h 10000"/>
                  <a:gd name="connsiteX11" fmla="*/ 4662 w 10000"/>
                  <a:gd name="connsiteY11" fmla="*/ 6264 h 10000"/>
                  <a:gd name="connsiteX12" fmla="*/ 4172 w 10000"/>
                  <a:gd name="connsiteY12" fmla="*/ 6518 h 10000"/>
                  <a:gd name="connsiteX13" fmla="*/ 3946 w 10000"/>
                  <a:gd name="connsiteY13" fmla="*/ 6109 h 10000"/>
                  <a:gd name="connsiteX14" fmla="*/ 3034 w 10000"/>
                  <a:gd name="connsiteY14" fmla="*/ 6551 h 10000"/>
                  <a:gd name="connsiteX15" fmla="*/ 2646 w 10000"/>
                  <a:gd name="connsiteY15" fmla="*/ 6117 h 10000"/>
                  <a:gd name="connsiteX16" fmla="*/ 2141 w 10000"/>
                  <a:gd name="connsiteY16" fmla="*/ 5740 h 10000"/>
                  <a:gd name="connsiteX17" fmla="*/ 1657 w 10000"/>
                  <a:gd name="connsiteY17" fmla="*/ 7029 h 10000"/>
                  <a:gd name="connsiteX18" fmla="*/ 1156 w 10000"/>
                  <a:gd name="connsiteY18" fmla="*/ 6320 h 10000"/>
                  <a:gd name="connsiteX19" fmla="*/ 1157 w 10000"/>
                  <a:gd name="connsiteY19" fmla="*/ 6442 h 10000"/>
                  <a:gd name="connsiteX0" fmla="*/ 331 w 9174"/>
                  <a:gd name="connsiteY0" fmla="*/ 6442 h 10000"/>
                  <a:gd name="connsiteX1" fmla="*/ 0 w 9174"/>
                  <a:gd name="connsiteY1" fmla="*/ 6761 h 10000"/>
                  <a:gd name="connsiteX2" fmla="*/ 1085 w 9174"/>
                  <a:gd name="connsiteY2" fmla="*/ 1375 h 10000"/>
                  <a:gd name="connsiteX3" fmla="*/ 1819 w 9174"/>
                  <a:gd name="connsiteY3" fmla="*/ 1183 h 10000"/>
                  <a:gd name="connsiteX4" fmla="*/ 3227 w 9174"/>
                  <a:gd name="connsiteY4" fmla="*/ 0 h 10000"/>
                  <a:gd name="connsiteX5" fmla="*/ 4688 w 9174"/>
                  <a:gd name="connsiteY5" fmla="*/ 5002 h 10000"/>
                  <a:gd name="connsiteX6" fmla="*/ 9174 w 9174"/>
                  <a:gd name="connsiteY6" fmla="*/ 9432 h 10000"/>
                  <a:gd name="connsiteX7" fmla="*/ 8694 w 9174"/>
                  <a:gd name="connsiteY7" fmla="*/ 10000 h 10000"/>
                  <a:gd name="connsiteX8" fmla="*/ 7450 w 9174"/>
                  <a:gd name="connsiteY8" fmla="*/ 9060 h 10000"/>
                  <a:gd name="connsiteX9" fmla="*/ 4855 w 9174"/>
                  <a:gd name="connsiteY9" fmla="*/ 6456 h 10000"/>
                  <a:gd name="connsiteX10" fmla="*/ 3836 w 9174"/>
                  <a:gd name="connsiteY10" fmla="*/ 6264 h 10000"/>
                  <a:gd name="connsiteX11" fmla="*/ 3346 w 9174"/>
                  <a:gd name="connsiteY11" fmla="*/ 6518 h 10000"/>
                  <a:gd name="connsiteX12" fmla="*/ 3120 w 9174"/>
                  <a:gd name="connsiteY12" fmla="*/ 6109 h 10000"/>
                  <a:gd name="connsiteX13" fmla="*/ 2208 w 9174"/>
                  <a:gd name="connsiteY13" fmla="*/ 6551 h 10000"/>
                  <a:gd name="connsiteX14" fmla="*/ 1820 w 9174"/>
                  <a:gd name="connsiteY14" fmla="*/ 6117 h 10000"/>
                  <a:gd name="connsiteX15" fmla="*/ 1315 w 9174"/>
                  <a:gd name="connsiteY15" fmla="*/ 5740 h 10000"/>
                  <a:gd name="connsiteX16" fmla="*/ 831 w 9174"/>
                  <a:gd name="connsiteY16" fmla="*/ 7029 h 10000"/>
                  <a:gd name="connsiteX17" fmla="*/ 330 w 9174"/>
                  <a:gd name="connsiteY17" fmla="*/ 6320 h 10000"/>
                  <a:gd name="connsiteX18" fmla="*/ 331 w 9174"/>
                  <a:gd name="connsiteY18" fmla="*/ 6442 h 10000"/>
                  <a:gd name="connsiteX0" fmla="*/ 391 w 10031"/>
                  <a:gd name="connsiteY0" fmla="*/ 6320 h 10000"/>
                  <a:gd name="connsiteX1" fmla="*/ 31 w 10031"/>
                  <a:gd name="connsiteY1" fmla="*/ 6761 h 10000"/>
                  <a:gd name="connsiteX2" fmla="*/ 1214 w 10031"/>
                  <a:gd name="connsiteY2" fmla="*/ 1375 h 10000"/>
                  <a:gd name="connsiteX3" fmla="*/ 2014 w 10031"/>
                  <a:gd name="connsiteY3" fmla="*/ 1183 h 10000"/>
                  <a:gd name="connsiteX4" fmla="*/ 3549 w 10031"/>
                  <a:gd name="connsiteY4" fmla="*/ 0 h 10000"/>
                  <a:gd name="connsiteX5" fmla="*/ 5141 w 10031"/>
                  <a:gd name="connsiteY5" fmla="*/ 5002 h 10000"/>
                  <a:gd name="connsiteX6" fmla="*/ 10031 w 10031"/>
                  <a:gd name="connsiteY6" fmla="*/ 9432 h 10000"/>
                  <a:gd name="connsiteX7" fmla="*/ 9508 w 10031"/>
                  <a:gd name="connsiteY7" fmla="*/ 10000 h 10000"/>
                  <a:gd name="connsiteX8" fmla="*/ 8152 w 10031"/>
                  <a:gd name="connsiteY8" fmla="*/ 9060 h 10000"/>
                  <a:gd name="connsiteX9" fmla="*/ 5323 w 10031"/>
                  <a:gd name="connsiteY9" fmla="*/ 6456 h 10000"/>
                  <a:gd name="connsiteX10" fmla="*/ 4212 w 10031"/>
                  <a:gd name="connsiteY10" fmla="*/ 6264 h 10000"/>
                  <a:gd name="connsiteX11" fmla="*/ 3678 w 10031"/>
                  <a:gd name="connsiteY11" fmla="*/ 6518 h 10000"/>
                  <a:gd name="connsiteX12" fmla="*/ 3432 w 10031"/>
                  <a:gd name="connsiteY12" fmla="*/ 6109 h 10000"/>
                  <a:gd name="connsiteX13" fmla="*/ 2438 w 10031"/>
                  <a:gd name="connsiteY13" fmla="*/ 6551 h 10000"/>
                  <a:gd name="connsiteX14" fmla="*/ 2015 w 10031"/>
                  <a:gd name="connsiteY14" fmla="*/ 6117 h 10000"/>
                  <a:gd name="connsiteX15" fmla="*/ 1464 w 10031"/>
                  <a:gd name="connsiteY15" fmla="*/ 5740 h 10000"/>
                  <a:gd name="connsiteX16" fmla="*/ 937 w 10031"/>
                  <a:gd name="connsiteY16" fmla="*/ 7029 h 10000"/>
                  <a:gd name="connsiteX17" fmla="*/ 391 w 10031"/>
                  <a:gd name="connsiteY17" fmla="*/ 6320 h 10000"/>
                  <a:gd name="connsiteX0" fmla="*/ 906 w 10000"/>
                  <a:gd name="connsiteY0" fmla="*/ 7029 h 10000"/>
                  <a:gd name="connsiteX1" fmla="*/ 0 w 10000"/>
                  <a:gd name="connsiteY1" fmla="*/ 6761 h 10000"/>
                  <a:gd name="connsiteX2" fmla="*/ 1183 w 10000"/>
                  <a:gd name="connsiteY2" fmla="*/ 1375 h 10000"/>
                  <a:gd name="connsiteX3" fmla="*/ 1983 w 10000"/>
                  <a:gd name="connsiteY3" fmla="*/ 1183 h 10000"/>
                  <a:gd name="connsiteX4" fmla="*/ 3518 w 10000"/>
                  <a:gd name="connsiteY4" fmla="*/ 0 h 10000"/>
                  <a:gd name="connsiteX5" fmla="*/ 5110 w 10000"/>
                  <a:gd name="connsiteY5" fmla="*/ 5002 h 10000"/>
                  <a:gd name="connsiteX6" fmla="*/ 10000 w 10000"/>
                  <a:gd name="connsiteY6" fmla="*/ 9432 h 10000"/>
                  <a:gd name="connsiteX7" fmla="*/ 9477 w 10000"/>
                  <a:gd name="connsiteY7" fmla="*/ 10000 h 10000"/>
                  <a:gd name="connsiteX8" fmla="*/ 8121 w 10000"/>
                  <a:gd name="connsiteY8" fmla="*/ 9060 h 10000"/>
                  <a:gd name="connsiteX9" fmla="*/ 5292 w 10000"/>
                  <a:gd name="connsiteY9" fmla="*/ 6456 h 10000"/>
                  <a:gd name="connsiteX10" fmla="*/ 4181 w 10000"/>
                  <a:gd name="connsiteY10" fmla="*/ 6264 h 10000"/>
                  <a:gd name="connsiteX11" fmla="*/ 3647 w 10000"/>
                  <a:gd name="connsiteY11" fmla="*/ 6518 h 10000"/>
                  <a:gd name="connsiteX12" fmla="*/ 3401 w 10000"/>
                  <a:gd name="connsiteY12" fmla="*/ 6109 h 10000"/>
                  <a:gd name="connsiteX13" fmla="*/ 2407 w 10000"/>
                  <a:gd name="connsiteY13" fmla="*/ 6551 h 10000"/>
                  <a:gd name="connsiteX14" fmla="*/ 1984 w 10000"/>
                  <a:gd name="connsiteY14" fmla="*/ 6117 h 10000"/>
                  <a:gd name="connsiteX15" fmla="*/ 1433 w 10000"/>
                  <a:gd name="connsiteY15" fmla="*/ 5740 h 10000"/>
                  <a:gd name="connsiteX16" fmla="*/ 906 w 10000"/>
                  <a:gd name="connsiteY16" fmla="*/ 7029 h 10000"/>
                  <a:gd name="connsiteX0" fmla="*/ 0 w 9094"/>
                  <a:gd name="connsiteY0" fmla="*/ 7029 h 10000"/>
                  <a:gd name="connsiteX1" fmla="*/ 277 w 9094"/>
                  <a:gd name="connsiteY1" fmla="*/ 1375 h 10000"/>
                  <a:gd name="connsiteX2" fmla="*/ 1077 w 9094"/>
                  <a:gd name="connsiteY2" fmla="*/ 1183 h 10000"/>
                  <a:gd name="connsiteX3" fmla="*/ 2612 w 9094"/>
                  <a:gd name="connsiteY3" fmla="*/ 0 h 10000"/>
                  <a:gd name="connsiteX4" fmla="*/ 4204 w 9094"/>
                  <a:gd name="connsiteY4" fmla="*/ 5002 h 10000"/>
                  <a:gd name="connsiteX5" fmla="*/ 9094 w 9094"/>
                  <a:gd name="connsiteY5" fmla="*/ 9432 h 10000"/>
                  <a:gd name="connsiteX6" fmla="*/ 8571 w 9094"/>
                  <a:gd name="connsiteY6" fmla="*/ 10000 h 10000"/>
                  <a:gd name="connsiteX7" fmla="*/ 7215 w 9094"/>
                  <a:gd name="connsiteY7" fmla="*/ 9060 h 10000"/>
                  <a:gd name="connsiteX8" fmla="*/ 4386 w 9094"/>
                  <a:gd name="connsiteY8" fmla="*/ 6456 h 10000"/>
                  <a:gd name="connsiteX9" fmla="*/ 3275 w 9094"/>
                  <a:gd name="connsiteY9" fmla="*/ 6264 h 10000"/>
                  <a:gd name="connsiteX10" fmla="*/ 2741 w 9094"/>
                  <a:gd name="connsiteY10" fmla="*/ 6518 h 10000"/>
                  <a:gd name="connsiteX11" fmla="*/ 2495 w 9094"/>
                  <a:gd name="connsiteY11" fmla="*/ 6109 h 10000"/>
                  <a:gd name="connsiteX12" fmla="*/ 1501 w 9094"/>
                  <a:gd name="connsiteY12" fmla="*/ 6551 h 10000"/>
                  <a:gd name="connsiteX13" fmla="*/ 1078 w 9094"/>
                  <a:gd name="connsiteY13" fmla="*/ 6117 h 10000"/>
                  <a:gd name="connsiteX14" fmla="*/ 527 w 9094"/>
                  <a:gd name="connsiteY14" fmla="*/ 5740 h 10000"/>
                  <a:gd name="connsiteX15" fmla="*/ 0 w 9094"/>
                  <a:gd name="connsiteY15" fmla="*/ 7029 h 10000"/>
                  <a:gd name="connsiteX0" fmla="*/ 0 w 10000"/>
                  <a:gd name="connsiteY0" fmla="*/ 7029 h 10000"/>
                  <a:gd name="connsiteX1" fmla="*/ 305 w 10000"/>
                  <a:gd name="connsiteY1" fmla="*/ 1375 h 10000"/>
                  <a:gd name="connsiteX2" fmla="*/ 1184 w 10000"/>
                  <a:gd name="connsiteY2" fmla="*/ 1183 h 10000"/>
                  <a:gd name="connsiteX3" fmla="*/ 2872 w 10000"/>
                  <a:gd name="connsiteY3" fmla="*/ 0 h 10000"/>
                  <a:gd name="connsiteX4" fmla="*/ 4623 w 10000"/>
                  <a:gd name="connsiteY4" fmla="*/ 5002 h 10000"/>
                  <a:gd name="connsiteX5" fmla="*/ 10000 w 10000"/>
                  <a:gd name="connsiteY5" fmla="*/ 9432 h 10000"/>
                  <a:gd name="connsiteX6" fmla="*/ 9425 w 10000"/>
                  <a:gd name="connsiteY6" fmla="*/ 10000 h 10000"/>
                  <a:gd name="connsiteX7" fmla="*/ 7934 w 10000"/>
                  <a:gd name="connsiteY7" fmla="*/ 9060 h 10000"/>
                  <a:gd name="connsiteX8" fmla="*/ 4823 w 10000"/>
                  <a:gd name="connsiteY8" fmla="*/ 6456 h 10000"/>
                  <a:gd name="connsiteX9" fmla="*/ 3601 w 10000"/>
                  <a:gd name="connsiteY9" fmla="*/ 6264 h 10000"/>
                  <a:gd name="connsiteX10" fmla="*/ 3014 w 10000"/>
                  <a:gd name="connsiteY10" fmla="*/ 6518 h 10000"/>
                  <a:gd name="connsiteX11" fmla="*/ 2744 w 10000"/>
                  <a:gd name="connsiteY11" fmla="*/ 6109 h 10000"/>
                  <a:gd name="connsiteX12" fmla="*/ 1651 w 10000"/>
                  <a:gd name="connsiteY12" fmla="*/ 6551 h 10000"/>
                  <a:gd name="connsiteX13" fmla="*/ 1185 w 10000"/>
                  <a:gd name="connsiteY13" fmla="*/ 6117 h 10000"/>
                  <a:gd name="connsiteX14" fmla="*/ 580 w 10000"/>
                  <a:gd name="connsiteY14" fmla="*/ 5740 h 10000"/>
                  <a:gd name="connsiteX15" fmla="*/ 0 w 10000"/>
                  <a:gd name="connsiteY15" fmla="*/ 7029 h 10000"/>
                  <a:gd name="connsiteX0" fmla="*/ 275 w 9695"/>
                  <a:gd name="connsiteY0" fmla="*/ 5740 h 10000"/>
                  <a:gd name="connsiteX1" fmla="*/ 0 w 9695"/>
                  <a:gd name="connsiteY1" fmla="*/ 1375 h 10000"/>
                  <a:gd name="connsiteX2" fmla="*/ 879 w 9695"/>
                  <a:gd name="connsiteY2" fmla="*/ 1183 h 10000"/>
                  <a:gd name="connsiteX3" fmla="*/ 2567 w 9695"/>
                  <a:gd name="connsiteY3" fmla="*/ 0 h 10000"/>
                  <a:gd name="connsiteX4" fmla="*/ 4318 w 9695"/>
                  <a:gd name="connsiteY4" fmla="*/ 5002 h 10000"/>
                  <a:gd name="connsiteX5" fmla="*/ 9695 w 9695"/>
                  <a:gd name="connsiteY5" fmla="*/ 9432 h 10000"/>
                  <a:gd name="connsiteX6" fmla="*/ 9120 w 9695"/>
                  <a:gd name="connsiteY6" fmla="*/ 10000 h 10000"/>
                  <a:gd name="connsiteX7" fmla="*/ 7629 w 9695"/>
                  <a:gd name="connsiteY7" fmla="*/ 9060 h 10000"/>
                  <a:gd name="connsiteX8" fmla="*/ 4518 w 9695"/>
                  <a:gd name="connsiteY8" fmla="*/ 6456 h 10000"/>
                  <a:gd name="connsiteX9" fmla="*/ 3296 w 9695"/>
                  <a:gd name="connsiteY9" fmla="*/ 6264 h 10000"/>
                  <a:gd name="connsiteX10" fmla="*/ 2709 w 9695"/>
                  <a:gd name="connsiteY10" fmla="*/ 6518 h 10000"/>
                  <a:gd name="connsiteX11" fmla="*/ 2439 w 9695"/>
                  <a:gd name="connsiteY11" fmla="*/ 6109 h 10000"/>
                  <a:gd name="connsiteX12" fmla="*/ 1346 w 9695"/>
                  <a:gd name="connsiteY12" fmla="*/ 6551 h 10000"/>
                  <a:gd name="connsiteX13" fmla="*/ 880 w 9695"/>
                  <a:gd name="connsiteY13" fmla="*/ 6117 h 10000"/>
                  <a:gd name="connsiteX14" fmla="*/ 275 w 9695"/>
                  <a:gd name="connsiteY14" fmla="*/ 5740 h 10000"/>
                  <a:gd name="connsiteX0" fmla="*/ 12 w 10313"/>
                  <a:gd name="connsiteY0" fmla="*/ 5568 h 10000"/>
                  <a:gd name="connsiteX1" fmla="*/ 313 w 10313"/>
                  <a:gd name="connsiteY1" fmla="*/ 1375 h 10000"/>
                  <a:gd name="connsiteX2" fmla="*/ 1220 w 10313"/>
                  <a:gd name="connsiteY2" fmla="*/ 1183 h 10000"/>
                  <a:gd name="connsiteX3" fmla="*/ 2961 w 10313"/>
                  <a:gd name="connsiteY3" fmla="*/ 0 h 10000"/>
                  <a:gd name="connsiteX4" fmla="*/ 4767 w 10313"/>
                  <a:gd name="connsiteY4" fmla="*/ 5002 h 10000"/>
                  <a:gd name="connsiteX5" fmla="*/ 10313 w 10313"/>
                  <a:gd name="connsiteY5" fmla="*/ 9432 h 10000"/>
                  <a:gd name="connsiteX6" fmla="*/ 9720 w 10313"/>
                  <a:gd name="connsiteY6" fmla="*/ 10000 h 10000"/>
                  <a:gd name="connsiteX7" fmla="*/ 8182 w 10313"/>
                  <a:gd name="connsiteY7" fmla="*/ 9060 h 10000"/>
                  <a:gd name="connsiteX8" fmla="*/ 4973 w 10313"/>
                  <a:gd name="connsiteY8" fmla="*/ 6456 h 10000"/>
                  <a:gd name="connsiteX9" fmla="*/ 3713 w 10313"/>
                  <a:gd name="connsiteY9" fmla="*/ 6264 h 10000"/>
                  <a:gd name="connsiteX10" fmla="*/ 3107 w 10313"/>
                  <a:gd name="connsiteY10" fmla="*/ 6518 h 10000"/>
                  <a:gd name="connsiteX11" fmla="*/ 2829 w 10313"/>
                  <a:gd name="connsiteY11" fmla="*/ 6109 h 10000"/>
                  <a:gd name="connsiteX12" fmla="*/ 1701 w 10313"/>
                  <a:gd name="connsiteY12" fmla="*/ 6551 h 10000"/>
                  <a:gd name="connsiteX13" fmla="*/ 1221 w 10313"/>
                  <a:gd name="connsiteY13" fmla="*/ 6117 h 10000"/>
                  <a:gd name="connsiteX14" fmla="*/ 12 w 10313"/>
                  <a:gd name="connsiteY14" fmla="*/ 5568 h 10000"/>
                  <a:gd name="connsiteX0" fmla="*/ 12 w 10313"/>
                  <a:gd name="connsiteY0" fmla="*/ 5568 h 10000"/>
                  <a:gd name="connsiteX1" fmla="*/ 313 w 10313"/>
                  <a:gd name="connsiteY1" fmla="*/ 1375 h 10000"/>
                  <a:gd name="connsiteX2" fmla="*/ 1220 w 10313"/>
                  <a:gd name="connsiteY2" fmla="*/ 1183 h 10000"/>
                  <a:gd name="connsiteX3" fmla="*/ 2961 w 10313"/>
                  <a:gd name="connsiteY3" fmla="*/ 0 h 10000"/>
                  <a:gd name="connsiteX4" fmla="*/ 4767 w 10313"/>
                  <a:gd name="connsiteY4" fmla="*/ 5002 h 10000"/>
                  <a:gd name="connsiteX5" fmla="*/ 10313 w 10313"/>
                  <a:gd name="connsiteY5" fmla="*/ 9432 h 10000"/>
                  <a:gd name="connsiteX6" fmla="*/ 9720 w 10313"/>
                  <a:gd name="connsiteY6" fmla="*/ 10000 h 10000"/>
                  <a:gd name="connsiteX7" fmla="*/ 8182 w 10313"/>
                  <a:gd name="connsiteY7" fmla="*/ 9060 h 10000"/>
                  <a:gd name="connsiteX8" fmla="*/ 4973 w 10313"/>
                  <a:gd name="connsiteY8" fmla="*/ 6456 h 10000"/>
                  <a:gd name="connsiteX9" fmla="*/ 3713 w 10313"/>
                  <a:gd name="connsiteY9" fmla="*/ 6264 h 10000"/>
                  <a:gd name="connsiteX10" fmla="*/ 3107 w 10313"/>
                  <a:gd name="connsiteY10" fmla="*/ 6518 h 10000"/>
                  <a:gd name="connsiteX11" fmla="*/ 2829 w 10313"/>
                  <a:gd name="connsiteY11" fmla="*/ 6109 h 10000"/>
                  <a:gd name="connsiteX12" fmla="*/ 1701 w 10313"/>
                  <a:gd name="connsiteY12" fmla="*/ 6551 h 10000"/>
                  <a:gd name="connsiteX13" fmla="*/ 1221 w 10313"/>
                  <a:gd name="connsiteY13" fmla="*/ 6117 h 10000"/>
                  <a:gd name="connsiteX14" fmla="*/ 12 w 10313"/>
                  <a:gd name="connsiteY14" fmla="*/ 5568 h 10000"/>
                  <a:gd name="connsiteX0" fmla="*/ 12 w 10313"/>
                  <a:gd name="connsiteY0" fmla="*/ 5568 h 10000"/>
                  <a:gd name="connsiteX1" fmla="*/ 313 w 10313"/>
                  <a:gd name="connsiteY1" fmla="*/ 1375 h 10000"/>
                  <a:gd name="connsiteX2" fmla="*/ 1220 w 10313"/>
                  <a:gd name="connsiteY2" fmla="*/ 1183 h 10000"/>
                  <a:gd name="connsiteX3" fmla="*/ 2961 w 10313"/>
                  <a:gd name="connsiteY3" fmla="*/ 0 h 10000"/>
                  <a:gd name="connsiteX4" fmla="*/ 4767 w 10313"/>
                  <a:gd name="connsiteY4" fmla="*/ 5002 h 10000"/>
                  <a:gd name="connsiteX5" fmla="*/ 10313 w 10313"/>
                  <a:gd name="connsiteY5" fmla="*/ 9432 h 10000"/>
                  <a:gd name="connsiteX6" fmla="*/ 9720 w 10313"/>
                  <a:gd name="connsiteY6" fmla="*/ 10000 h 10000"/>
                  <a:gd name="connsiteX7" fmla="*/ 8182 w 10313"/>
                  <a:gd name="connsiteY7" fmla="*/ 9060 h 10000"/>
                  <a:gd name="connsiteX8" fmla="*/ 4973 w 10313"/>
                  <a:gd name="connsiteY8" fmla="*/ 6456 h 10000"/>
                  <a:gd name="connsiteX9" fmla="*/ 3713 w 10313"/>
                  <a:gd name="connsiteY9" fmla="*/ 6264 h 10000"/>
                  <a:gd name="connsiteX10" fmla="*/ 3107 w 10313"/>
                  <a:gd name="connsiteY10" fmla="*/ 6518 h 10000"/>
                  <a:gd name="connsiteX11" fmla="*/ 2829 w 10313"/>
                  <a:gd name="connsiteY11" fmla="*/ 6109 h 10000"/>
                  <a:gd name="connsiteX12" fmla="*/ 1701 w 10313"/>
                  <a:gd name="connsiteY12" fmla="*/ 6551 h 10000"/>
                  <a:gd name="connsiteX13" fmla="*/ 1221 w 10313"/>
                  <a:gd name="connsiteY13" fmla="*/ 6117 h 10000"/>
                  <a:gd name="connsiteX14" fmla="*/ 12 w 10313"/>
                  <a:gd name="connsiteY14" fmla="*/ 5568 h 10000"/>
                  <a:gd name="connsiteX0" fmla="*/ 12 w 10313"/>
                  <a:gd name="connsiteY0" fmla="*/ 5568 h 10000"/>
                  <a:gd name="connsiteX1" fmla="*/ 313 w 10313"/>
                  <a:gd name="connsiteY1" fmla="*/ 1375 h 10000"/>
                  <a:gd name="connsiteX2" fmla="*/ 1220 w 10313"/>
                  <a:gd name="connsiteY2" fmla="*/ 1183 h 10000"/>
                  <a:gd name="connsiteX3" fmla="*/ 2961 w 10313"/>
                  <a:gd name="connsiteY3" fmla="*/ 0 h 10000"/>
                  <a:gd name="connsiteX4" fmla="*/ 4767 w 10313"/>
                  <a:gd name="connsiteY4" fmla="*/ 5002 h 10000"/>
                  <a:gd name="connsiteX5" fmla="*/ 10313 w 10313"/>
                  <a:gd name="connsiteY5" fmla="*/ 9432 h 10000"/>
                  <a:gd name="connsiteX6" fmla="*/ 9720 w 10313"/>
                  <a:gd name="connsiteY6" fmla="*/ 10000 h 10000"/>
                  <a:gd name="connsiteX7" fmla="*/ 8182 w 10313"/>
                  <a:gd name="connsiteY7" fmla="*/ 9060 h 10000"/>
                  <a:gd name="connsiteX8" fmla="*/ 4973 w 10313"/>
                  <a:gd name="connsiteY8" fmla="*/ 6456 h 10000"/>
                  <a:gd name="connsiteX9" fmla="*/ 3713 w 10313"/>
                  <a:gd name="connsiteY9" fmla="*/ 6264 h 10000"/>
                  <a:gd name="connsiteX10" fmla="*/ 3107 w 10313"/>
                  <a:gd name="connsiteY10" fmla="*/ 6518 h 10000"/>
                  <a:gd name="connsiteX11" fmla="*/ 1701 w 10313"/>
                  <a:gd name="connsiteY11" fmla="*/ 6551 h 10000"/>
                  <a:gd name="connsiteX12" fmla="*/ 1221 w 10313"/>
                  <a:gd name="connsiteY12" fmla="*/ 6117 h 10000"/>
                  <a:gd name="connsiteX13" fmla="*/ 12 w 10313"/>
                  <a:gd name="connsiteY13" fmla="*/ 5568 h 10000"/>
                  <a:gd name="connsiteX0" fmla="*/ 12 w 10313"/>
                  <a:gd name="connsiteY0" fmla="*/ 5568 h 10000"/>
                  <a:gd name="connsiteX1" fmla="*/ 313 w 10313"/>
                  <a:gd name="connsiteY1" fmla="*/ 1375 h 10000"/>
                  <a:gd name="connsiteX2" fmla="*/ 1220 w 10313"/>
                  <a:gd name="connsiteY2" fmla="*/ 1183 h 10000"/>
                  <a:gd name="connsiteX3" fmla="*/ 2961 w 10313"/>
                  <a:gd name="connsiteY3" fmla="*/ 0 h 10000"/>
                  <a:gd name="connsiteX4" fmla="*/ 4767 w 10313"/>
                  <a:gd name="connsiteY4" fmla="*/ 5002 h 10000"/>
                  <a:gd name="connsiteX5" fmla="*/ 10313 w 10313"/>
                  <a:gd name="connsiteY5" fmla="*/ 9432 h 10000"/>
                  <a:gd name="connsiteX6" fmla="*/ 9720 w 10313"/>
                  <a:gd name="connsiteY6" fmla="*/ 10000 h 10000"/>
                  <a:gd name="connsiteX7" fmla="*/ 8182 w 10313"/>
                  <a:gd name="connsiteY7" fmla="*/ 9060 h 10000"/>
                  <a:gd name="connsiteX8" fmla="*/ 4973 w 10313"/>
                  <a:gd name="connsiteY8" fmla="*/ 6456 h 10000"/>
                  <a:gd name="connsiteX9" fmla="*/ 3713 w 10313"/>
                  <a:gd name="connsiteY9" fmla="*/ 6264 h 10000"/>
                  <a:gd name="connsiteX10" fmla="*/ 3107 w 10313"/>
                  <a:gd name="connsiteY10" fmla="*/ 6518 h 10000"/>
                  <a:gd name="connsiteX11" fmla="*/ 1701 w 10313"/>
                  <a:gd name="connsiteY11" fmla="*/ 6551 h 10000"/>
                  <a:gd name="connsiteX12" fmla="*/ 12 w 10313"/>
                  <a:gd name="connsiteY12" fmla="*/ 5568 h 10000"/>
                  <a:gd name="connsiteX0" fmla="*/ 12 w 10313"/>
                  <a:gd name="connsiteY0" fmla="*/ 5568 h 10000"/>
                  <a:gd name="connsiteX1" fmla="*/ 313 w 10313"/>
                  <a:gd name="connsiteY1" fmla="*/ 1375 h 10000"/>
                  <a:gd name="connsiteX2" fmla="*/ 1220 w 10313"/>
                  <a:gd name="connsiteY2" fmla="*/ 1183 h 10000"/>
                  <a:gd name="connsiteX3" fmla="*/ 2961 w 10313"/>
                  <a:gd name="connsiteY3" fmla="*/ 0 h 10000"/>
                  <a:gd name="connsiteX4" fmla="*/ 4767 w 10313"/>
                  <a:gd name="connsiteY4" fmla="*/ 5002 h 10000"/>
                  <a:gd name="connsiteX5" fmla="*/ 10313 w 10313"/>
                  <a:gd name="connsiteY5" fmla="*/ 9432 h 10000"/>
                  <a:gd name="connsiteX6" fmla="*/ 9720 w 10313"/>
                  <a:gd name="connsiteY6" fmla="*/ 10000 h 10000"/>
                  <a:gd name="connsiteX7" fmla="*/ 8182 w 10313"/>
                  <a:gd name="connsiteY7" fmla="*/ 9060 h 10000"/>
                  <a:gd name="connsiteX8" fmla="*/ 4973 w 10313"/>
                  <a:gd name="connsiteY8" fmla="*/ 6456 h 10000"/>
                  <a:gd name="connsiteX9" fmla="*/ 3713 w 10313"/>
                  <a:gd name="connsiteY9" fmla="*/ 6264 h 10000"/>
                  <a:gd name="connsiteX10" fmla="*/ 3107 w 10313"/>
                  <a:gd name="connsiteY10" fmla="*/ 6697 h 10000"/>
                  <a:gd name="connsiteX11" fmla="*/ 1701 w 10313"/>
                  <a:gd name="connsiteY11" fmla="*/ 6551 h 10000"/>
                  <a:gd name="connsiteX12" fmla="*/ 12 w 10313"/>
                  <a:gd name="connsiteY12" fmla="*/ 5568 h 10000"/>
                  <a:gd name="connsiteX0" fmla="*/ 12 w 10313"/>
                  <a:gd name="connsiteY0" fmla="*/ 5568 h 10000"/>
                  <a:gd name="connsiteX1" fmla="*/ 313 w 10313"/>
                  <a:gd name="connsiteY1" fmla="*/ 1375 h 10000"/>
                  <a:gd name="connsiteX2" fmla="*/ 1220 w 10313"/>
                  <a:gd name="connsiteY2" fmla="*/ 1183 h 10000"/>
                  <a:gd name="connsiteX3" fmla="*/ 2961 w 10313"/>
                  <a:gd name="connsiteY3" fmla="*/ 0 h 10000"/>
                  <a:gd name="connsiteX4" fmla="*/ 4767 w 10313"/>
                  <a:gd name="connsiteY4" fmla="*/ 5002 h 10000"/>
                  <a:gd name="connsiteX5" fmla="*/ 10313 w 10313"/>
                  <a:gd name="connsiteY5" fmla="*/ 9432 h 10000"/>
                  <a:gd name="connsiteX6" fmla="*/ 9720 w 10313"/>
                  <a:gd name="connsiteY6" fmla="*/ 10000 h 10000"/>
                  <a:gd name="connsiteX7" fmla="*/ 8182 w 10313"/>
                  <a:gd name="connsiteY7" fmla="*/ 9060 h 10000"/>
                  <a:gd name="connsiteX8" fmla="*/ 4973 w 10313"/>
                  <a:gd name="connsiteY8" fmla="*/ 6456 h 10000"/>
                  <a:gd name="connsiteX9" fmla="*/ 3713 w 10313"/>
                  <a:gd name="connsiteY9" fmla="*/ 6264 h 10000"/>
                  <a:gd name="connsiteX10" fmla="*/ 1701 w 10313"/>
                  <a:gd name="connsiteY10" fmla="*/ 6551 h 10000"/>
                  <a:gd name="connsiteX11" fmla="*/ 12 w 10313"/>
                  <a:gd name="connsiteY11" fmla="*/ 5568 h 10000"/>
                  <a:gd name="connsiteX0" fmla="*/ 12 w 10313"/>
                  <a:gd name="connsiteY0" fmla="*/ 5568 h 10000"/>
                  <a:gd name="connsiteX1" fmla="*/ 313 w 10313"/>
                  <a:gd name="connsiteY1" fmla="*/ 1375 h 10000"/>
                  <a:gd name="connsiteX2" fmla="*/ 1220 w 10313"/>
                  <a:gd name="connsiteY2" fmla="*/ 1183 h 10000"/>
                  <a:gd name="connsiteX3" fmla="*/ 2961 w 10313"/>
                  <a:gd name="connsiteY3" fmla="*/ 0 h 10000"/>
                  <a:gd name="connsiteX4" fmla="*/ 4767 w 10313"/>
                  <a:gd name="connsiteY4" fmla="*/ 5002 h 10000"/>
                  <a:gd name="connsiteX5" fmla="*/ 10313 w 10313"/>
                  <a:gd name="connsiteY5" fmla="*/ 9432 h 10000"/>
                  <a:gd name="connsiteX6" fmla="*/ 9720 w 10313"/>
                  <a:gd name="connsiteY6" fmla="*/ 10000 h 10000"/>
                  <a:gd name="connsiteX7" fmla="*/ 8182 w 10313"/>
                  <a:gd name="connsiteY7" fmla="*/ 9060 h 10000"/>
                  <a:gd name="connsiteX8" fmla="*/ 4973 w 10313"/>
                  <a:gd name="connsiteY8" fmla="*/ 6456 h 10000"/>
                  <a:gd name="connsiteX9" fmla="*/ 3713 w 10313"/>
                  <a:gd name="connsiteY9" fmla="*/ 6264 h 10000"/>
                  <a:gd name="connsiteX10" fmla="*/ 2310 w 10313"/>
                  <a:gd name="connsiteY10" fmla="*/ 6551 h 10000"/>
                  <a:gd name="connsiteX11" fmla="*/ 12 w 10313"/>
                  <a:gd name="connsiteY11" fmla="*/ 5568 h 10000"/>
                  <a:gd name="connsiteX0" fmla="*/ 12 w 10313"/>
                  <a:gd name="connsiteY0" fmla="*/ 5568 h 10000"/>
                  <a:gd name="connsiteX1" fmla="*/ 313 w 10313"/>
                  <a:gd name="connsiteY1" fmla="*/ 1375 h 10000"/>
                  <a:gd name="connsiteX2" fmla="*/ 1220 w 10313"/>
                  <a:gd name="connsiteY2" fmla="*/ 1183 h 10000"/>
                  <a:gd name="connsiteX3" fmla="*/ 2961 w 10313"/>
                  <a:gd name="connsiteY3" fmla="*/ 0 h 10000"/>
                  <a:gd name="connsiteX4" fmla="*/ 4767 w 10313"/>
                  <a:gd name="connsiteY4" fmla="*/ 5002 h 10000"/>
                  <a:gd name="connsiteX5" fmla="*/ 10313 w 10313"/>
                  <a:gd name="connsiteY5" fmla="*/ 9432 h 10000"/>
                  <a:gd name="connsiteX6" fmla="*/ 9720 w 10313"/>
                  <a:gd name="connsiteY6" fmla="*/ 10000 h 10000"/>
                  <a:gd name="connsiteX7" fmla="*/ 8182 w 10313"/>
                  <a:gd name="connsiteY7" fmla="*/ 9060 h 10000"/>
                  <a:gd name="connsiteX8" fmla="*/ 4973 w 10313"/>
                  <a:gd name="connsiteY8" fmla="*/ 6456 h 10000"/>
                  <a:gd name="connsiteX9" fmla="*/ 3713 w 10313"/>
                  <a:gd name="connsiteY9" fmla="*/ 6264 h 10000"/>
                  <a:gd name="connsiteX10" fmla="*/ 2310 w 10313"/>
                  <a:gd name="connsiteY10" fmla="*/ 6730 h 10000"/>
                  <a:gd name="connsiteX11" fmla="*/ 12 w 10313"/>
                  <a:gd name="connsiteY11" fmla="*/ 5568 h 10000"/>
                  <a:gd name="connsiteX0" fmla="*/ 12 w 10313"/>
                  <a:gd name="connsiteY0" fmla="*/ 6106 h 10000"/>
                  <a:gd name="connsiteX1" fmla="*/ 313 w 10313"/>
                  <a:gd name="connsiteY1" fmla="*/ 1375 h 10000"/>
                  <a:gd name="connsiteX2" fmla="*/ 1220 w 10313"/>
                  <a:gd name="connsiteY2" fmla="*/ 1183 h 10000"/>
                  <a:gd name="connsiteX3" fmla="*/ 2961 w 10313"/>
                  <a:gd name="connsiteY3" fmla="*/ 0 h 10000"/>
                  <a:gd name="connsiteX4" fmla="*/ 4767 w 10313"/>
                  <a:gd name="connsiteY4" fmla="*/ 5002 h 10000"/>
                  <a:gd name="connsiteX5" fmla="*/ 10313 w 10313"/>
                  <a:gd name="connsiteY5" fmla="*/ 9432 h 10000"/>
                  <a:gd name="connsiteX6" fmla="*/ 9720 w 10313"/>
                  <a:gd name="connsiteY6" fmla="*/ 10000 h 10000"/>
                  <a:gd name="connsiteX7" fmla="*/ 8182 w 10313"/>
                  <a:gd name="connsiteY7" fmla="*/ 9060 h 10000"/>
                  <a:gd name="connsiteX8" fmla="*/ 4973 w 10313"/>
                  <a:gd name="connsiteY8" fmla="*/ 6456 h 10000"/>
                  <a:gd name="connsiteX9" fmla="*/ 3713 w 10313"/>
                  <a:gd name="connsiteY9" fmla="*/ 6264 h 10000"/>
                  <a:gd name="connsiteX10" fmla="*/ 2310 w 10313"/>
                  <a:gd name="connsiteY10" fmla="*/ 6730 h 10000"/>
                  <a:gd name="connsiteX11" fmla="*/ 12 w 10313"/>
                  <a:gd name="connsiteY11" fmla="*/ 610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13" h="10000">
                    <a:moveTo>
                      <a:pt x="12" y="6106"/>
                    </a:moveTo>
                    <a:cubicBezTo>
                      <a:pt x="-83" y="4651"/>
                      <a:pt x="408" y="2830"/>
                      <a:pt x="313" y="1375"/>
                    </a:cubicBezTo>
                    <a:cubicBezTo>
                      <a:pt x="681" y="1230"/>
                      <a:pt x="757" y="1438"/>
                      <a:pt x="1220" y="1183"/>
                    </a:cubicBezTo>
                    <a:lnTo>
                      <a:pt x="2961" y="0"/>
                    </a:lnTo>
                    <a:lnTo>
                      <a:pt x="4767" y="5002"/>
                    </a:lnTo>
                    <a:lnTo>
                      <a:pt x="10313" y="9432"/>
                    </a:lnTo>
                    <a:lnTo>
                      <a:pt x="9720" y="10000"/>
                    </a:lnTo>
                    <a:cubicBezTo>
                      <a:pt x="9365" y="9938"/>
                      <a:pt x="8959" y="9663"/>
                      <a:pt x="8182" y="9060"/>
                    </a:cubicBezTo>
                    <a:cubicBezTo>
                      <a:pt x="7635" y="8636"/>
                      <a:pt x="5821" y="6859"/>
                      <a:pt x="4973" y="6456"/>
                    </a:cubicBezTo>
                    <a:lnTo>
                      <a:pt x="3713" y="6264"/>
                    </a:lnTo>
                    <a:lnTo>
                      <a:pt x="2310" y="6730"/>
                    </a:lnTo>
                    <a:lnTo>
                      <a:pt x="12" y="6106"/>
                    </a:lnTo>
                    <a:close/>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5" name="Equatorial Guinea">
                <a:extLst>
                  <a:ext uri="{FF2B5EF4-FFF2-40B4-BE49-F238E27FC236}">
                    <a16:creationId xmlns:a16="http://schemas.microsoft.com/office/drawing/2014/main" id="{DB10B772-3D54-CF81-D508-7FD857BC06AE}"/>
                  </a:ext>
                </a:extLst>
              </p:cNvPr>
              <p:cNvSpPr>
                <a:spLocks noGrp="1" noRot="1" noMove="1" noResize="1" noEditPoints="1" noAdjustHandles="1" noChangeArrowheads="1" noChangeShapeType="1"/>
              </p:cNvSpPr>
              <p:nvPr/>
            </p:nvSpPr>
            <p:spPr bwMode="gray">
              <a:xfrm>
                <a:off x="4978549" y="4616303"/>
                <a:ext cx="47175" cy="35485"/>
              </a:xfrm>
              <a:custGeom>
                <a:avLst/>
                <a:gdLst/>
                <a:ahLst/>
                <a:cxnLst>
                  <a:cxn ang="0">
                    <a:pos x="0" y="15"/>
                  </a:cxn>
                  <a:cxn ang="0">
                    <a:pos x="0" y="15"/>
                  </a:cxn>
                  <a:cxn ang="0">
                    <a:pos x="2" y="0"/>
                  </a:cxn>
                  <a:cxn ang="0">
                    <a:pos x="25" y="0"/>
                  </a:cxn>
                  <a:cxn ang="0">
                    <a:pos x="25" y="13"/>
                  </a:cxn>
                  <a:cxn ang="0">
                    <a:pos x="0" y="15"/>
                  </a:cxn>
                  <a:cxn ang="0">
                    <a:pos x="0" y="15"/>
                  </a:cxn>
                </a:cxnLst>
                <a:rect l="0" t="0" r="r" b="b"/>
                <a:pathLst>
                  <a:path w="26" h="16">
                    <a:moveTo>
                      <a:pt x="0" y="15"/>
                    </a:moveTo>
                    <a:lnTo>
                      <a:pt x="0" y="15"/>
                    </a:lnTo>
                    <a:lnTo>
                      <a:pt x="2" y="0"/>
                    </a:lnTo>
                    <a:lnTo>
                      <a:pt x="25" y="0"/>
                    </a:lnTo>
                    <a:lnTo>
                      <a:pt x="25" y="13"/>
                    </a:lnTo>
                    <a:lnTo>
                      <a:pt x="0" y="15"/>
                    </a:lnTo>
                    <a:lnTo>
                      <a:pt x="0" y="1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6" name="Egypt">
                <a:extLst>
                  <a:ext uri="{FF2B5EF4-FFF2-40B4-BE49-F238E27FC236}">
                    <a16:creationId xmlns:a16="http://schemas.microsoft.com/office/drawing/2014/main" id="{25E5A0B9-4E16-7D88-9F1D-69B9196FBA3E}"/>
                  </a:ext>
                </a:extLst>
              </p:cNvPr>
              <p:cNvSpPr>
                <a:spLocks noGrp="1" noRot="1" noMove="1" noResize="1" noEditPoints="1" noAdjustHandles="1" noChangeArrowheads="1" noChangeShapeType="1"/>
              </p:cNvSpPr>
              <p:nvPr/>
            </p:nvSpPr>
            <p:spPr bwMode="gray">
              <a:xfrm>
                <a:off x="5353800" y="3780188"/>
                <a:ext cx="276614" cy="290533"/>
              </a:xfrm>
              <a:custGeom>
                <a:avLst/>
                <a:gdLst/>
                <a:ahLst/>
                <a:cxnLst>
                  <a:cxn ang="0">
                    <a:pos x="0" y="21"/>
                  </a:cxn>
                  <a:cxn ang="0">
                    <a:pos x="0" y="21"/>
                  </a:cxn>
                  <a:cxn ang="0">
                    <a:pos x="6" y="125"/>
                  </a:cxn>
                  <a:cxn ang="0">
                    <a:pos x="129" y="128"/>
                  </a:cxn>
                  <a:cxn ang="0">
                    <a:pos x="150" y="112"/>
                  </a:cxn>
                  <a:cxn ang="0">
                    <a:pos x="152" y="101"/>
                  </a:cxn>
                  <a:cxn ang="0">
                    <a:pos x="106" y="27"/>
                  </a:cxn>
                  <a:cxn ang="0">
                    <a:pos x="129" y="51"/>
                  </a:cxn>
                  <a:cxn ang="0">
                    <a:pos x="140" y="30"/>
                  </a:cxn>
                  <a:cxn ang="0">
                    <a:pos x="129" y="4"/>
                  </a:cxn>
                  <a:cxn ang="0">
                    <a:pos x="100" y="8"/>
                  </a:cxn>
                  <a:cxn ang="0">
                    <a:pos x="100" y="1"/>
                  </a:cxn>
                  <a:cxn ang="0">
                    <a:pos x="84" y="1"/>
                  </a:cxn>
                  <a:cxn ang="0">
                    <a:pos x="59" y="11"/>
                  </a:cxn>
                  <a:cxn ang="0">
                    <a:pos x="6" y="0"/>
                  </a:cxn>
                  <a:cxn ang="0">
                    <a:pos x="0" y="21"/>
                  </a:cxn>
                  <a:cxn ang="0">
                    <a:pos x="0" y="21"/>
                  </a:cxn>
                </a:cxnLst>
                <a:rect l="0" t="0" r="r" b="b"/>
                <a:pathLst>
                  <a:path w="153" h="129">
                    <a:moveTo>
                      <a:pt x="0" y="21"/>
                    </a:moveTo>
                    <a:lnTo>
                      <a:pt x="0" y="21"/>
                    </a:lnTo>
                    <a:lnTo>
                      <a:pt x="6" y="125"/>
                    </a:lnTo>
                    <a:lnTo>
                      <a:pt x="129" y="128"/>
                    </a:lnTo>
                    <a:lnTo>
                      <a:pt x="150" y="112"/>
                    </a:lnTo>
                    <a:lnTo>
                      <a:pt x="152" y="101"/>
                    </a:lnTo>
                    <a:lnTo>
                      <a:pt x="106" y="27"/>
                    </a:lnTo>
                    <a:lnTo>
                      <a:pt x="129" y="51"/>
                    </a:lnTo>
                    <a:lnTo>
                      <a:pt x="140" y="30"/>
                    </a:lnTo>
                    <a:lnTo>
                      <a:pt x="129" y="4"/>
                    </a:lnTo>
                    <a:lnTo>
                      <a:pt x="100" y="8"/>
                    </a:lnTo>
                    <a:lnTo>
                      <a:pt x="100" y="1"/>
                    </a:lnTo>
                    <a:lnTo>
                      <a:pt x="84" y="1"/>
                    </a:lnTo>
                    <a:lnTo>
                      <a:pt x="59" y="11"/>
                    </a:lnTo>
                    <a:lnTo>
                      <a:pt x="6" y="0"/>
                    </a:lnTo>
                    <a:lnTo>
                      <a:pt x="0" y="21"/>
                    </a:lnTo>
                    <a:lnTo>
                      <a:pt x="0" y="21"/>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7" name="Djibouti">
                <a:extLst>
                  <a:ext uri="{FF2B5EF4-FFF2-40B4-BE49-F238E27FC236}">
                    <a16:creationId xmlns:a16="http://schemas.microsoft.com/office/drawing/2014/main" id="{D21FBC88-6FE3-CB83-6F47-FA4D4C015D90}"/>
                  </a:ext>
                </a:extLst>
              </p:cNvPr>
              <p:cNvSpPr>
                <a:spLocks noGrp="1" noRot="1" noMove="1" noResize="1" noEditPoints="1" noAdjustHandles="1" noChangeArrowheads="1" noChangeShapeType="1"/>
              </p:cNvSpPr>
              <p:nvPr/>
            </p:nvSpPr>
            <p:spPr bwMode="gray">
              <a:xfrm>
                <a:off x="5780514" y="4325769"/>
                <a:ext cx="40741" cy="53228"/>
              </a:xfrm>
              <a:custGeom>
                <a:avLst/>
                <a:gdLst/>
                <a:ahLst/>
                <a:cxnLst>
                  <a:cxn ang="0">
                    <a:pos x="0" y="18"/>
                  </a:cxn>
                  <a:cxn ang="0">
                    <a:pos x="0" y="18"/>
                  </a:cxn>
                  <a:cxn ang="0">
                    <a:pos x="15" y="23"/>
                  </a:cxn>
                  <a:cxn ang="0">
                    <a:pos x="21" y="16"/>
                  </a:cxn>
                  <a:cxn ang="0">
                    <a:pos x="10" y="14"/>
                  </a:cxn>
                  <a:cxn ang="0">
                    <a:pos x="22" y="9"/>
                  </a:cxn>
                  <a:cxn ang="0">
                    <a:pos x="17" y="0"/>
                  </a:cxn>
                  <a:cxn ang="0">
                    <a:pos x="0" y="18"/>
                  </a:cxn>
                  <a:cxn ang="0">
                    <a:pos x="0" y="18"/>
                  </a:cxn>
                </a:cxnLst>
                <a:rect l="0" t="0" r="r" b="b"/>
                <a:pathLst>
                  <a:path w="23" h="24">
                    <a:moveTo>
                      <a:pt x="0" y="18"/>
                    </a:moveTo>
                    <a:lnTo>
                      <a:pt x="0" y="18"/>
                    </a:lnTo>
                    <a:lnTo>
                      <a:pt x="15" y="23"/>
                    </a:lnTo>
                    <a:lnTo>
                      <a:pt x="21" y="16"/>
                    </a:lnTo>
                    <a:lnTo>
                      <a:pt x="10" y="14"/>
                    </a:lnTo>
                    <a:lnTo>
                      <a:pt x="22" y="9"/>
                    </a:lnTo>
                    <a:lnTo>
                      <a:pt x="17" y="0"/>
                    </a:lnTo>
                    <a:lnTo>
                      <a:pt x="0" y="18"/>
                    </a:lnTo>
                    <a:lnTo>
                      <a:pt x="0" y="1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8" name="Republic of The Congo">
                <a:extLst>
                  <a:ext uri="{FF2B5EF4-FFF2-40B4-BE49-F238E27FC236}">
                    <a16:creationId xmlns:a16="http://schemas.microsoft.com/office/drawing/2014/main" id="{0E606985-CD34-2997-CE25-29C7C3B5B783}"/>
                  </a:ext>
                </a:extLst>
              </p:cNvPr>
              <p:cNvSpPr>
                <a:spLocks noGrp="1" noRot="1" noMove="1" noResize="1" noEditPoints="1" noAdjustHandles="1" noChangeArrowheads="1" noChangeShapeType="1"/>
              </p:cNvSpPr>
              <p:nvPr/>
            </p:nvSpPr>
            <p:spPr bwMode="gray">
              <a:xfrm>
                <a:off x="5021435" y="4574165"/>
                <a:ext cx="188698" cy="239524"/>
              </a:xfrm>
              <a:custGeom>
                <a:avLst/>
                <a:gdLst/>
                <a:ahLst/>
                <a:cxnLst>
                  <a:cxn ang="0">
                    <a:pos x="0" y="93"/>
                  </a:cxn>
                  <a:cxn ang="0">
                    <a:pos x="0" y="93"/>
                  </a:cxn>
                  <a:cxn ang="0">
                    <a:pos x="11" y="106"/>
                  </a:cxn>
                  <a:cxn ang="0">
                    <a:pos x="25" y="102"/>
                  </a:cxn>
                  <a:cxn ang="0">
                    <a:pos x="46" y="104"/>
                  </a:cxn>
                  <a:cxn ang="0">
                    <a:pos x="65" y="92"/>
                  </a:cxn>
                  <a:cxn ang="0">
                    <a:pos x="70" y="71"/>
                  </a:cxn>
                  <a:cxn ang="0">
                    <a:pos x="90" y="54"/>
                  </a:cxn>
                  <a:cxn ang="0">
                    <a:pos x="103" y="0"/>
                  </a:cxn>
                  <a:cxn ang="0">
                    <a:pos x="79" y="0"/>
                  </a:cxn>
                  <a:cxn ang="0">
                    <a:pos x="67" y="10"/>
                  </a:cxn>
                  <a:cxn ang="0">
                    <a:pos x="65" y="27"/>
                  </a:cxn>
                  <a:cxn ang="0">
                    <a:pos x="29" y="19"/>
                  </a:cxn>
                  <a:cxn ang="0">
                    <a:pos x="28" y="30"/>
                  </a:cxn>
                  <a:cxn ang="0">
                    <a:pos x="43" y="32"/>
                  </a:cxn>
                  <a:cxn ang="0">
                    <a:pos x="38" y="73"/>
                  </a:cxn>
                  <a:cxn ang="0">
                    <a:pos x="20" y="68"/>
                  </a:cxn>
                  <a:cxn ang="0">
                    <a:pos x="0" y="93"/>
                  </a:cxn>
                  <a:cxn ang="0">
                    <a:pos x="0" y="93"/>
                  </a:cxn>
                </a:cxnLst>
                <a:rect l="0" t="0" r="r" b="b"/>
                <a:pathLst>
                  <a:path w="104" h="107">
                    <a:moveTo>
                      <a:pt x="0" y="93"/>
                    </a:moveTo>
                    <a:lnTo>
                      <a:pt x="0" y="93"/>
                    </a:lnTo>
                    <a:lnTo>
                      <a:pt x="11" y="106"/>
                    </a:lnTo>
                    <a:lnTo>
                      <a:pt x="25" y="102"/>
                    </a:lnTo>
                    <a:lnTo>
                      <a:pt x="46" y="104"/>
                    </a:lnTo>
                    <a:lnTo>
                      <a:pt x="65" y="92"/>
                    </a:lnTo>
                    <a:lnTo>
                      <a:pt x="70" y="71"/>
                    </a:lnTo>
                    <a:lnTo>
                      <a:pt x="90" y="54"/>
                    </a:lnTo>
                    <a:lnTo>
                      <a:pt x="103" y="0"/>
                    </a:lnTo>
                    <a:lnTo>
                      <a:pt x="79" y="0"/>
                    </a:lnTo>
                    <a:lnTo>
                      <a:pt x="67" y="10"/>
                    </a:lnTo>
                    <a:lnTo>
                      <a:pt x="65" y="27"/>
                    </a:lnTo>
                    <a:lnTo>
                      <a:pt x="29" y="19"/>
                    </a:lnTo>
                    <a:lnTo>
                      <a:pt x="28" y="30"/>
                    </a:lnTo>
                    <a:lnTo>
                      <a:pt x="43" y="32"/>
                    </a:lnTo>
                    <a:lnTo>
                      <a:pt x="38" y="73"/>
                    </a:lnTo>
                    <a:lnTo>
                      <a:pt x="20" y="68"/>
                    </a:lnTo>
                    <a:lnTo>
                      <a:pt x="0" y="93"/>
                    </a:lnTo>
                    <a:lnTo>
                      <a:pt x="0" y="93"/>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9" name="Democratic Republic of The Congo">
                <a:extLst>
                  <a:ext uri="{FF2B5EF4-FFF2-40B4-BE49-F238E27FC236}">
                    <a16:creationId xmlns:a16="http://schemas.microsoft.com/office/drawing/2014/main" id="{63430381-F46E-FADC-E579-0DD8A853BF6A}"/>
                  </a:ext>
                </a:extLst>
              </p:cNvPr>
              <p:cNvSpPr>
                <a:spLocks noGrp="1" noRot="1" noMove="1" noResize="1" noEditPoints="1" noAdjustHandles="1" noChangeArrowheads="1" noChangeShapeType="1"/>
              </p:cNvSpPr>
              <p:nvPr/>
            </p:nvSpPr>
            <p:spPr bwMode="gray">
              <a:xfrm>
                <a:off x="5049311" y="4534244"/>
                <a:ext cx="473889" cy="507879"/>
              </a:xfrm>
              <a:custGeom>
                <a:avLst/>
                <a:gdLst/>
                <a:ahLst/>
                <a:cxnLst>
                  <a:cxn ang="0">
                    <a:pos x="0" y="132"/>
                  </a:cxn>
                  <a:cxn ang="0">
                    <a:pos x="0" y="132"/>
                  </a:cxn>
                  <a:cxn ang="0">
                    <a:pos x="0" y="138"/>
                  </a:cxn>
                  <a:cxn ang="0">
                    <a:pos x="52" y="132"/>
                  </a:cxn>
                  <a:cxn ang="0">
                    <a:pos x="75" y="161"/>
                  </a:cxn>
                  <a:cxn ang="0">
                    <a:pos x="94" y="159"/>
                  </a:cxn>
                  <a:cxn ang="0">
                    <a:pos x="98" y="146"/>
                  </a:cxn>
                  <a:cxn ang="0">
                    <a:pos x="116" y="145"/>
                  </a:cxn>
                  <a:cxn ang="0">
                    <a:pos x="129" y="154"/>
                  </a:cxn>
                  <a:cxn ang="0">
                    <a:pos x="132" y="198"/>
                  </a:cxn>
                  <a:cxn ang="0">
                    <a:pos x="160" y="195"/>
                  </a:cxn>
                  <a:cxn ang="0">
                    <a:pos x="238" y="224"/>
                  </a:cxn>
                  <a:cxn ang="0">
                    <a:pos x="237" y="211"/>
                  </a:cxn>
                  <a:cxn ang="0">
                    <a:pos x="222" y="205"/>
                  </a:cxn>
                  <a:cxn ang="0">
                    <a:pos x="225" y="173"/>
                  </a:cxn>
                  <a:cxn ang="0">
                    <a:pos x="250" y="162"/>
                  </a:cxn>
                  <a:cxn ang="0">
                    <a:pos x="234" y="140"/>
                  </a:cxn>
                  <a:cxn ang="0">
                    <a:pos x="232" y="103"/>
                  </a:cxn>
                  <a:cxn ang="0">
                    <a:pos x="229" y="94"/>
                  </a:cxn>
                  <a:cxn ang="0">
                    <a:pos x="238" y="78"/>
                  </a:cxn>
                  <a:cxn ang="0">
                    <a:pos x="250" y="47"/>
                  </a:cxn>
                  <a:cxn ang="0">
                    <a:pos x="259" y="36"/>
                  </a:cxn>
                  <a:cxn ang="0">
                    <a:pos x="254" y="18"/>
                  </a:cxn>
                  <a:cxn ang="0">
                    <a:pos x="208" y="0"/>
                  </a:cxn>
                  <a:cxn ang="0">
                    <a:pos x="125" y="10"/>
                  </a:cxn>
                  <a:cxn ang="0">
                    <a:pos x="98" y="0"/>
                  </a:cxn>
                  <a:cxn ang="0">
                    <a:pos x="87" y="17"/>
                  </a:cxn>
                  <a:cxn ang="0">
                    <a:pos x="74" y="71"/>
                  </a:cxn>
                  <a:cxn ang="0">
                    <a:pos x="54" y="88"/>
                  </a:cxn>
                  <a:cxn ang="0">
                    <a:pos x="49" y="109"/>
                  </a:cxn>
                  <a:cxn ang="0">
                    <a:pos x="30" y="121"/>
                  </a:cxn>
                  <a:cxn ang="0">
                    <a:pos x="9" y="119"/>
                  </a:cxn>
                  <a:cxn ang="0">
                    <a:pos x="0" y="132"/>
                  </a:cxn>
                  <a:cxn ang="0">
                    <a:pos x="0" y="132"/>
                  </a:cxn>
                </a:cxnLst>
                <a:rect l="0" t="0" r="r" b="b"/>
                <a:pathLst>
                  <a:path w="260" h="225">
                    <a:moveTo>
                      <a:pt x="0" y="132"/>
                    </a:moveTo>
                    <a:lnTo>
                      <a:pt x="0" y="132"/>
                    </a:lnTo>
                    <a:lnTo>
                      <a:pt x="0" y="138"/>
                    </a:lnTo>
                    <a:lnTo>
                      <a:pt x="52" y="132"/>
                    </a:lnTo>
                    <a:lnTo>
                      <a:pt x="75" y="161"/>
                    </a:lnTo>
                    <a:lnTo>
                      <a:pt x="94" y="159"/>
                    </a:lnTo>
                    <a:lnTo>
                      <a:pt x="98" y="146"/>
                    </a:lnTo>
                    <a:lnTo>
                      <a:pt x="116" y="145"/>
                    </a:lnTo>
                    <a:lnTo>
                      <a:pt x="129" y="154"/>
                    </a:lnTo>
                    <a:lnTo>
                      <a:pt x="132" y="198"/>
                    </a:lnTo>
                    <a:lnTo>
                      <a:pt x="160" y="195"/>
                    </a:lnTo>
                    <a:lnTo>
                      <a:pt x="238" y="224"/>
                    </a:lnTo>
                    <a:lnTo>
                      <a:pt x="237" y="211"/>
                    </a:lnTo>
                    <a:lnTo>
                      <a:pt x="222" y="205"/>
                    </a:lnTo>
                    <a:lnTo>
                      <a:pt x="225" y="173"/>
                    </a:lnTo>
                    <a:lnTo>
                      <a:pt x="250" y="162"/>
                    </a:lnTo>
                    <a:lnTo>
                      <a:pt x="234" y="140"/>
                    </a:lnTo>
                    <a:lnTo>
                      <a:pt x="232" y="103"/>
                    </a:lnTo>
                    <a:lnTo>
                      <a:pt x="229" y="94"/>
                    </a:lnTo>
                    <a:lnTo>
                      <a:pt x="238" y="78"/>
                    </a:lnTo>
                    <a:lnTo>
                      <a:pt x="250" y="47"/>
                    </a:lnTo>
                    <a:lnTo>
                      <a:pt x="259" y="36"/>
                    </a:lnTo>
                    <a:lnTo>
                      <a:pt x="254" y="18"/>
                    </a:lnTo>
                    <a:lnTo>
                      <a:pt x="208" y="0"/>
                    </a:lnTo>
                    <a:lnTo>
                      <a:pt x="125" y="10"/>
                    </a:lnTo>
                    <a:lnTo>
                      <a:pt x="98" y="0"/>
                    </a:lnTo>
                    <a:lnTo>
                      <a:pt x="87" y="17"/>
                    </a:lnTo>
                    <a:lnTo>
                      <a:pt x="74" y="71"/>
                    </a:lnTo>
                    <a:lnTo>
                      <a:pt x="54" y="88"/>
                    </a:lnTo>
                    <a:lnTo>
                      <a:pt x="49" y="109"/>
                    </a:lnTo>
                    <a:lnTo>
                      <a:pt x="30" y="121"/>
                    </a:lnTo>
                    <a:lnTo>
                      <a:pt x="9" y="119"/>
                    </a:lnTo>
                    <a:lnTo>
                      <a:pt x="0" y="132"/>
                    </a:lnTo>
                    <a:lnTo>
                      <a:pt x="0" y="132"/>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0" name="Cote d'Ivoire">
                <a:extLst>
                  <a:ext uri="{FF2B5EF4-FFF2-40B4-BE49-F238E27FC236}">
                    <a16:creationId xmlns:a16="http://schemas.microsoft.com/office/drawing/2014/main" id="{AD42B746-D653-82F2-875E-2E5F1ED3FB1D}"/>
                  </a:ext>
                </a:extLst>
              </p:cNvPr>
              <p:cNvSpPr>
                <a:spLocks noGrp="1" noRot="1" noMove="1" noResize="1" noEditPoints="1" noAdjustHandles="1" noChangeArrowheads="1" noChangeShapeType="1"/>
              </p:cNvSpPr>
              <p:nvPr/>
            </p:nvSpPr>
            <p:spPr bwMode="gray">
              <a:xfrm>
                <a:off x="4532537" y="4378997"/>
                <a:ext cx="150100" cy="175207"/>
              </a:xfrm>
              <a:custGeom>
                <a:avLst/>
                <a:gdLst/>
                <a:ahLst/>
                <a:cxnLst>
                  <a:cxn ang="0">
                    <a:pos x="0" y="51"/>
                  </a:cxn>
                  <a:cxn ang="0">
                    <a:pos x="0" y="51"/>
                  </a:cxn>
                  <a:cxn ang="0">
                    <a:pos x="2" y="40"/>
                  </a:cxn>
                  <a:cxn ang="0">
                    <a:pos x="4" y="28"/>
                  </a:cxn>
                  <a:cxn ang="0">
                    <a:pos x="12" y="29"/>
                  </a:cxn>
                  <a:cxn ang="0">
                    <a:pos x="8" y="7"/>
                  </a:cxn>
                  <a:cxn ang="0">
                    <a:pos x="32" y="0"/>
                  </a:cxn>
                  <a:cxn ang="0">
                    <a:pos x="46" y="5"/>
                  </a:cxn>
                  <a:cxn ang="0">
                    <a:pos x="53" y="12"/>
                  </a:cxn>
                  <a:cxn ang="0">
                    <a:pos x="81" y="16"/>
                  </a:cxn>
                  <a:cxn ang="0">
                    <a:pos x="75" y="70"/>
                  </a:cxn>
                  <a:cxn ang="0">
                    <a:pos x="13" y="77"/>
                  </a:cxn>
                  <a:cxn ang="0">
                    <a:pos x="15" y="60"/>
                  </a:cxn>
                  <a:cxn ang="0">
                    <a:pos x="0" y="51"/>
                  </a:cxn>
                  <a:cxn ang="0">
                    <a:pos x="0" y="51"/>
                  </a:cxn>
                </a:cxnLst>
                <a:rect l="0" t="0" r="r" b="b"/>
                <a:pathLst>
                  <a:path w="82" h="78">
                    <a:moveTo>
                      <a:pt x="0" y="51"/>
                    </a:moveTo>
                    <a:lnTo>
                      <a:pt x="0" y="51"/>
                    </a:lnTo>
                    <a:lnTo>
                      <a:pt x="2" y="40"/>
                    </a:lnTo>
                    <a:lnTo>
                      <a:pt x="4" y="28"/>
                    </a:lnTo>
                    <a:lnTo>
                      <a:pt x="12" y="29"/>
                    </a:lnTo>
                    <a:lnTo>
                      <a:pt x="8" y="7"/>
                    </a:lnTo>
                    <a:lnTo>
                      <a:pt x="32" y="0"/>
                    </a:lnTo>
                    <a:lnTo>
                      <a:pt x="46" y="5"/>
                    </a:lnTo>
                    <a:lnTo>
                      <a:pt x="53" y="12"/>
                    </a:lnTo>
                    <a:lnTo>
                      <a:pt x="81" y="16"/>
                    </a:lnTo>
                    <a:lnTo>
                      <a:pt x="75" y="70"/>
                    </a:lnTo>
                    <a:lnTo>
                      <a:pt x="13" y="77"/>
                    </a:lnTo>
                    <a:lnTo>
                      <a:pt x="15" y="60"/>
                    </a:lnTo>
                    <a:lnTo>
                      <a:pt x="0" y="51"/>
                    </a:lnTo>
                    <a:lnTo>
                      <a:pt x="0" y="51"/>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1" name="Chad">
                <a:extLst>
                  <a:ext uri="{FF2B5EF4-FFF2-40B4-BE49-F238E27FC236}">
                    <a16:creationId xmlns:a16="http://schemas.microsoft.com/office/drawing/2014/main" id="{AECC3BBD-4D64-1D42-A9E4-5C8A023EFB0B}"/>
                  </a:ext>
                </a:extLst>
              </p:cNvPr>
              <p:cNvSpPr>
                <a:spLocks noGrp="1" noRot="1" noMove="1" noResize="1" noEditPoints="1" noAdjustHandles="1" noChangeArrowheads="1" noChangeShapeType="1"/>
              </p:cNvSpPr>
              <p:nvPr/>
            </p:nvSpPr>
            <p:spPr bwMode="gray">
              <a:xfrm>
                <a:off x="5075043" y="4021929"/>
                <a:ext cx="268037" cy="452434"/>
              </a:xfrm>
              <a:custGeom>
                <a:avLst/>
                <a:gdLst/>
                <a:ahLst/>
                <a:cxnLst>
                  <a:cxn ang="0">
                    <a:pos x="0" y="115"/>
                  </a:cxn>
                  <a:cxn ang="0">
                    <a:pos x="0" y="115"/>
                  </a:cxn>
                  <a:cxn ang="0">
                    <a:pos x="22" y="125"/>
                  </a:cxn>
                  <a:cxn ang="0">
                    <a:pos x="16" y="135"/>
                  </a:cxn>
                  <a:cxn ang="0">
                    <a:pos x="26" y="168"/>
                  </a:cxn>
                  <a:cxn ang="0">
                    <a:pos x="9" y="175"/>
                  </a:cxn>
                  <a:cxn ang="0">
                    <a:pos x="28" y="200"/>
                  </a:cxn>
                  <a:cxn ang="0">
                    <a:pos x="73" y="192"/>
                  </a:cxn>
                  <a:cxn ang="0">
                    <a:pos x="77" y="182"/>
                  </a:cxn>
                  <a:cxn ang="0">
                    <a:pos x="97" y="178"/>
                  </a:cxn>
                  <a:cxn ang="0">
                    <a:pos x="128" y="157"/>
                  </a:cxn>
                  <a:cxn ang="0">
                    <a:pos x="117" y="133"/>
                  </a:cxn>
                  <a:cxn ang="0">
                    <a:pos x="132" y="100"/>
                  </a:cxn>
                  <a:cxn ang="0">
                    <a:pos x="146" y="97"/>
                  </a:cxn>
                  <a:cxn ang="0">
                    <a:pos x="146" y="50"/>
                  </a:cxn>
                  <a:cxn ang="0">
                    <a:pos x="37" y="0"/>
                  </a:cxn>
                  <a:cxn ang="0">
                    <a:pos x="23" y="5"/>
                  </a:cxn>
                  <a:cxn ang="0">
                    <a:pos x="23" y="25"/>
                  </a:cxn>
                  <a:cxn ang="0">
                    <a:pos x="37" y="39"/>
                  </a:cxn>
                  <a:cxn ang="0">
                    <a:pos x="28" y="83"/>
                  </a:cxn>
                  <a:cxn ang="0">
                    <a:pos x="0" y="115"/>
                  </a:cxn>
                  <a:cxn ang="0">
                    <a:pos x="0" y="115"/>
                  </a:cxn>
                </a:cxnLst>
                <a:rect l="0" t="0" r="r" b="b"/>
                <a:pathLst>
                  <a:path w="147" h="201">
                    <a:moveTo>
                      <a:pt x="0" y="115"/>
                    </a:moveTo>
                    <a:lnTo>
                      <a:pt x="0" y="115"/>
                    </a:lnTo>
                    <a:lnTo>
                      <a:pt x="22" y="125"/>
                    </a:lnTo>
                    <a:lnTo>
                      <a:pt x="16" y="135"/>
                    </a:lnTo>
                    <a:lnTo>
                      <a:pt x="26" y="168"/>
                    </a:lnTo>
                    <a:lnTo>
                      <a:pt x="9" y="175"/>
                    </a:lnTo>
                    <a:lnTo>
                      <a:pt x="28" y="200"/>
                    </a:lnTo>
                    <a:lnTo>
                      <a:pt x="73" y="192"/>
                    </a:lnTo>
                    <a:lnTo>
                      <a:pt x="77" y="182"/>
                    </a:lnTo>
                    <a:lnTo>
                      <a:pt x="97" y="178"/>
                    </a:lnTo>
                    <a:lnTo>
                      <a:pt x="128" y="157"/>
                    </a:lnTo>
                    <a:lnTo>
                      <a:pt x="117" y="133"/>
                    </a:lnTo>
                    <a:lnTo>
                      <a:pt x="132" y="100"/>
                    </a:lnTo>
                    <a:lnTo>
                      <a:pt x="146" y="97"/>
                    </a:lnTo>
                    <a:lnTo>
                      <a:pt x="146" y="50"/>
                    </a:lnTo>
                    <a:lnTo>
                      <a:pt x="37" y="0"/>
                    </a:lnTo>
                    <a:lnTo>
                      <a:pt x="23" y="5"/>
                    </a:lnTo>
                    <a:lnTo>
                      <a:pt x="23" y="25"/>
                    </a:lnTo>
                    <a:lnTo>
                      <a:pt x="37" y="39"/>
                    </a:lnTo>
                    <a:lnTo>
                      <a:pt x="28" y="83"/>
                    </a:lnTo>
                    <a:lnTo>
                      <a:pt x="0" y="115"/>
                    </a:lnTo>
                    <a:lnTo>
                      <a:pt x="0" y="11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2" name="Central African Republic">
                <a:extLst>
                  <a:ext uri="{FF2B5EF4-FFF2-40B4-BE49-F238E27FC236}">
                    <a16:creationId xmlns:a16="http://schemas.microsoft.com/office/drawing/2014/main" id="{E28FF035-74D0-09D2-1B26-BF896AE47DD1}"/>
                  </a:ext>
                </a:extLst>
              </p:cNvPr>
              <p:cNvSpPr>
                <a:spLocks noGrp="1" noRot="1" noMove="1" noResize="1" noEditPoints="1" noAdjustHandles="1" noChangeArrowheads="1" noChangeShapeType="1"/>
              </p:cNvSpPr>
              <p:nvPr/>
            </p:nvSpPr>
            <p:spPr bwMode="gray">
              <a:xfrm>
                <a:off x="5105062" y="4374561"/>
                <a:ext cx="323787" cy="223999"/>
              </a:xfrm>
              <a:custGeom>
                <a:avLst/>
                <a:gdLst/>
                <a:ahLst/>
                <a:cxnLst>
                  <a:cxn ang="0">
                    <a:pos x="0" y="75"/>
                  </a:cxn>
                  <a:cxn ang="0">
                    <a:pos x="0" y="75"/>
                  </a:cxn>
                  <a:cxn ang="0">
                    <a:pos x="12" y="43"/>
                  </a:cxn>
                  <a:cxn ang="0">
                    <a:pos x="57" y="35"/>
                  </a:cxn>
                  <a:cxn ang="0">
                    <a:pos x="61" y="25"/>
                  </a:cxn>
                  <a:cxn ang="0">
                    <a:pos x="81" y="21"/>
                  </a:cxn>
                  <a:cxn ang="0">
                    <a:pos x="112" y="0"/>
                  </a:cxn>
                  <a:cxn ang="0">
                    <a:pos x="122" y="26"/>
                  </a:cxn>
                  <a:cxn ang="0">
                    <a:pos x="145" y="35"/>
                  </a:cxn>
                  <a:cxn ang="0">
                    <a:pos x="178" y="71"/>
                  </a:cxn>
                  <a:cxn ang="0">
                    <a:pos x="95" y="81"/>
                  </a:cxn>
                  <a:cxn ang="0">
                    <a:pos x="68" y="71"/>
                  </a:cxn>
                  <a:cxn ang="0">
                    <a:pos x="57" y="88"/>
                  </a:cxn>
                  <a:cxn ang="0">
                    <a:pos x="33" y="88"/>
                  </a:cxn>
                  <a:cxn ang="0">
                    <a:pos x="21" y="98"/>
                  </a:cxn>
                  <a:cxn ang="0">
                    <a:pos x="0" y="75"/>
                  </a:cxn>
                  <a:cxn ang="0">
                    <a:pos x="0" y="75"/>
                  </a:cxn>
                </a:cxnLst>
                <a:rect l="0" t="0" r="r" b="b"/>
                <a:pathLst>
                  <a:path w="179" h="99">
                    <a:moveTo>
                      <a:pt x="0" y="75"/>
                    </a:moveTo>
                    <a:lnTo>
                      <a:pt x="0" y="75"/>
                    </a:lnTo>
                    <a:lnTo>
                      <a:pt x="12" y="43"/>
                    </a:lnTo>
                    <a:lnTo>
                      <a:pt x="57" y="35"/>
                    </a:lnTo>
                    <a:lnTo>
                      <a:pt x="61" y="25"/>
                    </a:lnTo>
                    <a:lnTo>
                      <a:pt x="81" y="21"/>
                    </a:lnTo>
                    <a:lnTo>
                      <a:pt x="112" y="0"/>
                    </a:lnTo>
                    <a:lnTo>
                      <a:pt x="122" y="26"/>
                    </a:lnTo>
                    <a:lnTo>
                      <a:pt x="145" y="35"/>
                    </a:lnTo>
                    <a:lnTo>
                      <a:pt x="178" y="71"/>
                    </a:lnTo>
                    <a:lnTo>
                      <a:pt x="95" y="81"/>
                    </a:lnTo>
                    <a:lnTo>
                      <a:pt x="68" y="71"/>
                    </a:lnTo>
                    <a:lnTo>
                      <a:pt x="57" y="88"/>
                    </a:lnTo>
                    <a:lnTo>
                      <a:pt x="33" y="88"/>
                    </a:lnTo>
                    <a:lnTo>
                      <a:pt x="21" y="98"/>
                    </a:lnTo>
                    <a:lnTo>
                      <a:pt x="0" y="75"/>
                    </a:lnTo>
                    <a:lnTo>
                      <a:pt x="0" y="75"/>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3" name="Cameroon">
                <a:extLst>
                  <a:ext uri="{FF2B5EF4-FFF2-40B4-BE49-F238E27FC236}">
                    <a16:creationId xmlns:a16="http://schemas.microsoft.com/office/drawing/2014/main" id="{64D93B52-D439-5298-F089-E0EDB5104754}"/>
                  </a:ext>
                </a:extLst>
              </p:cNvPr>
              <p:cNvSpPr>
                <a:spLocks noGrp="1" noRot="1" noMove="1" noResize="1" noEditPoints="1" noAdjustHandles="1" noChangeArrowheads="1" noChangeShapeType="1"/>
              </p:cNvSpPr>
              <p:nvPr/>
            </p:nvSpPr>
            <p:spPr bwMode="gray">
              <a:xfrm>
                <a:off x="4954961" y="4325769"/>
                <a:ext cx="190841" cy="310493"/>
              </a:xfrm>
              <a:custGeom>
                <a:avLst/>
                <a:gdLst/>
                <a:ahLst/>
                <a:cxnLst>
                  <a:cxn ang="0">
                    <a:pos x="0" y="97"/>
                  </a:cxn>
                  <a:cxn ang="0">
                    <a:pos x="0" y="97"/>
                  </a:cxn>
                  <a:cxn ang="0">
                    <a:pos x="14" y="71"/>
                  </a:cxn>
                  <a:cxn ang="0">
                    <a:pos x="40" y="75"/>
                  </a:cxn>
                  <a:cxn ang="0">
                    <a:pos x="68" y="22"/>
                  </a:cxn>
                  <a:cxn ang="0">
                    <a:pos x="82" y="13"/>
                  </a:cxn>
                  <a:cxn ang="0">
                    <a:pos x="76" y="2"/>
                  </a:cxn>
                  <a:cxn ang="0">
                    <a:pos x="83" y="0"/>
                  </a:cxn>
                  <a:cxn ang="0">
                    <a:pos x="93" y="33"/>
                  </a:cxn>
                  <a:cxn ang="0">
                    <a:pos x="76" y="40"/>
                  </a:cxn>
                  <a:cxn ang="0">
                    <a:pos x="95" y="65"/>
                  </a:cxn>
                  <a:cxn ang="0">
                    <a:pos x="83" y="97"/>
                  </a:cxn>
                  <a:cxn ang="0">
                    <a:pos x="104" y="120"/>
                  </a:cxn>
                  <a:cxn ang="0">
                    <a:pos x="102" y="137"/>
                  </a:cxn>
                  <a:cxn ang="0">
                    <a:pos x="66" y="129"/>
                  </a:cxn>
                  <a:cxn ang="0">
                    <a:pos x="39" y="129"/>
                  </a:cxn>
                  <a:cxn ang="0">
                    <a:pos x="16" y="129"/>
                  </a:cxn>
                  <a:cxn ang="0">
                    <a:pos x="16" y="106"/>
                  </a:cxn>
                  <a:cxn ang="0">
                    <a:pos x="0" y="97"/>
                  </a:cxn>
                  <a:cxn ang="0">
                    <a:pos x="0" y="97"/>
                  </a:cxn>
                </a:cxnLst>
                <a:rect l="0" t="0" r="r" b="b"/>
                <a:pathLst>
                  <a:path w="105" h="138">
                    <a:moveTo>
                      <a:pt x="0" y="97"/>
                    </a:moveTo>
                    <a:lnTo>
                      <a:pt x="0" y="97"/>
                    </a:lnTo>
                    <a:lnTo>
                      <a:pt x="14" y="71"/>
                    </a:lnTo>
                    <a:lnTo>
                      <a:pt x="40" y="75"/>
                    </a:lnTo>
                    <a:lnTo>
                      <a:pt x="68" y="22"/>
                    </a:lnTo>
                    <a:lnTo>
                      <a:pt x="82" y="13"/>
                    </a:lnTo>
                    <a:lnTo>
                      <a:pt x="76" y="2"/>
                    </a:lnTo>
                    <a:lnTo>
                      <a:pt x="83" y="0"/>
                    </a:lnTo>
                    <a:lnTo>
                      <a:pt x="93" y="33"/>
                    </a:lnTo>
                    <a:lnTo>
                      <a:pt x="76" y="40"/>
                    </a:lnTo>
                    <a:lnTo>
                      <a:pt x="95" y="65"/>
                    </a:lnTo>
                    <a:lnTo>
                      <a:pt x="83" y="97"/>
                    </a:lnTo>
                    <a:lnTo>
                      <a:pt x="104" y="120"/>
                    </a:lnTo>
                    <a:lnTo>
                      <a:pt x="102" y="137"/>
                    </a:lnTo>
                    <a:lnTo>
                      <a:pt x="66" y="129"/>
                    </a:lnTo>
                    <a:lnTo>
                      <a:pt x="39" y="129"/>
                    </a:lnTo>
                    <a:lnTo>
                      <a:pt x="16" y="129"/>
                    </a:lnTo>
                    <a:lnTo>
                      <a:pt x="16" y="106"/>
                    </a:lnTo>
                    <a:lnTo>
                      <a:pt x="0" y="97"/>
                    </a:lnTo>
                    <a:lnTo>
                      <a:pt x="0" y="97"/>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4" name="Burundi">
                <a:extLst>
                  <a:ext uri="{FF2B5EF4-FFF2-40B4-BE49-F238E27FC236}">
                    <a16:creationId xmlns:a16="http://schemas.microsoft.com/office/drawing/2014/main" id="{74A2DC8B-3FF2-FB38-FCEE-F062DA7468C2}"/>
                  </a:ext>
                </a:extLst>
              </p:cNvPr>
              <p:cNvSpPr>
                <a:spLocks noGrp="1" noRot="1" noMove="1" noResize="1" noEditPoints="1" noAdjustHandles="1" noChangeArrowheads="1" noChangeShapeType="1"/>
              </p:cNvSpPr>
              <p:nvPr/>
            </p:nvSpPr>
            <p:spPr bwMode="gray">
              <a:xfrm>
                <a:off x="5465303" y="4738283"/>
                <a:ext cx="45030" cy="57663"/>
              </a:xfrm>
              <a:custGeom>
                <a:avLst/>
                <a:gdLst/>
                <a:ahLst/>
                <a:cxnLst>
                  <a:cxn ang="0">
                    <a:pos x="0" y="4"/>
                  </a:cxn>
                  <a:cxn ang="0">
                    <a:pos x="0" y="4"/>
                  </a:cxn>
                  <a:cxn ang="0">
                    <a:pos x="3" y="13"/>
                  </a:cxn>
                  <a:cxn ang="0">
                    <a:pos x="8" y="25"/>
                  </a:cxn>
                  <a:cxn ang="0">
                    <a:pos x="24" y="10"/>
                  </a:cxn>
                  <a:cxn ang="0">
                    <a:pos x="22" y="0"/>
                  </a:cxn>
                  <a:cxn ang="0">
                    <a:pos x="0" y="4"/>
                  </a:cxn>
                  <a:cxn ang="0">
                    <a:pos x="0" y="4"/>
                  </a:cxn>
                </a:cxnLst>
                <a:rect l="0" t="0" r="r" b="b"/>
                <a:pathLst>
                  <a:path w="25" h="26">
                    <a:moveTo>
                      <a:pt x="0" y="4"/>
                    </a:moveTo>
                    <a:lnTo>
                      <a:pt x="0" y="4"/>
                    </a:lnTo>
                    <a:lnTo>
                      <a:pt x="3" y="13"/>
                    </a:lnTo>
                    <a:lnTo>
                      <a:pt x="8" y="25"/>
                    </a:lnTo>
                    <a:lnTo>
                      <a:pt x="24" y="10"/>
                    </a:lnTo>
                    <a:lnTo>
                      <a:pt x="22" y="0"/>
                    </a:lnTo>
                    <a:lnTo>
                      <a:pt x="0" y="4"/>
                    </a:lnTo>
                    <a:lnTo>
                      <a:pt x="0" y="4"/>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5" name="Burkina Faso">
                <a:extLst>
                  <a:ext uri="{FF2B5EF4-FFF2-40B4-BE49-F238E27FC236}">
                    <a16:creationId xmlns:a16="http://schemas.microsoft.com/office/drawing/2014/main" id="{8C53D90B-8ACF-B29B-FB9D-A685DF486838}"/>
                  </a:ext>
                </a:extLst>
              </p:cNvPr>
              <p:cNvSpPr>
                <a:spLocks noGrp="1" noRot="1" noMove="1" noResize="1" noEditPoints="1" noAdjustHandles="1" noChangeArrowheads="1" noChangeShapeType="1"/>
              </p:cNvSpPr>
              <p:nvPr/>
            </p:nvSpPr>
            <p:spPr bwMode="gray">
              <a:xfrm>
                <a:off x="4616164" y="4261452"/>
                <a:ext cx="188698" cy="155247"/>
              </a:xfrm>
              <a:custGeom>
                <a:avLst/>
                <a:gdLst/>
                <a:ahLst/>
                <a:cxnLst>
                  <a:cxn ang="0">
                    <a:pos x="0" y="57"/>
                  </a:cxn>
                  <a:cxn ang="0">
                    <a:pos x="0" y="57"/>
                  </a:cxn>
                  <a:cxn ang="0">
                    <a:pos x="7" y="64"/>
                  </a:cxn>
                  <a:cxn ang="0">
                    <a:pos x="35" y="68"/>
                  </a:cxn>
                  <a:cxn ang="0">
                    <a:pos x="32" y="50"/>
                  </a:cxn>
                  <a:cxn ang="0">
                    <a:pos x="69" y="47"/>
                  </a:cxn>
                  <a:cxn ang="0">
                    <a:pos x="83" y="50"/>
                  </a:cxn>
                  <a:cxn ang="0">
                    <a:pos x="103" y="37"/>
                  </a:cxn>
                  <a:cxn ang="0">
                    <a:pos x="76" y="12"/>
                  </a:cxn>
                  <a:cxn ang="0">
                    <a:pos x="74" y="0"/>
                  </a:cxn>
                  <a:cxn ang="0">
                    <a:pos x="17" y="22"/>
                  </a:cxn>
                  <a:cxn ang="0">
                    <a:pos x="0" y="57"/>
                  </a:cxn>
                  <a:cxn ang="0">
                    <a:pos x="0" y="57"/>
                  </a:cxn>
                </a:cxnLst>
                <a:rect l="0" t="0" r="r" b="b"/>
                <a:pathLst>
                  <a:path w="104" h="69">
                    <a:moveTo>
                      <a:pt x="0" y="57"/>
                    </a:moveTo>
                    <a:lnTo>
                      <a:pt x="0" y="57"/>
                    </a:lnTo>
                    <a:lnTo>
                      <a:pt x="7" y="64"/>
                    </a:lnTo>
                    <a:lnTo>
                      <a:pt x="35" y="68"/>
                    </a:lnTo>
                    <a:lnTo>
                      <a:pt x="32" y="50"/>
                    </a:lnTo>
                    <a:lnTo>
                      <a:pt x="69" y="47"/>
                    </a:lnTo>
                    <a:lnTo>
                      <a:pt x="83" y="50"/>
                    </a:lnTo>
                    <a:lnTo>
                      <a:pt x="103" y="37"/>
                    </a:lnTo>
                    <a:lnTo>
                      <a:pt x="76" y="12"/>
                    </a:lnTo>
                    <a:lnTo>
                      <a:pt x="74" y="0"/>
                    </a:lnTo>
                    <a:lnTo>
                      <a:pt x="17" y="22"/>
                    </a:lnTo>
                    <a:lnTo>
                      <a:pt x="0" y="57"/>
                    </a:lnTo>
                    <a:lnTo>
                      <a:pt x="0" y="57"/>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6" name="Botswana">
                <a:extLst>
                  <a:ext uri="{FF2B5EF4-FFF2-40B4-BE49-F238E27FC236}">
                    <a16:creationId xmlns:a16="http://schemas.microsoft.com/office/drawing/2014/main" id="{A83CF975-C701-F624-8E6B-985168691A45}"/>
                  </a:ext>
                </a:extLst>
              </p:cNvPr>
              <p:cNvSpPr>
                <a:spLocks noGrp="1" noRot="1" noMove="1" noResize="1" noEditPoints="1" noAdjustHandles="1" noChangeArrowheads="1" noChangeShapeType="1"/>
              </p:cNvSpPr>
              <p:nvPr/>
            </p:nvSpPr>
            <p:spPr bwMode="gray">
              <a:xfrm>
                <a:off x="5238009" y="5168539"/>
                <a:ext cx="233728" cy="252831"/>
              </a:xfrm>
              <a:custGeom>
                <a:avLst/>
                <a:gdLst/>
                <a:ahLst/>
                <a:cxnLst>
                  <a:cxn ang="0">
                    <a:pos x="0" y="87"/>
                  </a:cxn>
                  <a:cxn ang="0">
                    <a:pos x="0" y="87"/>
                  </a:cxn>
                  <a:cxn ang="0">
                    <a:pos x="0" y="52"/>
                  </a:cxn>
                  <a:cxn ang="0">
                    <a:pos x="14" y="52"/>
                  </a:cxn>
                  <a:cxn ang="0">
                    <a:pos x="14" y="8"/>
                  </a:cxn>
                  <a:cxn ang="0">
                    <a:pos x="40" y="3"/>
                  </a:cxn>
                  <a:cxn ang="0">
                    <a:pos x="49" y="10"/>
                  </a:cxn>
                  <a:cxn ang="0">
                    <a:pos x="71" y="0"/>
                  </a:cxn>
                  <a:cxn ang="0">
                    <a:pos x="110" y="46"/>
                  </a:cxn>
                  <a:cxn ang="0">
                    <a:pos x="128" y="55"/>
                  </a:cxn>
                  <a:cxn ang="0">
                    <a:pos x="76" y="97"/>
                  </a:cxn>
                  <a:cxn ang="0">
                    <a:pos x="47" y="97"/>
                  </a:cxn>
                  <a:cxn ang="0">
                    <a:pos x="30" y="112"/>
                  </a:cxn>
                  <a:cxn ang="0">
                    <a:pos x="11" y="112"/>
                  </a:cxn>
                  <a:cxn ang="0">
                    <a:pos x="12" y="99"/>
                  </a:cxn>
                  <a:cxn ang="0">
                    <a:pos x="0" y="87"/>
                  </a:cxn>
                  <a:cxn ang="0">
                    <a:pos x="0" y="87"/>
                  </a:cxn>
                </a:cxnLst>
                <a:rect l="0" t="0" r="r" b="b"/>
                <a:pathLst>
                  <a:path w="129" h="113">
                    <a:moveTo>
                      <a:pt x="0" y="87"/>
                    </a:moveTo>
                    <a:lnTo>
                      <a:pt x="0" y="87"/>
                    </a:lnTo>
                    <a:lnTo>
                      <a:pt x="0" y="52"/>
                    </a:lnTo>
                    <a:lnTo>
                      <a:pt x="14" y="52"/>
                    </a:lnTo>
                    <a:lnTo>
                      <a:pt x="14" y="8"/>
                    </a:lnTo>
                    <a:lnTo>
                      <a:pt x="40" y="3"/>
                    </a:lnTo>
                    <a:lnTo>
                      <a:pt x="49" y="10"/>
                    </a:lnTo>
                    <a:lnTo>
                      <a:pt x="71" y="0"/>
                    </a:lnTo>
                    <a:lnTo>
                      <a:pt x="110" y="46"/>
                    </a:lnTo>
                    <a:lnTo>
                      <a:pt x="128" y="55"/>
                    </a:lnTo>
                    <a:lnTo>
                      <a:pt x="76" y="97"/>
                    </a:lnTo>
                    <a:lnTo>
                      <a:pt x="47" y="97"/>
                    </a:lnTo>
                    <a:lnTo>
                      <a:pt x="30" y="112"/>
                    </a:lnTo>
                    <a:lnTo>
                      <a:pt x="11" y="112"/>
                    </a:lnTo>
                    <a:lnTo>
                      <a:pt x="12" y="99"/>
                    </a:lnTo>
                    <a:lnTo>
                      <a:pt x="0" y="87"/>
                    </a:lnTo>
                    <a:lnTo>
                      <a:pt x="0" y="87"/>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7" name="Benin">
                <a:extLst>
                  <a:ext uri="{FF2B5EF4-FFF2-40B4-BE49-F238E27FC236}">
                    <a16:creationId xmlns:a16="http://schemas.microsoft.com/office/drawing/2014/main" id="{4CABD689-4C13-5C54-CD91-E95D50BB4B75}"/>
                  </a:ext>
                </a:extLst>
              </p:cNvPr>
              <p:cNvSpPr>
                <a:spLocks noGrp="1" noRot="1" noMove="1" noResize="1" noEditPoints="1" noAdjustHandles="1" noChangeArrowheads="1" noChangeShapeType="1"/>
              </p:cNvSpPr>
              <p:nvPr/>
            </p:nvSpPr>
            <p:spPr bwMode="gray">
              <a:xfrm>
                <a:off x="4766265" y="4334641"/>
                <a:ext cx="70762" cy="170771"/>
              </a:xfrm>
              <a:custGeom>
                <a:avLst/>
                <a:gdLst/>
                <a:ahLst/>
                <a:cxnLst>
                  <a:cxn ang="0">
                    <a:pos x="0" y="18"/>
                  </a:cxn>
                  <a:cxn ang="0">
                    <a:pos x="0" y="18"/>
                  </a:cxn>
                  <a:cxn ang="0">
                    <a:pos x="15" y="75"/>
                  </a:cxn>
                  <a:cxn ang="0">
                    <a:pos x="27" y="74"/>
                  </a:cxn>
                  <a:cxn ang="0">
                    <a:pos x="37" y="9"/>
                  </a:cxn>
                  <a:cxn ang="0">
                    <a:pos x="27" y="0"/>
                  </a:cxn>
                  <a:cxn ang="0">
                    <a:pos x="20" y="5"/>
                  </a:cxn>
                  <a:cxn ang="0">
                    <a:pos x="0" y="18"/>
                  </a:cxn>
                  <a:cxn ang="0">
                    <a:pos x="0" y="18"/>
                  </a:cxn>
                </a:cxnLst>
                <a:rect l="0" t="0" r="r" b="b"/>
                <a:pathLst>
                  <a:path w="38" h="76">
                    <a:moveTo>
                      <a:pt x="0" y="18"/>
                    </a:moveTo>
                    <a:lnTo>
                      <a:pt x="0" y="18"/>
                    </a:lnTo>
                    <a:lnTo>
                      <a:pt x="15" y="75"/>
                    </a:lnTo>
                    <a:lnTo>
                      <a:pt x="27" y="74"/>
                    </a:lnTo>
                    <a:lnTo>
                      <a:pt x="37" y="9"/>
                    </a:lnTo>
                    <a:lnTo>
                      <a:pt x="27" y="0"/>
                    </a:lnTo>
                    <a:lnTo>
                      <a:pt x="20" y="5"/>
                    </a:lnTo>
                    <a:lnTo>
                      <a:pt x="0" y="18"/>
                    </a:lnTo>
                    <a:lnTo>
                      <a:pt x="0" y="1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8" name="Angola">
                <a:extLst>
                  <a:ext uri="{FF2B5EF4-FFF2-40B4-BE49-F238E27FC236}">
                    <a16:creationId xmlns:a16="http://schemas.microsoft.com/office/drawing/2014/main" id="{C9B07CFC-C4EF-0596-546C-DB8E4267CF6F}"/>
                  </a:ext>
                </a:extLst>
              </p:cNvPr>
              <p:cNvSpPr>
                <a:spLocks noGrp="1" noRot="1" noMove="1" noResize="1" noEditPoints="1" noAdjustHandles="1" noChangeArrowheads="1" noChangeShapeType="1"/>
              </p:cNvSpPr>
              <p:nvPr/>
            </p:nvSpPr>
            <p:spPr bwMode="gray">
              <a:xfrm>
                <a:off x="5032156" y="4831430"/>
                <a:ext cx="311250" cy="343730"/>
              </a:xfrm>
              <a:custGeom>
                <a:avLst/>
                <a:gdLst>
                  <a:gd name="connsiteX0" fmla="*/ 0 w 9942"/>
                  <a:gd name="connsiteY0" fmla="*/ 9346 h 9935"/>
                  <a:gd name="connsiteX1" fmla="*/ 0 w 9942"/>
                  <a:gd name="connsiteY1" fmla="*/ 9346 h 9935"/>
                  <a:gd name="connsiteX2" fmla="*/ 1272 w 9942"/>
                  <a:gd name="connsiteY2" fmla="*/ 9020 h 9935"/>
                  <a:gd name="connsiteX3" fmla="*/ 7688 w 9942"/>
                  <a:gd name="connsiteY3" fmla="*/ 9935 h 9935"/>
                  <a:gd name="connsiteX4" fmla="*/ 9191 w 9942"/>
                  <a:gd name="connsiteY4" fmla="*/ 9542 h 9935"/>
                  <a:gd name="connsiteX5" fmla="*/ 8208 w 9942"/>
                  <a:gd name="connsiteY5" fmla="*/ 8758 h 9935"/>
                  <a:gd name="connsiteX6" fmla="*/ 8208 w 9942"/>
                  <a:gd name="connsiteY6" fmla="*/ 5752 h 9935"/>
                  <a:gd name="connsiteX7" fmla="*/ 9942 w 9942"/>
                  <a:gd name="connsiteY7" fmla="*/ 5752 h 9935"/>
                  <a:gd name="connsiteX8" fmla="*/ 9827 w 9942"/>
                  <a:gd name="connsiteY8" fmla="*/ 4118 h 9935"/>
                  <a:gd name="connsiteX9" fmla="*/ 8208 w 9942"/>
                  <a:gd name="connsiteY9" fmla="*/ 4314 h 9935"/>
                  <a:gd name="connsiteX10" fmla="*/ 8035 w 9942"/>
                  <a:gd name="connsiteY10" fmla="*/ 1438 h 9935"/>
                  <a:gd name="connsiteX11" fmla="*/ 7283 w 9942"/>
                  <a:gd name="connsiteY11" fmla="*/ 850 h 9935"/>
                  <a:gd name="connsiteX12" fmla="*/ 6243 w 9942"/>
                  <a:gd name="connsiteY12" fmla="*/ 915 h 9935"/>
                  <a:gd name="connsiteX13" fmla="*/ 6012 w 9942"/>
                  <a:gd name="connsiteY13" fmla="*/ 1765 h 9935"/>
                  <a:gd name="connsiteX14" fmla="*/ 4913 w 9942"/>
                  <a:gd name="connsiteY14" fmla="*/ 1895 h 9935"/>
                  <a:gd name="connsiteX15" fmla="*/ 3584 w 9942"/>
                  <a:gd name="connsiteY15" fmla="*/ 0 h 9935"/>
                  <a:gd name="connsiteX16" fmla="*/ 578 w 9942"/>
                  <a:gd name="connsiteY16" fmla="*/ 392 h 9935"/>
                  <a:gd name="connsiteX17" fmla="*/ 1676 w 9942"/>
                  <a:gd name="connsiteY17" fmla="*/ 4183 h 9935"/>
                  <a:gd name="connsiteX18" fmla="*/ 0 w 9942"/>
                  <a:gd name="connsiteY18" fmla="*/ 9346 h 9935"/>
                  <a:gd name="connsiteX19" fmla="*/ 0 w 9942"/>
                  <a:gd name="connsiteY19" fmla="*/ 9346 h 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942" h="9935">
                    <a:moveTo>
                      <a:pt x="0" y="9346"/>
                    </a:moveTo>
                    <a:lnTo>
                      <a:pt x="0" y="9346"/>
                    </a:lnTo>
                    <a:lnTo>
                      <a:pt x="1272" y="9020"/>
                    </a:lnTo>
                    <a:lnTo>
                      <a:pt x="7688" y="9935"/>
                    </a:lnTo>
                    <a:lnTo>
                      <a:pt x="9191" y="9542"/>
                    </a:lnTo>
                    <a:lnTo>
                      <a:pt x="8208" y="8758"/>
                    </a:lnTo>
                    <a:lnTo>
                      <a:pt x="8208" y="5752"/>
                    </a:lnTo>
                    <a:lnTo>
                      <a:pt x="9942" y="5752"/>
                    </a:lnTo>
                    <a:cubicBezTo>
                      <a:pt x="9904" y="5207"/>
                      <a:pt x="9865" y="4663"/>
                      <a:pt x="9827" y="4118"/>
                    </a:cubicBezTo>
                    <a:lnTo>
                      <a:pt x="8208" y="4314"/>
                    </a:lnTo>
                    <a:cubicBezTo>
                      <a:pt x="8150" y="3355"/>
                      <a:pt x="8093" y="2397"/>
                      <a:pt x="8035" y="1438"/>
                    </a:cubicBezTo>
                    <a:lnTo>
                      <a:pt x="7283" y="850"/>
                    </a:lnTo>
                    <a:lnTo>
                      <a:pt x="6243" y="915"/>
                    </a:lnTo>
                    <a:lnTo>
                      <a:pt x="6012" y="1765"/>
                    </a:lnTo>
                    <a:lnTo>
                      <a:pt x="4913" y="1895"/>
                    </a:lnTo>
                    <a:lnTo>
                      <a:pt x="3584" y="0"/>
                    </a:lnTo>
                    <a:lnTo>
                      <a:pt x="578" y="392"/>
                    </a:lnTo>
                    <a:lnTo>
                      <a:pt x="1676" y="4183"/>
                    </a:lnTo>
                    <a:lnTo>
                      <a:pt x="0" y="9346"/>
                    </a:lnTo>
                    <a:lnTo>
                      <a:pt x="0" y="9346"/>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9" name="Angola">
                <a:extLst>
                  <a:ext uri="{FF2B5EF4-FFF2-40B4-BE49-F238E27FC236}">
                    <a16:creationId xmlns:a16="http://schemas.microsoft.com/office/drawing/2014/main" id="{462B6BC5-DC82-87A2-16B1-18C0793FA369}"/>
                  </a:ext>
                </a:extLst>
              </p:cNvPr>
              <p:cNvSpPr>
                <a:spLocks noGrp="1" noRot="1" noMove="1" noResize="1" noEditPoints="1" noAdjustHandles="1" noChangeArrowheads="1" noChangeShapeType="1"/>
              </p:cNvSpPr>
              <p:nvPr/>
            </p:nvSpPr>
            <p:spPr bwMode="gray">
              <a:xfrm>
                <a:off x="5040734" y="4802600"/>
                <a:ext cx="26016" cy="28833"/>
              </a:xfrm>
              <a:custGeom>
                <a:avLst/>
                <a:gdLst>
                  <a:gd name="connsiteX0" fmla="*/ 0 w 9333"/>
                  <a:gd name="connsiteY0" fmla="*/ 2857 h 9286"/>
                  <a:gd name="connsiteX1" fmla="*/ 0 w 9333"/>
                  <a:gd name="connsiteY1" fmla="*/ 2857 h 9286"/>
                  <a:gd name="connsiteX2" fmla="*/ 3333 w 9333"/>
                  <a:gd name="connsiteY2" fmla="*/ 9286 h 9286"/>
                  <a:gd name="connsiteX3" fmla="*/ 9333 w 9333"/>
                  <a:gd name="connsiteY3" fmla="*/ 0 h 9286"/>
                  <a:gd name="connsiteX4" fmla="*/ 0 w 9333"/>
                  <a:gd name="connsiteY4" fmla="*/ 2857 h 9286"/>
                  <a:gd name="connsiteX5" fmla="*/ 0 w 9333"/>
                  <a:gd name="connsiteY5" fmla="*/ 2857 h 9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3" h="9286">
                    <a:moveTo>
                      <a:pt x="0" y="2857"/>
                    </a:moveTo>
                    <a:lnTo>
                      <a:pt x="0" y="2857"/>
                    </a:lnTo>
                    <a:lnTo>
                      <a:pt x="3333" y="9286"/>
                    </a:lnTo>
                    <a:lnTo>
                      <a:pt x="9333" y="0"/>
                    </a:lnTo>
                    <a:lnTo>
                      <a:pt x="0" y="2857"/>
                    </a:lnTo>
                    <a:lnTo>
                      <a:pt x="0" y="2857"/>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0" name="Algeria">
                <a:extLst>
                  <a:ext uri="{FF2B5EF4-FFF2-40B4-BE49-F238E27FC236}">
                    <a16:creationId xmlns:a16="http://schemas.microsoft.com/office/drawing/2014/main" id="{A5606B81-515C-5C12-4656-7FECD71700B1}"/>
                  </a:ext>
                </a:extLst>
              </p:cNvPr>
              <p:cNvSpPr>
                <a:spLocks noGrp="1" noRot="1" noMove="1" noResize="1" noEditPoints="1" noAdjustHandles="1" noChangeArrowheads="1" noChangeShapeType="1"/>
              </p:cNvSpPr>
              <p:nvPr/>
            </p:nvSpPr>
            <p:spPr bwMode="gray">
              <a:xfrm>
                <a:off x="4530392" y="3616070"/>
                <a:ext cx="506053" cy="536710"/>
              </a:xfrm>
              <a:custGeom>
                <a:avLst/>
                <a:gdLst/>
                <a:ahLst/>
                <a:cxnLst>
                  <a:cxn ang="0">
                    <a:pos x="0" y="126"/>
                  </a:cxn>
                  <a:cxn ang="0">
                    <a:pos x="0" y="126"/>
                  </a:cxn>
                  <a:cxn ang="0">
                    <a:pos x="1" y="130"/>
                  </a:cxn>
                  <a:cxn ang="0">
                    <a:pos x="52" y="161"/>
                  </a:cxn>
                  <a:cxn ang="0">
                    <a:pos x="162" y="226"/>
                  </a:cxn>
                  <a:cxn ang="0">
                    <a:pos x="163" y="237"/>
                  </a:cxn>
                  <a:cxn ang="0">
                    <a:pos x="174" y="236"/>
                  </a:cxn>
                  <a:cxn ang="0">
                    <a:pos x="195" y="230"/>
                  </a:cxn>
                  <a:cxn ang="0">
                    <a:pos x="277" y="179"/>
                  </a:cxn>
                  <a:cxn ang="0">
                    <a:pos x="246" y="146"/>
                  </a:cxn>
                  <a:cxn ang="0">
                    <a:pos x="246" y="91"/>
                  </a:cxn>
                  <a:cxn ang="0">
                    <a:pos x="242" y="66"/>
                  </a:cxn>
                  <a:cxn ang="0">
                    <a:pos x="219" y="42"/>
                  </a:cxn>
                  <a:cxn ang="0">
                    <a:pos x="231" y="33"/>
                  </a:cxn>
                  <a:cxn ang="0">
                    <a:pos x="237" y="0"/>
                  </a:cxn>
                  <a:cxn ang="0">
                    <a:pos x="139" y="6"/>
                  </a:cxn>
                  <a:cxn ang="0">
                    <a:pos x="88" y="25"/>
                  </a:cxn>
                  <a:cxn ang="0">
                    <a:pos x="101" y="65"/>
                  </a:cxn>
                  <a:cxn ang="0">
                    <a:pos x="79" y="66"/>
                  </a:cxn>
                  <a:cxn ang="0">
                    <a:pos x="67" y="71"/>
                  </a:cxn>
                  <a:cxn ang="0">
                    <a:pos x="69" y="81"/>
                  </a:cxn>
                  <a:cxn ang="0">
                    <a:pos x="8" y="106"/>
                  </a:cxn>
                  <a:cxn ang="0">
                    <a:pos x="0" y="126"/>
                  </a:cxn>
                  <a:cxn ang="0">
                    <a:pos x="0" y="126"/>
                  </a:cxn>
                </a:cxnLst>
                <a:rect l="0" t="0" r="r" b="b"/>
                <a:pathLst>
                  <a:path w="278" h="238">
                    <a:moveTo>
                      <a:pt x="0" y="126"/>
                    </a:moveTo>
                    <a:lnTo>
                      <a:pt x="0" y="126"/>
                    </a:lnTo>
                    <a:lnTo>
                      <a:pt x="1" y="130"/>
                    </a:lnTo>
                    <a:lnTo>
                      <a:pt x="52" y="161"/>
                    </a:lnTo>
                    <a:lnTo>
                      <a:pt x="162" y="226"/>
                    </a:lnTo>
                    <a:lnTo>
                      <a:pt x="163" y="237"/>
                    </a:lnTo>
                    <a:lnTo>
                      <a:pt x="174" y="236"/>
                    </a:lnTo>
                    <a:lnTo>
                      <a:pt x="195" y="230"/>
                    </a:lnTo>
                    <a:lnTo>
                      <a:pt x="277" y="179"/>
                    </a:lnTo>
                    <a:lnTo>
                      <a:pt x="246" y="146"/>
                    </a:lnTo>
                    <a:lnTo>
                      <a:pt x="246" y="91"/>
                    </a:lnTo>
                    <a:lnTo>
                      <a:pt x="242" y="66"/>
                    </a:lnTo>
                    <a:lnTo>
                      <a:pt x="219" y="42"/>
                    </a:lnTo>
                    <a:lnTo>
                      <a:pt x="231" y="33"/>
                    </a:lnTo>
                    <a:lnTo>
                      <a:pt x="237" y="0"/>
                    </a:lnTo>
                    <a:lnTo>
                      <a:pt x="139" y="6"/>
                    </a:lnTo>
                    <a:lnTo>
                      <a:pt x="88" y="25"/>
                    </a:lnTo>
                    <a:lnTo>
                      <a:pt x="101" y="65"/>
                    </a:lnTo>
                    <a:lnTo>
                      <a:pt x="79" y="66"/>
                    </a:lnTo>
                    <a:lnTo>
                      <a:pt x="67" y="71"/>
                    </a:lnTo>
                    <a:lnTo>
                      <a:pt x="69" y="81"/>
                    </a:lnTo>
                    <a:lnTo>
                      <a:pt x="8" y="106"/>
                    </a:lnTo>
                    <a:lnTo>
                      <a:pt x="0" y="126"/>
                    </a:lnTo>
                    <a:lnTo>
                      <a:pt x="0" y="126"/>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11" name="Asia &amp; Australasia">
              <a:extLst>
                <a:ext uri="{FF2B5EF4-FFF2-40B4-BE49-F238E27FC236}">
                  <a16:creationId xmlns:a16="http://schemas.microsoft.com/office/drawing/2014/main" id="{B939A3A2-0FEF-F4BC-3E01-4E657EF36BEE}"/>
                </a:ext>
              </a:extLst>
            </p:cNvPr>
            <p:cNvGrpSpPr>
              <a:grpSpLocks noGrp="1" noUngrp="1" noRot="1" noMove="1" noResize="1"/>
            </p:cNvGrpSpPr>
            <p:nvPr/>
          </p:nvGrpSpPr>
          <p:grpSpPr>
            <a:xfrm>
              <a:off x="6606080" y="3301978"/>
              <a:ext cx="6611929" cy="6129806"/>
              <a:chOff x="5861762" y="2985609"/>
              <a:chExt cx="3305435" cy="3064903"/>
            </a:xfrm>
            <a:grpFill/>
          </p:grpSpPr>
          <p:sp>
            <p:nvSpPr>
              <p:cNvPr id="12" name="Vietnam">
                <a:extLst>
                  <a:ext uri="{FF2B5EF4-FFF2-40B4-BE49-F238E27FC236}">
                    <a16:creationId xmlns:a16="http://schemas.microsoft.com/office/drawing/2014/main" id="{FED832DC-7520-A60A-44CF-0D4BB2D0F17E}"/>
                  </a:ext>
                </a:extLst>
              </p:cNvPr>
              <p:cNvSpPr>
                <a:spLocks noGrp="1" noRot="1" noChangeAspect="1" noMove="1" noResize="1" noEditPoints="1" noAdjustHandles="1" noChangeArrowheads="1" noChangeShapeType="1"/>
              </p:cNvSpPr>
              <p:nvPr/>
            </p:nvSpPr>
            <p:spPr bwMode="gray">
              <a:xfrm>
                <a:off x="7274829" y="4029978"/>
                <a:ext cx="171859" cy="409222"/>
              </a:xfrm>
              <a:custGeom>
                <a:avLst/>
                <a:gdLst>
                  <a:gd name="T0" fmla="*/ 0 w 95"/>
                  <a:gd name="T1" fmla="*/ 10 h 203"/>
                  <a:gd name="T2" fmla="*/ 0 w 95"/>
                  <a:gd name="T3" fmla="*/ 10 h 203"/>
                  <a:gd name="T4" fmla="*/ 14 w 95"/>
                  <a:gd name="T5" fmla="*/ 31 h 203"/>
                  <a:gd name="T6" fmla="*/ 32 w 95"/>
                  <a:gd name="T7" fmla="*/ 40 h 203"/>
                  <a:gd name="T8" fmla="*/ 23 w 95"/>
                  <a:gd name="T9" fmla="*/ 55 h 203"/>
                  <a:gd name="T10" fmla="*/ 56 w 95"/>
                  <a:gd name="T11" fmla="*/ 82 h 203"/>
                  <a:gd name="T12" fmla="*/ 71 w 95"/>
                  <a:gd name="T13" fmla="*/ 119 h 203"/>
                  <a:gd name="T14" fmla="*/ 73 w 95"/>
                  <a:gd name="T15" fmla="*/ 150 h 203"/>
                  <a:gd name="T16" fmla="*/ 32 w 95"/>
                  <a:gd name="T17" fmla="*/ 177 h 203"/>
                  <a:gd name="T18" fmla="*/ 38 w 95"/>
                  <a:gd name="T19" fmla="*/ 202 h 203"/>
                  <a:gd name="T20" fmla="*/ 51 w 95"/>
                  <a:gd name="T21" fmla="*/ 185 h 203"/>
                  <a:gd name="T22" fmla="*/ 59 w 95"/>
                  <a:gd name="T23" fmla="*/ 190 h 203"/>
                  <a:gd name="T24" fmla="*/ 62 w 95"/>
                  <a:gd name="T25" fmla="*/ 178 h 203"/>
                  <a:gd name="T26" fmla="*/ 94 w 95"/>
                  <a:gd name="T27" fmla="*/ 160 h 203"/>
                  <a:gd name="T28" fmla="*/ 90 w 95"/>
                  <a:gd name="T29" fmla="*/ 109 h 203"/>
                  <a:gd name="T30" fmla="*/ 46 w 95"/>
                  <a:gd name="T31" fmla="*/ 62 h 203"/>
                  <a:gd name="T32" fmla="*/ 51 w 95"/>
                  <a:gd name="T33" fmla="*/ 46 h 203"/>
                  <a:gd name="T34" fmla="*/ 77 w 95"/>
                  <a:gd name="T35" fmla="*/ 23 h 203"/>
                  <a:gd name="T36" fmla="*/ 40 w 95"/>
                  <a:gd name="T37" fmla="*/ 0 h 203"/>
                  <a:gd name="T38" fmla="*/ 0 w 95"/>
                  <a:gd name="T39" fmla="*/ 10 h 203"/>
                  <a:gd name="T40" fmla="*/ 0 w 95"/>
                  <a:gd name="T41" fmla="*/ 10 h 2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203"/>
                  <a:gd name="T65" fmla="*/ 95 w 95"/>
                  <a:gd name="T66" fmla="*/ 203 h 2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203">
                    <a:moveTo>
                      <a:pt x="0" y="10"/>
                    </a:moveTo>
                    <a:lnTo>
                      <a:pt x="0" y="10"/>
                    </a:lnTo>
                    <a:lnTo>
                      <a:pt x="14" y="31"/>
                    </a:lnTo>
                    <a:lnTo>
                      <a:pt x="32" y="40"/>
                    </a:lnTo>
                    <a:lnTo>
                      <a:pt x="23" y="55"/>
                    </a:lnTo>
                    <a:lnTo>
                      <a:pt x="56" y="82"/>
                    </a:lnTo>
                    <a:lnTo>
                      <a:pt x="71" y="119"/>
                    </a:lnTo>
                    <a:lnTo>
                      <a:pt x="73" y="150"/>
                    </a:lnTo>
                    <a:lnTo>
                      <a:pt x="32" y="177"/>
                    </a:lnTo>
                    <a:lnTo>
                      <a:pt x="38" y="202"/>
                    </a:lnTo>
                    <a:lnTo>
                      <a:pt x="51" y="185"/>
                    </a:lnTo>
                    <a:lnTo>
                      <a:pt x="59" y="190"/>
                    </a:lnTo>
                    <a:lnTo>
                      <a:pt x="62" y="178"/>
                    </a:lnTo>
                    <a:lnTo>
                      <a:pt x="94" y="160"/>
                    </a:lnTo>
                    <a:lnTo>
                      <a:pt x="90" y="109"/>
                    </a:lnTo>
                    <a:lnTo>
                      <a:pt x="46" y="62"/>
                    </a:lnTo>
                    <a:lnTo>
                      <a:pt x="51" y="46"/>
                    </a:lnTo>
                    <a:lnTo>
                      <a:pt x="77" y="23"/>
                    </a:lnTo>
                    <a:lnTo>
                      <a:pt x="40" y="0"/>
                    </a:lnTo>
                    <a:lnTo>
                      <a:pt x="0" y="10"/>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Uzbekistan">
                <a:extLst>
                  <a:ext uri="{FF2B5EF4-FFF2-40B4-BE49-F238E27FC236}">
                    <a16:creationId xmlns:a16="http://schemas.microsoft.com/office/drawing/2014/main" id="{39BA298B-3C66-CCB1-D3BA-F07C391D94BA}"/>
                  </a:ext>
                </a:extLst>
              </p:cNvPr>
              <p:cNvSpPr>
                <a:spLocks noGrp="1" noRot="1" noMove="1" noResize="1" noEditPoints="1" noAdjustHandles="1" noChangeArrowheads="1" noChangeShapeType="1"/>
              </p:cNvSpPr>
              <p:nvPr/>
            </p:nvSpPr>
            <p:spPr bwMode="gray">
              <a:xfrm>
                <a:off x="6112879" y="3303358"/>
                <a:ext cx="184409" cy="190732"/>
              </a:xfrm>
              <a:custGeom>
                <a:avLst/>
                <a:gdLst/>
                <a:ahLst/>
                <a:cxnLst>
                  <a:cxn ang="0">
                    <a:pos x="17" y="62"/>
                  </a:cxn>
                  <a:cxn ang="0">
                    <a:pos x="24" y="62"/>
                  </a:cxn>
                  <a:cxn ang="0">
                    <a:pos x="26" y="56"/>
                  </a:cxn>
                  <a:cxn ang="0">
                    <a:pos x="28" y="52"/>
                  </a:cxn>
                  <a:cxn ang="0">
                    <a:pos x="35" y="54"/>
                  </a:cxn>
                  <a:cxn ang="0">
                    <a:pos x="34" y="47"/>
                  </a:cxn>
                  <a:cxn ang="0">
                    <a:pos x="41" y="44"/>
                  </a:cxn>
                  <a:cxn ang="0">
                    <a:pos x="44" y="49"/>
                  </a:cxn>
                  <a:cxn ang="0">
                    <a:pos x="51" y="49"/>
                  </a:cxn>
                  <a:cxn ang="0">
                    <a:pos x="57" y="52"/>
                  </a:cxn>
                  <a:cxn ang="0">
                    <a:pos x="60" y="54"/>
                  </a:cxn>
                  <a:cxn ang="0">
                    <a:pos x="60" y="55"/>
                  </a:cxn>
                  <a:cxn ang="0">
                    <a:pos x="61" y="59"/>
                  </a:cxn>
                  <a:cxn ang="0">
                    <a:pos x="68" y="62"/>
                  </a:cxn>
                  <a:cxn ang="0">
                    <a:pos x="68" y="67"/>
                  </a:cxn>
                  <a:cxn ang="0">
                    <a:pos x="74" y="77"/>
                  </a:cxn>
                  <a:cxn ang="0">
                    <a:pos x="80" y="78"/>
                  </a:cxn>
                  <a:cxn ang="0">
                    <a:pos x="83" y="75"/>
                  </a:cxn>
                  <a:cxn ang="0">
                    <a:pos x="91" y="72"/>
                  </a:cxn>
                  <a:cxn ang="0">
                    <a:pos x="97" y="77"/>
                  </a:cxn>
                  <a:cxn ang="0">
                    <a:pos x="101" y="84"/>
                  </a:cxn>
                  <a:cxn ang="0">
                    <a:pos x="101" y="35"/>
                  </a:cxn>
                  <a:cxn ang="0">
                    <a:pos x="89" y="38"/>
                  </a:cxn>
                  <a:cxn ang="0">
                    <a:pos x="83" y="33"/>
                  </a:cxn>
                  <a:cxn ang="0">
                    <a:pos x="70" y="27"/>
                  </a:cxn>
                  <a:cxn ang="0">
                    <a:pos x="57" y="35"/>
                  </a:cxn>
                  <a:cxn ang="0">
                    <a:pos x="45" y="33"/>
                  </a:cxn>
                  <a:cxn ang="0">
                    <a:pos x="32" y="25"/>
                  </a:cxn>
                  <a:cxn ang="0">
                    <a:pos x="29" y="15"/>
                  </a:cxn>
                  <a:cxn ang="0">
                    <a:pos x="30" y="8"/>
                  </a:cxn>
                  <a:cxn ang="0">
                    <a:pos x="30" y="0"/>
                  </a:cxn>
                  <a:cxn ang="0">
                    <a:pos x="0" y="15"/>
                  </a:cxn>
                  <a:cxn ang="0">
                    <a:pos x="17" y="62"/>
                  </a:cxn>
                  <a:cxn ang="0">
                    <a:pos x="17" y="62"/>
                  </a:cxn>
                </a:cxnLst>
                <a:rect l="0" t="0" r="r" b="b"/>
                <a:pathLst>
                  <a:path w="102" h="85">
                    <a:moveTo>
                      <a:pt x="17" y="62"/>
                    </a:moveTo>
                    <a:lnTo>
                      <a:pt x="24" y="62"/>
                    </a:lnTo>
                    <a:lnTo>
                      <a:pt x="26" y="56"/>
                    </a:lnTo>
                    <a:lnTo>
                      <a:pt x="28" y="52"/>
                    </a:lnTo>
                    <a:lnTo>
                      <a:pt x="35" y="54"/>
                    </a:lnTo>
                    <a:lnTo>
                      <a:pt x="34" y="47"/>
                    </a:lnTo>
                    <a:lnTo>
                      <a:pt x="41" y="44"/>
                    </a:lnTo>
                    <a:lnTo>
                      <a:pt x="44" y="49"/>
                    </a:lnTo>
                    <a:lnTo>
                      <a:pt x="51" y="49"/>
                    </a:lnTo>
                    <a:lnTo>
                      <a:pt x="57" y="52"/>
                    </a:lnTo>
                    <a:lnTo>
                      <a:pt x="60" y="54"/>
                    </a:lnTo>
                    <a:lnTo>
                      <a:pt x="60" y="55"/>
                    </a:lnTo>
                    <a:lnTo>
                      <a:pt x="61" y="59"/>
                    </a:lnTo>
                    <a:lnTo>
                      <a:pt x="68" y="62"/>
                    </a:lnTo>
                    <a:lnTo>
                      <a:pt x="68" y="67"/>
                    </a:lnTo>
                    <a:lnTo>
                      <a:pt x="74" y="77"/>
                    </a:lnTo>
                    <a:lnTo>
                      <a:pt x="80" y="78"/>
                    </a:lnTo>
                    <a:lnTo>
                      <a:pt x="83" y="75"/>
                    </a:lnTo>
                    <a:lnTo>
                      <a:pt x="91" y="72"/>
                    </a:lnTo>
                    <a:lnTo>
                      <a:pt x="97" y="77"/>
                    </a:lnTo>
                    <a:lnTo>
                      <a:pt x="101" y="84"/>
                    </a:lnTo>
                    <a:lnTo>
                      <a:pt x="101" y="35"/>
                    </a:lnTo>
                    <a:lnTo>
                      <a:pt x="89" y="38"/>
                    </a:lnTo>
                    <a:lnTo>
                      <a:pt x="83" y="33"/>
                    </a:lnTo>
                    <a:lnTo>
                      <a:pt x="70" y="27"/>
                    </a:lnTo>
                    <a:lnTo>
                      <a:pt x="57" y="35"/>
                    </a:lnTo>
                    <a:lnTo>
                      <a:pt x="45" y="33"/>
                    </a:lnTo>
                    <a:lnTo>
                      <a:pt x="32" y="25"/>
                    </a:lnTo>
                    <a:lnTo>
                      <a:pt x="29" y="15"/>
                    </a:lnTo>
                    <a:lnTo>
                      <a:pt x="30" y="8"/>
                    </a:lnTo>
                    <a:lnTo>
                      <a:pt x="30" y="0"/>
                    </a:lnTo>
                    <a:lnTo>
                      <a:pt x="0" y="15"/>
                    </a:lnTo>
                    <a:lnTo>
                      <a:pt x="17" y="62"/>
                    </a:lnTo>
                    <a:lnTo>
                      <a:pt x="17" y="62"/>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 name="Turkmenistan">
                <a:extLst>
                  <a:ext uri="{FF2B5EF4-FFF2-40B4-BE49-F238E27FC236}">
                    <a16:creationId xmlns:a16="http://schemas.microsoft.com/office/drawing/2014/main" id="{A1B62CA6-6DC0-4F42-8A5D-E1EB945C5E65}"/>
                  </a:ext>
                </a:extLst>
              </p:cNvPr>
              <p:cNvSpPr>
                <a:spLocks noGrp="1" noRot="1" noMove="1" noResize="1" noEditPoints="1" noAdjustHandles="1" noChangeArrowheads="1" noChangeShapeType="1"/>
              </p:cNvSpPr>
              <p:nvPr/>
            </p:nvSpPr>
            <p:spPr bwMode="gray">
              <a:xfrm>
                <a:off x="6052839" y="3400942"/>
                <a:ext cx="244449" cy="270574"/>
              </a:xfrm>
              <a:custGeom>
                <a:avLst/>
                <a:gdLst/>
                <a:ahLst/>
                <a:cxnLst>
                  <a:cxn ang="0">
                    <a:pos x="0" y="18"/>
                  </a:cxn>
                  <a:cxn ang="0">
                    <a:pos x="2" y="33"/>
                  </a:cxn>
                  <a:cxn ang="0">
                    <a:pos x="12" y="23"/>
                  </a:cxn>
                  <a:cxn ang="0">
                    <a:pos x="26" y="36"/>
                  </a:cxn>
                  <a:cxn ang="0">
                    <a:pos x="20" y="44"/>
                  </a:cxn>
                  <a:cxn ang="0">
                    <a:pos x="3" y="36"/>
                  </a:cxn>
                  <a:cxn ang="0">
                    <a:pos x="1" y="47"/>
                  </a:cxn>
                  <a:cxn ang="0">
                    <a:pos x="3" y="53"/>
                  </a:cxn>
                  <a:cxn ang="0">
                    <a:pos x="12" y="54"/>
                  </a:cxn>
                  <a:cxn ang="0">
                    <a:pos x="8" y="60"/>
                  </a:cxn>
                  <a:cxn ang="0">
                    <a:pos x="16" y="66"/>
                  </a:cxn>
                  <a:cxn ang="0">
                    <a:pos x="16" y="87"/>
                  </a:cxn>
                  <a:cxn ang="0">
                    <a:pos x="42" y="81"/>
                  </a:cxn>
                  <a:cxn ang="0">
                    <a:pos x="57" y="74"/>
                  </a:cxn>
                  <a:cxn ang="0">
                    <a:pos x="90" y="88"/>
                  </a:cxn>
                  <a:cxn ang="0">
                    <a:pos x="111" y="97"/>
                  </a:cxn>
                  <a:cxn ang="0">
                    <a:pos x="116" y="101"/>
                  </a:cxn>
                  <a:cxn ang="0">
                    <a:pos x="118" y="111"/>
                  </a:cxn>
                  <a:cxn ang="0">
                    <a:pos x="134" y="119"/>
                  </a:cxn>
                  <a:cxn ang="0">
                    <a:pos x="134" y="34"/>
                  </a:cxn>
                  <a:cxn ang="0">
                    <a:pos x="124" y="27"/>
                  </a:cxn>
                  <a:cxn ang="0">
                    <a:pos x="117" y="31"/>
                  </a:cxn>
                  <a:cxn ang="0">
                    <a:pos x="113" y="34"/>
                  </a:cxn>
                  <a:cxn ang="0">
                    <a:pos x="107" y="33"/>
                  </a:cxn>
                  <a:cxn ang="0">
                    <a:pos x="101" y="23"/>
                  </a:cxn>
                  <a:cxn ang="0">
                    <a:pos x="101" y="18"/>
                  </a:cxn>
                  <a:cxn ang="0">
                    <a:pos x="94" y="15"/>
                  </a:cxn>
                  <a:cxn ang="0">
                    <a:pos x="92" y="10"/>
                  </a:cxn>
                  <a:cxn ang="0">
                    <a:pos x="84" y="5"/>
                  </a:cxn>
                  <a:cxn ang="0">
                    <a:pos x="77" y="5"/>
                  </a:cxn>
                  <a:cxn ang="0">
                    <a:pos x="74" y="0"/>
                  </a:cxn>
                  <a:cxn ang="0">
                    <a:pos x="67" y="3"/>
                  </a:cxn>
                  <a:cxn ang="0">
                    <a:pos x="69" y="10"/>
                  </a:cxn>
                  <a:cxn ang="0">
                    <a:pos x="66" y="8"/>
                  </a:cxn>
                  <a:cxn ang="0">
                    <a:pos x="61" y="8"/>
                  </a:cxn>
                  <a:cxn ang="0">
                    <a:pos x="57" y="18"/>
                  </a:cxn>
                  <a:cxn ang="0">
                    <a:pos x="49" y="18"/>
                  </a:cxn>
                  <a:cxn ang="0">
                    <a:pos x="42" y="17"/>
                  </a:cxn>
                  <a:cxn ang="0">
                    <a:pos x="36" y="22"/>
                  </a:cxn>
                  <a:cxn ang="0">
                    <a:pos x="30" y="18"/>
                  </a:cxn>
                  <a:cxn ang="0">
                    <a:pos x="21" y="13"/>
                  </a:cxn>
                  <a:cxn ang="0">
                    <a:pos x="0" y="18"/>
                  </a:cxn>
                  <a:cxn ang="0">
                    <a:pos x="0" y="18"/>
                  </a:cxn>
                </a:cxnLst>
                <a:rect l="0" t="0" r="r" b="b"/>
                <a:pathLst>
                  <a:path w="135" h="120">
                    <a:moveTo>
                      <a:pt x="0" y="18"/>
                    </a:moveTo>
                    <a:lnTo>
                      <a:pt x="2" y="33"/>
                    </a:lnTo>
                    <a:lnTo>
                      <a:pt x="12" y="23"/>
                    </a:lnTo>
                    <a:lnTo>
                      <a:pt x="26" y="36"/>
                    </a:lnTo>
                    <a:lnTo>
                      <a:pt x="20" y="44"/>
                    </a:lnTo>
                    <a:lnTo>
                      <a:pt x="3" y="36"/>
                    </a:lnTo>
                    <a:lnTo>
                      <a:pt x="1" y="47"/>
                    </a:lnTo>
                    <a:lnTo>
                      <a:pt x="3" y="53"/>
                    </a:lnTo>
                    <a:lnTo>
                      <a:pt x="12" y="54"/>
                    </a:lnTo>
                    <a:lnTo>
                      <a:pt x="8" y="60"/>
                    </a:lnTo>
                    <a:lnTo>
                      <a:pt x="16" y="66"/>
                    </a:lnTo>
                    <a:lnTo>
                      <a:pt x="16" y="87"/>
                    </a:lnTo>
                    <a:lnTo>
                      <a:pt x="42" y="81"/>
                    </a:lnTo>
                    <a:lnTo>
                      <a:pt x="57" y="74"/>
                    </a:lnTo>
                    <a:lnTo>
                      <a:pt x="90" y="88"/>
                    </a:lnTo>
                    <a:lnTo>
                      <a:pt x="111" y="97"/>
                    </a:lnTo>
                    <a:lnTo>
                      <a:pt x="116" y="101"/>
                    </a:lnTo>
                    <a:lnTo>
                      <a:pt x="118" y="111"/>
                    </a:lnTo>
                    <a:lnTo>
                      <a:pt x="134" y="119"/>
                    </a:lnTo>
                    <a:lnTo>
                      <a:pt x="134" y="34"/>
                    </a:lnTo>
                    <a:lnTo>
                      <a:pt x="124" y="27"/>
                    </a:lnTo>
                    <a:lnTo>
                      <a:pt x="117" y="31"/>
                    </a:lnTo>
                    <a:lnTo>
                      <a:pt x="113" y="34"/>
                    </a:lnTo>
                    <a:lnTo>
                      <a:pt x="107" y="33"/>
                    </a:lnTo>
                    <a:lnTo>
                      <a:pt x="101" y="23"/>
                    </a:lnTo>
                    <a:lnTo>
                      <a:pt x="101" y="18"/>
                    </a:lnTo>
                    <a:lnTo>
                      <a:pt x="94" y="15"/>
                    </a:lnTo>
                    <a:lnTo>
                      <a:pt x="92" y="10"/>
                    </a:lnTo>
                    <a:lnTo>
                      <a:pt x="84" y="5"/>
                    </a:lnTo>
                    <a:lnTo>
                      <a:pt x="77" y="5"/>
                    </a:lnTo>
                    <a:lnTo>
                      <a:pt x="74" y="0"/>
                    </a:lnTo>
                    <a:lnTo>
                      <a:pt x="67" y="3"/>
                    </a:lnTo>
                    <a:lnTo>
                      <a:pt x="69" y="10"/>
                    </a:lnTo>
                    <a:lnTo>
                      <a:pt x="66" y="8"/>
                    </a:lnTo>
                    <a:lnTo>
                      <a:pt x="61" y="8"/>
                    </a:lnTo>
                    <a:lnTo>
                      <a:pt x="57" y="18"/>
                    </a:lnTo>
                    <a:lnTo>
                      <a:pt x="49" y="18"/>
                    </a:lnTo>
                    <a:lnTo>
                      <a:pt x="42" y="17"/>
                    </a:lnTo>
                    <a:lnTo>
                      <a:pt x="36" y="22"/>
                    </a:lnTo>
                    <a:lnTo>
                      <a:pt x="30" y="18"/>
                    </a:lnTo>
                    <a:lnTo>
                      <a:pt x="21" y="13"/>
                    </a:lnTo>
                    <a:lnTo>
                      <a:pt x="0" y="18"/>
                    </a:lnTo>
                    <a:lnTo>
                      <a:pt x="0" y="18"/>
                    </a:lnTo>
                  </a:path>
                </a:pathLst>
              </a:custGeom>
              <a:grpFill/>
              <a:ln w="12700" cap="flat" cmpd="sng">
                <a:solidFill>
                  <a:schemeClr val="bg1">
                    <a:alpha val="45000"/>
                  </a:schemeClr>
                </a:solidFill>
                <a:prstDash val="solid"/>
                <a:round/>
                <a:headEnd type="none" w="med" len="med"/>
                <a:tailEnd type="none" w="med" len="med"/>
              </a:ln>
              <a:effectLst/>
            </p:spPr>
            <p:txBody>
              <a:bodyPr wrap="none" lIns="0" tIns="0" rIns="0" bIns="0" anchor="ctr" anchorCtr="1"/>
              <a:lstStyle/>
              <a:p>
                <a:pPr marL="0" marR="0" lvl="0" indent="0" algn="l" defTabSz="101735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 name="Thailand">
                <a:extLst>
                  <a:ext uri="{FF2B5EF4-FFF2-40B4-BE49-F238E27FC236}">
                    <a16:creationId xmlns:a16="http://schemas.microsoft.com/office/drawing/2014/main" id="{D2307D2D-FAB9-15CB-BBE6-BCA7CC6190C3}"/>
                  </a:ext>
                </a:extLst>
              </p:cNvPr>
              <p:cNvSpPr>
                <a:spLocks noGrp="1" noRot="1" noChangeAspect="1" noMove="1" noResize="1" noEditPoints="1" noAdjustHandles="1" noChangeArrowheads="1" noChangeShapeType="1"/>
              </p:cNvSpPr>
              <p:nvPr/>
            </p:nvSpPr>
            <p:spPr bwMode="gray">
              <a:xfrm>
                <a:off x="7160259" y="4100313"/>
                <a:ext cx="200503" cy="422009"/>
              </a:xfrm>
              <a:custGeom>
                <a:avLst/>
                <a:gdLst>
                  <a:gd name="T0" fmla="*/ 0 w 109"/>
                  <a:gd name="T1" fmla="*/ 33 h 209"/>
                  <a:gd name="T2" fmla="*/ 0 w 109"/>
                  <a:gd name="T3" fmla="*/ 33 h 209"/>
                  <a:gd name="T4" fmla="*/ 7 w 109"/>
                  <a:gd name="T5" fmla="*/ 17 h 209"/>
                  <a:gd name="T6" fmla="*/ 36 w 109"/>
                  <a:gd name="T7" fmla="*/ 0 h 209"/>
                  <a:gd name="T8" fmla="*/ 49 w 109"/>
                  <a:gd name="T9" fmla="*/ 16 h 209"/>
                  <a:gd name="T10" fmla="*/ 45 w 109"/>
                  <a:gd name="T11" fmla="*/ 44 h 209"/>
                  <a:gd name="T12" fmla="*/ 80 w 109"/>
                  <a:gd name="T13" fmla="*/ 32 h 209"/>
                  <a:gd name="T14" fmla="*/ 95 w 109"/>
                  <a:gd name="T15" fmla="*/ 44 h 209"/>
                  <a:gd name="T16" fmla="*/ 108 w 109"/>
                  <a:gd name="T17" fmla="*/ 72 h 209"/>
                  <a:gd name="T18" fmla="*/ 103 w 109"/>
                  <a:gd name="T19" fmla="*/ 89 h 209"/>
                  <a:gd name="T20" fmla="*/ 77 w 109"/>
                  <a:gd name="T21" fmla="*/ 88 h 209"/>
                  <a:gd name="T22" fmla="*/ 67 w 109"/>
                  <a:gd name="T23" fmla="*/ 96 h 209"/>
                  <a:gd name="T24" fmla="*/ 72 w 109"/>
                  <a:gd name="T25" fmla="*/ 125 h 209"/>
                  <a:gd name="T26" fmla="*/ 37 w 109"/>
                  <a:gd name="T27" fmla="*/ 100 h 209"/>
                  <a:gd name="T28" fmla="*/ 22 w 109"/>
                  <a:gd name="T29" fmla="*/ 145 h 209"/>
                  <a:gd name="T30" fmla="*/ 39 w 109"/>
                  <a:gd name="T31" fmla="*/ 185 h 209"/>
                  <a:gd name="T32" fmla="*/ 63 w 109"/>
                  <a:gd name="T33" fmla="*/ 200 h 209"/>
                  <a:gd name="T34" fmla="*/ 50 w 109"/>
                  <a:gd name="T35" fmla="*/ 208 h 209"/>
                  <a:gd name="T36" fmla="*/ 47 w 109"/>
                  <a:gd name="T37" fmla="*/ 195 h 209"/>
                  <a:gd name="T38" fmla="*/ 37 w 109"/>
                  <a:gd name="T39" fmla="*/ 195 h 209"/>
                  <a:gd name="T40" fmla="*/ 10 w 109"/>
                  <a:gd name="T41" fmla="*/ 173 h 209"/>
                  <a:gd name="T42" fmla="*/ 15 w 109"/>
                  <a:gd name="T43" fmla="*/ 146 h 209"/>
                  <a:gd name="T44" fmla="*/ 29 w 109"/>
                  <a:gd name="T45" fmla="*/ 122 h 209"/>
                  <a:gd name="T46" fmla="*/ 10 w 109"/>
                  <a:gd name="T47" fmla="*/ 82 h 209"/>
                  <a:gd name="T48" fmla="*/ 16 w 109"/>
                  <a:gd name="T49" fmla="*/ 64 h 209"/>
                  <a:gd name="T50" fmla="*/ 0 w 109"/>
                  <a:gd name="T51" fmla="*/ 33 h 209"/>
                  <a:gd name="T52" fmla="*/ 0 w 109"/>
                  <a:gd name="T53" fmla="*/ 33 h 20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9"/>
                  <a:gd name="T82" fmla="*/ 0 h 209"/>
                  <a:gd name="T83" fmla="*/ 109 w 109"/>
                  <a:gd name="T84" fmla="*/ 209 h 20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9" h="209">
                    <a:moveTo>
                      <a:pt x="0" y="33"/>
                    </a:moveTo>
                    <a:lnTo>
                      <a:pt x="0" y="33"/>
                    </a:lnTo>
                    <a:lnTo>
                      <a:pt x="7" y="17"/>
                    </a:lnTo>
                    <a:lnTo>
                      <a:pt x="36" y="0"/>
                    </a:lnTo>
                    <a:lnTo>
                      <a:pt x="49" y="16"/>
                    </a:lnTo>
                    <a:lnTo>
                      <a:pt x="45" y="44"/>
                    </a:lnTo>
                    <a:lnTo>
                      <a:pt x="80" y="32"/>
                    </a:lnTo>
                    <a:lnTo>
                      <a:pt x="95" y="44"/>
                    </a:lnTo>
                    <a:lnTo>
                      <a:pt x="108" y="72"/>
                    </a:lnTo>
                    <a:lnTo>
                      <a:pt x="103" y="89"/>
                    </a:lnTo>
                    <a:lnTo>
                      <a:pt x="77" y="88"/>
                    </a:lnTo>
                    <a:lnTo>
                      <a:pt x="67" y="96"/>
                    </a:lnTo>
                    <a:lnTo>
                      <a:pt x="72" y="125"/>
                    </a:lnTo>
                    <a:lnTo>
                      <a:pt x="37" y="100"/>
                    </a:lnTo>
                    <a:lnTo>
                      <a:pt x="22" y="145"/>
                    </a:lnTo>
                    <a:lnTo>
                      <a:pt x="39" y="185"/>
                    </a:lnTo>
                    <a:lnTo>
                      <a:pt x="63" y="200"/>
                    </a:lnTo>
                    <a:lnTo>
                      <a:pt x="50" y="208"/>
                    </a:lnTo>
                    <a:lnTo>
                      <a:pt x="47" y="195"/>
                    </a:lnTo>
                    <a:lnTo>
                      <a:pt x="37" y="195"/>
                    </a:lnTo>
                    <a:lnTo>
                      <a:pt x="10" y="173"/>
                    </a:lnTo>
                    <a:lnTo>
                      <a:pt x="15" y="146"/>
                    </a:lnTo>
                    <a:lnTo>
                      <a:pt x="29" y="122"/>
                    </a:lnTo>
                    <a:lnTo>
                      <a:pt x="10" y="82"/>
                    </a:lnTo>
                    <a:lnTo>
                      <a:pt x="16" y="64"/>
                    </a:lnTo>
                    <a:lnTo>
                      <a:pt x="0" y="33"/>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 name="Taiwan">
                <a:extLst>
                  <a:ext uri="{FF2B5EF4-FFF2-40B4-BE49-F238E27FC236}">
                    <a16:creationId xmlns:a16="http://schemas.microsoft.com/office/drawing/2014/main" id="{F310ADEC-3386-EA39-8D82-AAC33F297D4F}"/>
                  </a:ext>
                </a:extLst>
              </p:cNvPr>
              <p:cNvSpPr>
                <a:spLocks noGrp="1" noRot="1" noChangeAspect="1" noMove="1" noResize="1" noEditPoints="1" noAdjustHandles="1" noChangeArrowheads="1" noChangeShapeType="1"/>
              </p:cNvSpPr>
              <p:nvPr/>
            </p:nvSpPr>
            <p:spPr bwMode="gray">
              <a:xfrm>
                <a:off x="7717845" y="3976694"/>
                <a:ext cx="45829" cy="91649"/>
              </a:xfrm>
              <a:custGeom>
                <a:avLst/>
                <a:gdLst>
                  <a:gd name="T0" fmla="*/ 0 w 25"/>
                  <a:gd name="T1" fmla="*/ 18 h 46"/>
                  <a:gd name="T2" fmla="*/ 0 w 25"/>
                  <a:gd name="T3" fmla="*/ 18 h 46"/>
                  <a:gd name="T4" fmla="*/ 9 w 25"/>
                  <a:gd name="T5" fmla="*/ 45 h 46"/>
                  <a:gd name="T6" fmla="*/ 24 w 25"/>
                  <a:gd name="T7" fmla="*/ 0 h 46"/>
                  <a:gd name="T8" fmla="*/ 11 w 25"/>
                  <a:gd name="T9" fmla="*/ 1 h 46"/>
                  <a:gd name="T10" fmla="*/ 0 w 25"/>
                  <a:gd name="T11" fmla="*/ 18 h 46"/>
                  <a:gd name="T12" fmla="*/ 0 w 25"/>
                  <a:gd name="T13" fmla="*/ 18 h 46"/>
                  <a:gd name="T14" fmla="*/ 0 60000 65536"/>
                  <a:gd name="T15" fmla="*/ 0 60000 65536"/>
                  <a:gd name="T16" fmla="*/ 0 60000 65536"/>
                  <a:gd name="T17" fmla="*/ 0 60000 65536"/>
                  <a:gd name="T18" fmla="*/ 0 60000 65536"/>
                  <a:gd name="T19" fmla="*/ 0 60000 65536"/>
                  <a:gd name="T20" fmla="*/ 0 60000 65536"/>
                  <a:gd name="T21" fmla="*/ 0 w 25"/>
                  <a:gd name="T22" fmla="*/ 0 h 46"/>
                  <a:gd name="T23" fmla="*/ 25 w 25"/>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6">
                    <a:moveTo>
                      <a:pt x="0" y="18"/>
                    </a:moveTo>
                    <a:lnTo>
                      <a:pt x="0" y="18"/>
                    </a:lnTo>
                    <a:lnTo>
                      <a:pt x="9" y="45"/>
                    </a:lnTo>
                    <a:lnTo>
                      <a:pt x="24" y="0"/>
                    </a:lnTo>
                    <a:lnTo>
                      <a:pt x="11" y="1"/>
                    </a:lnTo>
                    <a:lnTo>
                      <a:pt x="0" y="18"/>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 name="Sri Lanka">
                <a:extLst>
                  <a:ext uri="{FF2B5EF4-FFF2-40B4-BE49-F238E27FC236}">
                    <a16:creationId xmlns:a16="http://schemas.microsoft.com/office/drawing/2014/main" id="{69D61FD6-714A-A538-647E-6C42AA39353C}"/>
                  </a:ext>
                </a:extLst>
              </p:cNvPr>
              <p:cNvSpPr>
                <a:spLocks noGrp="1" noRot="1" noChangeAspect="1" noMove="1" noResize="1" noEditPoints="1" noAdjustHandles="1" noChangeArrowheads="1" noChangeShapeType="1"/>
              </p:cNvSpPr>
              <p:nvPr/>
            </p:nvSpPr>
            <p:spPr bwMode="gray">
              <a:xfrm>
                <a:off x="6721062" y="4409362"/>
                <a:ext cx="45829" cy="102307"/>
              </a:xfrm>
              <a:custGeom>
                <a:avLst/>
                <a:gdLst>
                  <a:gd name="T0" fmla="*/ 0 w 26"/>
                  <a:gd name="T1" fmla="*/ 0 h 51"/>
                  <a:gd name="T2" fmla="*/ 0 w 26"/>
                  <a:gd name="T3" fmla="*/ 0 h 51"/>
                  <a:gd name="T4" fmla="*/ 5 w 26"/>
                  <a:gd name="T5" fmla="*/ 50 h 51"/>
                  <a:gd name="T6" fmla="*/ 25 w 26"/>
                  <a:gd name="T7" fmla="*/ 41 h 51"/>
                  <a:gd name="T8" fmla="*/ 15 w 26"/>
                  <a:gd name="T9" fmla="*/ 12 h 51"/>
                  <a:gd name="T10" fmla="*/ 0 w 26"/>
                  <a:gd name="T11" fmla="*/ 0 h 51"/>
                  <a:gd name="T12" fmla="*/ 0 w 26"/>
                  <a:gd name="T13" fmla="*/ 0 h 51"/>
                  <a:gd name="T14" fmla="*/ 0 60000 65536"/>
                  <a:gd name="T15" fmla="*/ 0 60000 65536"/>
                  <a:gd name="T16" fmla="*/ 0 60000 65536"/>
                  <a:gd name="T17" fmla="*/ 0 60000 65536"/>
                  <a:gd name="T18" fmla="*/ 0 60000 65536"/>
                  <a:gd name="T19" fmla="*/ 0 60000 65536"/>
                  <a:gd name="T20" fmla="*/ 0 60000 65536"/>
                  <a:gd name="T21" fmla="*/ 0 w 26"/>
                  <a:gd name="T22" fmla="*/ 0 h 51"/>
                  <a:gd name="T23" fmla="*/ 26 w 26"/>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1">
                    <a:moveTo>
                      <a:pt x="0" y="0"/>
                    </a:moveTo>
                    <a:lnTo>
                      <a:pt x="0" y="0"/>
                    </a:lnTo>
                    <a:lnTo>
                      <a:pt x="5" y="50"/>
                    </a:lnTo>
                    <a:lnTo>
                      <a:pt x="25" y="41"/>
                    </a:lnTo>
                    <a:lnTo>
                      <a:pt x="15" y="12"/>
                    </a:lnTo>
                    <a:lnTo>
                      <a:pt x="0" y="0"/>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8" name="Philippines">
                <a:extLst>
                  <a:ext uri="{FF2B5EF4-FFF2-40B4-BE49-F238E27FC236}">
                    <a16:creationId xmlns:a16="http://schemas.microsoft.com/office/drawing/2014/main" id="{03D87607-1102-F882-B351-B320AE30FF2B}"/>
                  </a:ext>
                </a:extLst>
              </p:cNvPr>
              <p:cNvGrpSpPr>
                <a:grpSpLocks noGrp="1" noUngrp="1" noRot="1" noMove="1" noResize="1"/>
              </p:cNvGrpSpPr>
              <p:nvPr/>
            </p:nvGrpSpPr>
            <p:grpSpPr>
              <a:xfrm>
                <a:off x="7566993" y="4162122"/>
                <a:ext cx="305527" cy="402830"/>
                <a:chOff x="7566993" y="4162122"/>
                <a:chExt cx="305527" cy="402830"/>
              </a:xfrm>
              <a:grpFill/>
            </p:grpSpPr>
            <p:sp>
              <p:nvSpPr>
                <p:cNvPr id="64" name="Brunei">
                  <a:extLst>
                    <a:ext uri="{FF2B5EF4-FFF2-40B4-BE49-F238E27FC236}">
                      <a16:creationId xmlns:a16="http://schemas.microsoft.com/office/drawing/2014/main" id="{4A4A34AA-250B-8FFB-C74B-17CD1EEBEBDF}"/>
                    </a:ext>
                  </a:extLst>
                </p:cNvPr>
                <p:cNvSpPr>
                  <a:spLocks noGrp="1" noRot="1" noChangeAspect="1" noMove="1" noResize="1" noEditPoints="1" noAdjustHandles="1" noChangeArrowheads="1" noChangeShapeType="1"/>
                </p:cNvSpPr>
                <p:nvPr/>
              </p:nvSpPr>
              <p:spPr bwMode="gray">
                <a:xfrm>
                  <a:off x="7566993" y="4537244"/>
                  <a:ext cx="32463" cy="27708"/>
                </a:xfrm>
                <a:custGeom>
                  <a:avLst/>
                  <a:gdLst>
                    <a:gd name="T0" fmla="*/ 0 w 17"/>
                    <a:gd name="T1" fmla="*/ 6 h 15"/>
                    <a:gd name="T2" fmla="*/ 0 w 17"/>
                    <a:gd name="T3" fmla="*/ 6 h 15"/>
                    <a:gd name="T4" fmla="*/ 8 w 17"/>
                    <a:gd name="T5" fmla="*/ 14 h 15"/>
                    <a:gd name="T6" fmla="*/ 16 w 17"/>
                    <a:gd name="T7" fmla="*/ 0 h 15"/>
                    <a:gd name="T8" fmla="*/ 0 w 17"/>
                    <a:gd name="T9" fmla="*/ 6 h 15"/>
                    <a:gd name="T10" fmla="*/ 0 w 17"/>
                    <a:gd name="T11" fmla="*/ 6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6"/>
                      </a:moveTo>
                      <a:lnTo>
                        <a:pt x="0" y="6"/>
                      </a:lnTo>
                      <a:lnTo>
                        <a:pt x="8" y="14"/>
                      </a:lnTo>
                      <a:lnTo>
                        <a:pt x="16" y="0"/>
                      </a:lnTo>
                      <a:lnTo>
                        <a:pt x="0" y="6"/>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5" name="Philippines">
                  <a:extLst>
                    <a:ext uri="{FF2B5EF4-FFF2-40B4-BE49-F238E27FC236}">
                      <a16:creationId xmlns:a16="http://schemas.microsoft.com/office/drawing/2014/main" id="{1ECD1B48-AC96-3888-E86B-2E08A20DF2F1}"/>
                    </a:ext>
                  </a:extLst>
                </p:cNvPr>
                <p:cNvSpPr>
                  <a:spLocks noGrp="1" noRot="1" noChangeAspect="1" noMove="1" noResize="1" noEditPoints="1" noAdjustHandles="1" noChangeArrowheads="1" noChangeShapeType="1"/>
                </p:cNvSpPr>
                <p:nvPr/>
              </p:nvSpPr>
              <p:spPr bwMode="gray">
                <a:xfrm>
                  <a:off x="7649104" y="4363354"/>
                  <a:ext cx="57195" cy="80492"/>
                </a:xfrm>
                <a:custGeom>
                  <a:avLst/>
                  <a:gdLst>
                    <a:gd name="T0" fmla="*/ 0 w 32"/>
                    <a:gd name="T1" fmla="*/ 39 h 40"/>
                    <a:gd name="T2" fmla="*/ 0 w 32"/>
                    <a:gd name="T3" fmla="*/ 39 h 40"/>
                    <a:gd name="T4" fmla="*/ 22 w 32"/>
                    <a:gd name="T5" fmla="*/ 21 h 40"/>
                    <a:gd name="T6" fmla="*/ 31 w 32"/>
                    <a:gd name="T7" fmla="*/ 0 h 40"/>
                    <a:gd name="T8" fmla="*/ 0 w 32"/>
                    <a:gd name="T9" fmla="*/ 39 h 40"/>
                    <a:gd name="T10" fmla="*/ 0 w 32"/>
                    <a:gd name="T11" fmla="*/ 39 h 40"/>
                    <a:gd name="T12" fmla="*/ 0 60000 65536"/>
                    <a:gd name="T13" fmla="*/ 0 60000 65536"/>
                    <a:gd name="T14" fmla="*/ 0 60000 65536"/>
                    <a:gd name="T15" fmla="*/ 0 60000 65536"/>
                    <a:gd name="T16" fmla="*/ 0 60000 65536"/>
                    <a:gd name="T17" fmla="*/ 0 60000 65536"/>
                    <a:gd name="T18" fmla="*/ 0 w 32"/>
                    <a:gd name="T19" fmla="*/ 0 h 40"/>
                    <a:gd name="T20" fmla="*/ 32 w 3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32" h="40">
                      <a:moveTo>
                        <a:pt x="0" y="39"/>
                      </a:moveTo>
                      <a:lnTo>
                        <a:pt x="0" y="39"/>
                      </a:lnTo>
                      <a:lnTo>
                        <a:pt x="22" y="21"/>
                      </a:lnTo>
                      <a:lnTo>
                        <a:pt x="31" y="0"/>
                      </a:lnTo>
                      <a:lnTo>
                        <a:pt x="0" y="39"/>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6" name="Philippines">
                  <a:extLst>
                    <a:ext uri="{FF2B5EF4-FFF2-40B4-BE49-F238E27FC236}">
                      <a16:creationId xmlns:a16="http://schemas.microsoft.com/office/drawing/2014/main" id="{B0195BA3-D649-41E6-293A-71FFDBA9BC27}"/>
                    </a:ext>
                  </a:extLst>
                </p:cNvPr>
                <p:cNvSpPr>
                  <a:spLocks noGrp="1" noRot="1" noChangeAspect="1" noMove="1" noResize="1" noEditPoints="1" noAdjustHandles="1" noChangeArrowheads="1" noChangeShapeType="1"/>
                </p:cNvSpPr>
                <p:nvPr/>
              </p:nvSpPr>
              <p:spPr bwMode="gray">
                <a:xfrm>
                  <a:off x="7715235" y="4162122"/>
                  <a:ext cx="101879" cy="169032"/>
                </a:xfrm>
                <a:custGeom>
                  <a:avLst/>
                  <a:gdLst>
                    <a:gd name="T0" fmla="*/ 0 w 57"/>
                    <a:gd name="T1" fmla="*/ 33 h 84"/>
                    <a:gd name="T2" fmla="*/ 0 w 57"/>
                    <a:gd name="T3" fmla="*/ 33 h 84"/>
                    <a:gd name="T4" fmla="*/ 11 w 57"/>
                    <a:gd name="T5" fmla="*/ 0 h 84"/>
                    <a:gd name="T6" fmla="*/ 30 w 57"/>
                    <a:gd name="T7" fmla="*/ 1 h 84"/>
                    <a:gd name="T8" fmla="*/ 35 w 57"/>
                    <a:gd name="T9" fmla="*/ 23 h 84"/>
                    <a:gd name="T10" fmla="*/ 20 w 57"/>
                    <a:gd name="T11" fmla="*/ 45 h 84"/>
                    <a:gd name="T12" fmla="*/ 23 w 57"/>
                    <a:gd name="T13" fmla="*/ 58 h 84"/>
                    <a:gd name="T14" fmla="*/ 53 w 57"/>
                    <a:gd name="T15" fmla="*/ 66 h 84"/>
                    <a:gd name="T16" fmla="*/ 56 w 57"/>
                    <a:gd name="T17" fmla="*/ 83 h 84"/>
                    <a:gd name="T18" fmla="*/ 38 w 57"/>
                    <a:gd name="T19" fmla="*/ 66 h 84"/>
                    <a:gd name="T20" fmla="*/ 38 w 57"/>
                    <a:gd name="T21" fmla="*/ 74 h 84"/>
                    <a:gd name="T22" fmla="*/ 11 w 57"/>
                    <a:gd name="T23" fmla="*/ 66 h 84"/>
                    <a:gd name="T24" fmla="*/ 0 w 57"/>
                    <a:gd name="T25" fmla="*/ 33 h 84"/>
                    <a:gd name="T26" fmla="*/ 0 w 57"/>
                    <a:gd name="T27" fmla="*/ 3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84"/>
                    <a:gd name="T44" fmla="*/ 57 w 57"/>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84">
                      <a:moveTo>
                        <a:pt x="0" y="33"/>
                      </a:moveTo>
                      <a:lnTo>
                        <a:pt x="0" y="33"/>
                      </a:lnTo>
                      <a:lnTo>
                        <a:pt x="11" y="0"/>
                      </a:lnTo>
                      <a:lnTo>
                        <a:pt x="30" y="1"/>
                      </a:lnTo>
                      <a:lnTo>
                        <a:pt x="35" y="23"/>
                      </a:lnTo>
                      <a:lnTo>
                        <a:pt x="20" y="45"/>
                      </a:lnTo>
                      <a:lnTo>
                        <a:pt x="23" y="58"/>
                      </a:lnTo>
                      <a:lnTo>
                        <a:pt x="53" y="66"/>
                      </a:lnTo>
                      <a:lnTo>
                        <a:pt x="56" y="83"/>
                      </a:lnTo>
                      <a:lnTo>
                        <a:pt x="38" y="66"/>
                      </a:lnTo>
                      <a:lnTo>
                        <a:pt x="38" y="74"/>
                      </a:lnTo>
                      <a:lnTo>
                        <a:pt x="11" y="66"/>
                      </a:lnTo>
                      <a:lnTo>
                        <a:pt x="0" y="33"/>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7" name="Philippines">
                  <a:extLst>
                    <a:ext uri="{FF2B5EF4-FFF2-40B4-BE49-F238E27FC236}">
                      <a16:creationId xmlns:a16="http://schemas.microsoft.com/office/drawing/2014/main" id="{E3ED01D4-633D-88F5-6891-72C36EC351B9}"/>
                    </a:ext>
                  </a:extLst>
                </p:cNvPr>
                <p:cNvSpPr>
                  <a:spLocks noGrp="1" noRot="1" noChangeAspect="1" noMove="1" noResize="1" noEditPoints="1" noAdjustHandles="1" noChangeArrowheads="1" noChangeShapeType="1"/>
                </p:cNvSpPr>
                <p:nvPr/>
              </p:nvSpPr>
              <p:spPr bwMode="gray">
                <a:xfrm>
                  <a:off x="7724171" y="4304996"/>
                  <a:ext cx="30384" cy="36222"/>
                </a:xfrm>
                <a:custGeom>
                  <a:avLst/>
                  <a:gdLst>
                    <a:gd name="T0" fmla="*/ 0 w 17"/>
                    <a:gd name="T1" fmla="*/ 0 h 18"/>
                    <a:gd name="T2" fmla="*/ 0 w 17"/>
                    <a:gd name="T3" fmla="*/ 0 h 18"/>
                    <a:gd name="T4" fmla="*/ 8 w 17"/>
                    <a:gd name="T5" fmla="*/ 0 h 18"/>
                    <a:gd name="T6" fmla="*/ 16 w 17"/>
                    <a:gd name="T7" fmla="*/ 3 h 18"/>
                    <a:gd name="T8" fmla="*/ 12 w 17"/>
                    <a:gd name="T9" fmla="*/ 17 h 18"/>
                    <a:gd name="T10" fmla="*/ 0 w 17"/>
                    <a:gd name="T11" fmla="*/ 0 h 18"/>
                    <a:gd name="T12" fmla="*/ 0 w 17"/>
                    <a:gd name="T13" fmla="*/ 0 h 18"/>
                    <a:gd name="T14" fmla="*/ 0 60000 65536"/>
                    <a:gd name="T15" fmla="*/ 0 60000 65536"/>
                    <a:gd name="T16" fmla="*/ 0 60000 65536"/>
                    <a:gd name="T17" fmla="*/ 0 60000 65536"/>
                    <a:gd name="T18" fmla="*/ 0 60000 65536"/>
                    <a:gd name="T19" fmla="*/ 0 60000 65536"/>
                    <a:gd name="T20" fmla="*/ 0 60000 65536"/>
                    <a:gd name="T21" fmla="*/ 0 w 17"/>
                    <a:gd name="T22" fmla="*/ 0 h 18"/>
                    <a:gd name="T23" fmla="*/ 17 w 1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8">
                      <a:moveTo>
                        <a:pt x="0" y="0"/>
                      </a:moveTo>
                      <a:lnTo>
                        <a:pt x="0" y="0"/>
                      </a:lnTo>
                      <a:lnTo>
                        <a:pt x="8" y="0"/>
                      </a:lnTo>
                      <a:lnTo>
                        <a:pt x="16" y="3"/>
                      </a:lnTo>
                      <a:lnTo>
                        <a:pt x="12" y="17"/>
                      </a:lnTo>
                      <a:lnTo>
                        <a:pt x="0" y="0"/>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8" name="Philippines">
                  <a:extLst>
                    <a:ext uri="{FF2B5EF4-FFF2-40B4-BE49-F238E27FC236}">
                      <a16:creationId xmlns:a16="http://schemas.microsoft.com/office/drawing/2014/main" id="{87B1A5C5-11BB-A381-7315-5BBC98C43CB0}"/>
                    </a:ext>
                  </a:extLst>
                </p:cNvPr>
                <p:cNvSpPr>
                  <a:spLocks noGrp="1" noRot="1" noChangeAspect="1" noMove="1" noResize="1" noEditPoints="1" noAdjustHandles="1" noChangeArrowheads="1" noChangeShapeType="1"/>
                </p:cNvSpPr>
                <p:nvPr/>
              </p:nvSpPr>
              <p:spPr bwMode="gray">
                <a:xfrm>
                  <a:off x="7763494" y="4347255"/>
                  <a:ext cx="26811" cy="44271"/>
                </a:xfrm>
                <a:custGeom>
                  <a:avLst/>
                  <a:gdLst>
                    <a:gd name="T0" fmla="*/ 0 w 15"/>
                    <a:gd name="T1" fmla="*/ 0 h 22"/>
                    <a:gd name="T2" fmla="*/ 0 w 15"/>
                    <a:gd name="T3" fmla="*/ 0 h 22"/>
                    <a:gd name="T4" fmla="*/ 1 w 15"/>
                    <a:gd name="T5" fmla="*/ 21 h 22"/>
                    <a:gd name="T6" fmla="*/ 14 w 15"/>
                    <a:gd name="T7" fmla="*/ 12 h 22"/>
                    <a:gd name="T8" fmla="*/ 0 w 15"/>
                    <a:gd name="T9" fmla="*/ 0 h 22"/>
                    <a:gd name="T10" fmla="*/ 0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0" y="0"/>
                      </a:moveTo>
                      <a:lnTo>
                        <a:pt x="0" y="0"/>
                      </a:lnTo>
                      <a:lnTo>
                        <a:pt x="1" y="21"/>
                      </a:lnTo>
                      <a:lnTo>
                        <a:pt x="14" y="12"/>
                      </a:lnTo>
                      <a:lnTo>
                        <a:pt x="0" y="0"/>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9" name="Philippines">
                  <a:extLst>
                    <a:ext uri="{FF2B5EF4-FFF2-40B4-BE49-F238E27FC236}">
                      <a16:creationId xmlns:a16="http://schemas.microsoft.com/office/drawing/2014/main" id="{8A96B6DC-0BA9-0D98-9031-022DF9FD3A4E}"/>
                    </a:ext>
                  </a:extLst>
                </p:cNvPr>
                <p:cNvSpPr>
                  <a:spLocks noGrp="1" noRot="1" noChangeAspect="1" noMove="1" noResize="1" noEditPoints="1" noAdjustHandles="1" noChangeArrowheads="1" noChangeShapeType="1"/>
                </p:cNvSpPr>
                <p:nvPr/>
              </p:nvSpPr>
              <p:spPr bwMode="gray">
                <a:xfrm>
                  <a:off x="7765280" y="4407622"/>
                  <a:ext cx="107240" cy="114700"/>
                </a:xfrm>
                <a:custGeom>
                  <a:avLst/>
                  <a:gdLst>
                    <a:gd name="T0" fmla="*/ 0 w 60"/>
                    <a:gd name="T1" fmla="*/ 38 h 57"/>
                    <a:gd name="T2" fmla="*/ 0 w 60"/>
                    <a:gd name="T3" fmla="*/ 38 h 57"/>
                    <a:gd name="T4" fmla="*/ 13 w 60"/>
                    <a:gd name="T5" fmla="*/ 18 h 57"/>
                    <a:gd name="T6" fmla="*/ 28 w 60"/>
                    <a:gd name="T7" fmla="*/ 22 h 57"/>
                    <a:gd name="T8" fmla="*/ 49 w 60"/>
                    <a:gd name="T9" fmla="*/ 0 h 57"/>
                    <a:gd name="T10" fmla="*/ 59 w 60"/>
                    <a:gd name="T11" fmla="*/ 13 h 57"/>
                    <a:gd name="T12" fmla="*/ 58 w 60"/>
                    <a:gd name="T13" fmla="*/ 46 h 57"/>
                    <a:gd name="T14" fmla="*/ 53 w 60"/>
                    <a:gd name="T15" fmla="*/ 32 h 57"/>
                    <a:gd name="T16" fmla="*/ 47 w 60"/>
                    <a:gd name="T17" fmla="*/ 56 h 57"/>
                    <a:gd name="T18" fmla="*/ 32 w 60"/>
                    <a:gd name="T19" fmla="*/ 50 h 57"/>
                    <a:gd name="T20" fmla="*/ 23 w 60"/>
                    <a:gd name="T21" fmla="*/ 25 h 57"/>
                    <a:gd name="T22" fmla="*/ 0 w 60"/>
                    <a:gd name="T23" fmla="*/ 38 h 57"/>
                    <a:gd name="T24" fmla="*/ 0 w 60"/>
                    <a:gd name="T25" fmla="*/ 3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57"/>
                    <a:gd name="T41" fmla="*/ 60 w 60"/>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57">
                      <a:moveTo>
                        <a:pt x="0" y="38"/>
                      </a:moveTo>
                      <a:lnTo>
                        <a:pt x="0" y="38"/>
                      </a:lnTo>
                      <a:lnTo>
                        <a:pt x="13" y="18"/>
                      </a:lnTo>
                      <a:lnTo>
                        <a:pt x="28" y="22"/>
                      </a:lnTo>
                      <a:lnTo>
                        <a:pt x="49" y="0"/>
                      </a:lnTo>
                      <a:lnTo>
                        <a:pt x="59" y="13"/>
                      </a:lnTo>
                      <a:lnTo>
                        <a:pt x="58" y="46"/>
                      </a:lnTo>
                      <a:lnTo>
                        <a:pt x="53" y="32"/>
                      </a:lnTo>
                      <a:lnTo>
                        <a:pt x="47" y="56"/>
                      </a:lnTo>
                      <a:lnTo>
                        <a:pt x="32" y="50"/>
                      </a:lnTo>
                      <a:lnTo>
                        <a:pt x="23" y="25"/>
                      </a:lnTo>
                      <a:lnTo>
                        <a:pt x="0" y="38"/>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0" name="Philippines">
                  <a:extLst>
                    <a:ext uri="{FF2B5EF4-FFF2-40B4-BE49-F238E27FC236}">
                      <a16:creationId xmlns:a16="http://schemas.microsoft.com/office/drawing/2014/main" id="{243614AF-8E43-BD3B-B89B-8B8E72FF5916}"/>
                    </a:ext>
                  </a:extLst>
                </p:cNvPr>
                <p:cNvSpPr>
                  <a:spLocks noGrp="1" noRot="1" noChangeAspect="1" noMove="1" noResize="1" noEditPoints="1" noAdjustHandles="1" noChangeArrowheads="1" noChangeShapeType="1"/>
                </p:cNvSpPr>
                <p:nvPr/>
              </p:nvSpPr>
              <p:spPr bwMode="gray">
                <a:xfrm>
                  <a:off x="7777791" y="4379450"/>
                  <a:ext cx="25023" cy="48296"/>
                </a:xfrm>
                <a:custGeom>
                  <a:avLst/>
                  <a:gdLst>
                    <a:gd name="T0" fmla="*/ 0 w 14"/>
                    <a:gd name="T1" fmla="*/ 14 h 24"/>
                    <a:gd name="T2" fmla="*/ 0 w 14"/>
                    <a:gd name="T3" fmla="*/ 14 h 24"/>
                    <a:gd name="T4" fmla="*/ 3 w 14"/>
                    <a:gd name="T5" fmla="*/ 10 h 24"/>
                    <a:gd name="T6" fmla="*/ 13 w 14"/>
                    <a:gd name="T7" fmla="*/ 0 h 24"/>
                    <a:gd name="T8" fmla="*/ 9 w 14"/>
                    <a:gd name="T9" fmla="*/ 23 h 24"/>
                    <a:gd name="T10" fmla="*/ 0 w 14"/>
                    <a:gd name="T11" fmla="*/ 14 h 24"/>
                    <a:gd name="T12" fmla="*/ 0 w 14"/>
                    <a:gd name="T13" fmla="*/ 14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0" y="14"/>
                      </a:moveTo>
                      <a:lnTo>
                        <a:pt x="0" y="14"/>
                      </a:lnTo>
                      <a:lnTo>
                        <a:pt x="3" y="10"/>
                      </a:lnTo>
                      <a:lnTo>
                        <a:pt x="13" y="0"/>
                      </a:lnTo>
                      <a:lnTo>
                        <a:pt x="9" y="23"/>
                      </a:lnTo>
                      <a:lnTo>
                        <a:pt x="0" y="14"/>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19" name="Papua New Guinea">
                <a:extLst>
                  <a:ext uri="{FF2B5EF4-FFF2-40B4-BE49-F238E27FC236}">
                    <a16:creationId xmlns:a16="http://schemas.microsoft.com/office/drawing/2014/main" id="{D419B854-A432-3498-481A-89858AE509E4}"/>
                  </a:ext>
                </a:extLst>
              </p:cNvPr>
              <p:cNvGrpSpPr>
                <a:grpSpLocks noGrp="1" noUngrp="1" noRot="1" noMove="1" noResize="1"/>
              </p:cNvGrpSpPr>
              <p:nvPr/>
            </p:nvGrpSpPr>
            <p:grpSpPr>
              <a:xfrm>
                <a:off x="8239155" y="4743984"/>
                <a:ext cx="299800" cy="215269"/>
                <a:chOff x="8239155" y="4743984"/>
                <a:chExt cx="299800" cy="215269"/>
              </a:xfrm>
              <a:grpFill/>
            </p:grpSpPr>
            <p:sp>
              <p:nvSpPr>
                <p:cNvPr id="61" name="Papua New Guinea">
                  <a:extLst>
                    <a:ext uri="{FF2B5EF4-FFF2-40B4-BE49-F238E27FC236}">
                      <a16:creationId xmlns:a16="http://schemas.microsoft.com/office/drawing/2014/main" id="{5C9446FB-ED8A-AF69-D708-B0D4D38B40B4}"/>
                    </a:ext>
                  </a:extLst>
                </p:cNvPr>
                <p:cNvSpPr>
                  <a:spLocks noGrp="1" noRot="1" noChangeAspect="1" noMove="1" noResize="1" noEditPoints="1" noAdjustHandles="1" noChangeArrowheads="1" noChangeShapeType="1"/>
                </p:cNvSpPr>
                <p:nvPr/>
              </p:nvSpPr>
              <p:spPr bwMode="gray">
                <a:xfrm>
                  <a:off x="8239155" y="4743984"/>
                  <a:ext cx="248614" cy="215269"/>
                </a:xfrm>
                <a:custGeom>
                  <a:avLst/>
                  <a:gdLst>
                    <a:gd name="T0" fmla="*/ 0 w 136"/>
                    <a:gd name="T1" fmla="*/ 0 h 107"/>
                    <a:gd name="T2" fmla="*/ 0 w 136"/>
                    <a:gd name="T3" fmla="*/ 0 h 107"/>
                    <a:gd name="T4" fmla="*/ 2 w 136"/>
                    <a:gd name="T5" fmla="*/ 88 h 107"/>
                    <a:gd name="T6" fmla="*/ 24 w 136"/>
                    <a:gd name="T7" fmla="*/ 91 h 107"/>
                    <a:gd name="T8" fmla="*/ 46 w 136"/>
                    <a:gd name="T9" fmla="*/ 67 h 107"/>
                    <a:gd name="T10" fmla="*/ 70 w 136"/>
                    <a:gd name="T11" fmla="*/ 78 h 107"/>
                    <a:gd name="T12" fmla="*/ 93 w 136"/>
                    <a:gd name="T13" fmla="*/ 101 h 107"/>
                    <a:gd name="T14" fmla="*/ 135 w 136"/>
                    <a:gd name="T15" fmla="*/ 106 h 107"/>
                    <a:gd name="T16" fmla="*/ 87 w 136"/>
                    <a:gd name="T17" fmla="*/ 67 h 107"/>
                    <a:gd name="T18" fmla="*/ 90 w 136"/>
                    <a:gd name="T19" fmla="*/ 47 h 107"/>
                    <a:gd name="T20" fmla="*/ 67 w 136"/>
                    <a:gd name="T21" fmla="*/ 41 h 107"/>
                    <a:gd name="T22" fmla="*/ 46 w 136"/>
                    <a:gd name="T23" fmla="*/ 16 h 107"/>
                    <a:gd name="T24" fmla="*/ 0 w 136"/>
                    <a:gd name="T25" fmla="*/ 0 h 107"/>
                    <a:gd name="T26" fmla="*/ 0 w 136"/>
                    <a:gd name="T27" fmla="*/ 0 h 1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07"/>
                    <a:gd name="T44" fmla="*/ 136 w 136"/>
                    <a:gd name="T45" fmla="*/ 107 h 10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07">
                      <a:moveTo>
                        <a:pt x="0" y="0"/>
                      </a:moveTo>
                      <a:lnTo>
                        <a:pt x="0" y="0"/>
                      </a:lnTo>
                      <a:lnTo>
                        <a:pt x="2" y="88"/>
                      </a:lnTo>
                      <a:lnTo>
                        <a:pt x="24" y="91"/>
                      </a:lnTo>
                      <a:lnTo>
                        <a:pt x="46" y="67"/>
                      </a:lnTo>
                      <a:lnTo>
                        <a:pt x="70" y="78"/>
                      </a:lnTo>
                      <a:lnTo>
                        <a:pt x="93" y="101"/>
                      </a:lnTo>
                      <a:lnTo>
                        <a:pt x="135" y="106"/>
                      </a:lnTo>
                      <a:lnTo>
                        <a:pt x="87" y="67"/>
                      </a:lnTo>
                      <a:lnTo>
                        <a:pt x="90" y="47"/>
                      </a:lnTo>
                      <a:lnTo>
                        <a:pt x="67" y="41"/>
                      </a:lnTo>
                      <a:lnTo>
                        <a:pt x="46" y="16"/>
                      </a:lnTo>
                      <a:lnTo>
                        <a:pt x="0" y="0"/>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2" name="Papua New Guinea">
                  <a:extLst>
                    <a:ext uri="{FF2B5EF4-FFF2-40B4-BE49-F238E27FC236}">
                      <a16:creationId xmlns:a16="http://schemas.microsoft.com/office/drawing/2014/main" id="{F022670C-3899-8719-D729-33D1462DC980}"/>
                    </a:ext>
                  </a:extLst>
                </p:cNvPr>
                <p:cNvSpPr>
                  <a:spLocks noGrp="1" noRot="1" noChangeAspect="1" noMove="1" noResize="1" noEditPoints="1" noAdjustHandles="1" noChangeArrowheads="1" noChangeShapeType="1"/>
                </p:cNvSpPr>
                <p:nvPr/>
              </p:nvSpPr>
              <p:spPr bwMode="gray">
                <a:xfrm>
                  <a:off x="8420132" y="4790257"/>
                  <a:ext cx="104198" cy="56333"/>
                </a:xfrm>
                <a:custGeom>
                  <a:avLst/>
                  <a:gdLst>
                    <a:gd name="T0" fmla="*/ 0 w 57"/>
                    <a:gd name="T1" fmla="*/ 18 h 28"/>
                    <a:gd name="T2" fmla="*/ 0 w 57"/>
                    <a:gd name="T3" fmla="*/ 18 h 28"/>
                    <a:gd name="T4" fmla="*/ 33 w 57"/>
                    <a:gd name="T5" fmla="*/ 27 h 28"/>
                    <a:gd name="T6" fmla="*/ 56 w 57"/>
                    <a:gd name="T7" fmla="*/ 8 h 28"/>
                    <a:gd name="T8" fmla="*/ 47 w 57"/>
                    <a:gd name="T9" fmla="*/ 0 h 28"/>
                    <a:gd name="T10" fmla="*/ 40 w 57"/>
                    <a:gd name="T11" fmla="*/ 10 h 28"/>
                    <a:gd name="T12" fmla="*/ 0 w 57"/>
                    <a:gd name="T13" fmla="*/ 18 h 28"/>
                    <a:gd name="T14" fmla="*/ 0 w 57"/>
                    <a:gd name="T15" fmla="*/ 18 h 28"/>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28"/>
                    <a:gd name="T26" fmla="*/ 57 w 57"/>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28">
                      <a:moveTo>
                        <a:pt x="0" y="18"/>
                      </a:moveTo>
                      <a:lnTo>
                        <a:pt x="0" y="18"/>
                      </a:lnTo>
                      <a:lnTo>
                        <a:pt x="33" y="27"/>
                      </a:lnTo>
                      <a:lnTo>
                        <a:pt x="56" y="8"/>
                      </a:lnTo>
                      <a:lnTo>
                        <a:pt x="47" y="0"/>
                      </a:lnTo>
                      <a:lnTo>
                        <a:pt x="40" y="10"/>
                      </a:lnTo>
                      <a:lnTo>
                        <a:pt x="0" y="18"/>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3" name="Papua New Guinea">
                  <a:extLst>
                    <a:ext uri="{FF2B5EF4-FFF2-40B4-BE49-F238E27FC236}">
                      <a16:creationId xmlns:a16="http://schemas.microsoft.com/office/drawing/2014/main" id="{B9713509-D623-71D4-03DF-D1F7F0F1FF54}"/>
                    </a:ext>
                  </a:extLst>
                </p:cNvPr>
                <p:cNvSpPr>
                  <a:spLocks noGrp="1" noRot="1" noChangeAspect="1" noMove="1" noResize="1" noEditPoints="1" noAdjustHandles="1" noChangeArrowheads="1" noChangeShapeType="1"/>
                </p:cNvSpPr>
                <p:nvPr/>
              </p:nvSpPr>
              <p:spPr bwMode="gray">
                <a:xfrm>
                  <a:off x="8482286" y="4748008"/>
                  <a:ext cx="56669" cy="56333"/>
                </a:xfrm>
                <a:custGeom>
                  <a:avLst/>
                  <a:gdLst>
                    <a:gd name="T0" fmla="*/ 0 w 31"/>
                    <a:gd name="T1" fmla="*/ 0 h 28"/>
                    <a:gd name="T2" fmla="*/ 0 w 31"/>
                    <a:gd name="T3" fmla="*/ 0 h 28"/>
                    <a:gd name="T4" fmla="*/ 23 w 31"/>
                    <a:gd name="T5" fmla="*/ 12 h 28"/>
                    <a:gd name="T6" fmla="*/ 30 w 31"/>
                    <a:gd name="T7" fmla="*/ 27 h 28"/>
                    <a:gd name="T8" fmla="*/ 29 w 31"/>
                    <a:gd name="T9" fmla="*/ 16 h 28"/>
                    <a:gd name="T10" fmla="*/ 0 w 31"/>
                    <a:gd name="T11" fmla="*/ 0 h 28"/>
                    <a:gd name="T12" fmla="*/ 0 w 31"/>
                    <a:gd name="T13" fmla="*/ 0 h 28"/>
                    <a:gd name="T14" fmla="*/ 0 60000 65536"/>
                    <a:gd name="T15" fmla="*/ 0 60000 65536"/>
                    <a:gd name="T16" fmla="*/ 0 60000 65536"/>
                    <a:gd name="T17" fmla="*/ 0 60000 65536"/>
                    <a:gd name="T18" fmla="*/ 0 60000 65536"/>
                    <a:gd name="T19" fmla="*/ 0 60000 65536"/>
                    <a:gd name="T20" fmla="*/ 0 60000 65536"/>
                    <a:gd name="T21" fmla="*/ 0 w 31"/>
                    <a:gd name="T22" fmla="*/ 0 h 28"/>
                    <a:gd name="T23" fmla="*/ 31 w 31"/>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8">
                      <a:moveTo>
                        <a:pt x="0" y="0"/>
                      </a:moveTo>
                      <a:lnTo>
                        <a:pt x="0" y="0"/>
                      </a:lnTo>
                      <a:lnTo>
                        <a:pt x="23" y="12"/>
                      </a:lnTo>
                      <a:lnTo>
                        <a:pt x="30" y="27"/>
                      </a:lnTo>
                      <a:lnTo>
                        <a:pt x="29" y="16"/>
                      </a:lnTo>
                      <a:lnTo>
                        <a:pt x="0" y="0"/>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0" name="New Zealand">
                <a:extLst>
                  <a:ext uri="{FF2B5EF4-FFF2-40B4-BE49-F238E27FC236}">
                    <a16:creationId xmlns:a16="http://schemas.microsoft.com/office/drawing/2014/main" id="{5F703179-39DB-6222-ECD4-08F9E0324219}"/>
                  </a:ext>
                </a:extLst>
              </p:cNvPr>
              <p:cNvGrpSpPr>
                <a:grpSpLocks noGrp="1" noUngrp="1" noRot="1" noMove="1" noResize="1"/>
              </p:cNvGrpSpPr>
              <p:nvPr/>
            </p:nvGrpSpPr>
            <p:grpSpPr>
              <a:xfrm>
                <a:off x="8869306" y="5651947"/>
                <a:ext cx="297891" cy="398565"/>
                <a:chOff x="8869306" y="5651947"/>
                <a:chExt cx="297891" cy="398565"/>
              </a:xfrm>
              <a:grpFill/>
            </p:grpSpPr>
            <p:sp>
              <p:nvSpPr>
                <p:cNvPr id="59" name="New Zealand">
                  <a:extLst>
                    <a:ext uri="{FF2B5EF4-FFF2-40B4-BE49-F238E27FC236}">
                      <a16:creationId xmlns:a16="http://schemas.microsoft.com/office/drawing/2014/main" id="{FF7555F3-757C-9207-0629-33AFFC3CFEA5}"/>
                    </a:ext>
                  </a:extLst>
                </p:cNvPr>
                <p:cNvSpPr>
                  <a:spLocks noGrp="1" noRot="1" noChangeAspect="1" noMove="1" noResize="1" noEditPoints="1" noAdjustHandles="1" noChangeArrowheads="1" noChangeShapeType="1"/>
                </p:cNvSpPr>
                <p:nvPr/>
              </p:nvSpPr>
              <p:spPr bwMode="gray">
                <a:xfrm>
                  <a:off x="8869306" y="5848194"/>
                  <a:ext cx="193719" cy="202318"/>
                </a:xfrm>
                <a:custGeom>
                  <a:avLst/>
                  <a:gdLst>
                    <a:gd name="T0" fmla="*/ 0 w 106"/>
                    <a:gd name="T1" fmla="*/ 87 h 100"/>
                    <a:gd name="T2" fmla="*/ 0 w 106"/>
                    <a:gd name="T3" fmla="*/ 87 h 100"/>
                    <a:gd name="T4" fmla="*/ 22 w 106"/>
                    <a:gd name="T5" fmla="*/ 56 h 100"/>
                    <a:gd name="T6" fmla="*/ 60 w 106"/>
                    <a:gd name="T7" fmla="*/ 34 h 100"/>
                    <a:gd name="T8" fmla="*/ 79 w 106"/>
                    <a:gd name="T9" fmla="*/ 0 h 100"/>
                    <a:gd name="T10" fmla="*/ 91 w 106"/>
                    <a:gd name="T11" fmla="*/ 10 h 100"/>
                    <a:gd name="T12" fmla="*/ 104 w 106"/>
                    <a:gd name="T13" fmla="*/ 6 h 100"/>
                    <a:gd name="T14" fmla="*/ 105 w 106"/>
                    <a:gd name="T15" fmla="*/ 18 h 100"/>
                    <a:gd name="T16" fmla="*/ 85 w 106"/>
                    <a:gd name="T17" fmla="*/ 41 h 100"/>
                    <a:gd name="T18" fmla="*/ 90 w 106"/>
                    <a:gd name="T19" fmla="*/ 52 h 100"/>
                    <a:gd name="T20" fmla="*/ 67 w 106"/>
                    <a:gd name="T21" fmla="*/ 56 h 100"/>
                    <a:gd name="T22" fmla="*/ 57 w 106"/>
                    <a:gd name="T23" fmla="*/ 89 h 100"/>
                    <a:gd name="T24" fmla="*/ 34 w 106"/>
                    <a:gd name="T25" fmla="*/ 99 h 100"/>
                    <a:gd name="T26" fmla="*/ 0 w 106"/>
                    <a:gd name="T27" fmla="*/ 87 h 100"/>
                    <a:gd name="T28" fmla="*/ 0 w 106"/>
                    <a:gd name="T29" fmla="*/ 87 h 1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6"/>
                    <a:gd name="T46" fmla="*/ 0 h 100"/>
                    <a:gd name="T47" fmla="*/ 106 w 106"/>
                    <a:gd name="T48" fmla="*/ 100 h 1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6" h="100">
                      <a:moveTo>
                        <a:pt x="0" y="87"/>
                      </a:moveTo>
                      <a:lnTo>
                        <a:pt x="0" y="87"/>
                      </a:lnTo>
                      <a:lnTo>
                        <a:pt x="22" y="56"/>
                      </a:lnTo>
                      <a:lnTo>
                        <a:pt x="60" y="34"/>
                      </a:lnTo>
                      <a:lnTo>
                        <a:pt x="79" y="0"/>
                      </a:lnTo>
                      <a:lnTo>
                        <a:pt x="91" y="10"/>
                      </a:lnTo>
                      <a:lnTo>
                        <a:pt x="104" y="6"/>
                      </a:lnTo>
                      <a:lnTo>
                        <a:pt x="105" y="18"/>
                      </a:lnTo>
                      <a:lnTo>
                        <a:pt x="85" y="41"/>
                      </a:lnTo>
                      <a:lnTo>
                        <a:pt x="90" y="52"/>
                      </a:lnTo>
                      <a:lnTo>
                        <a:pt x="67" y="56"/>
                      </a:lnTo>
                      <a:lnTo>
                        <a:pt x="57" y="89"/>
                      </a:lnTo>
                      <a:lnTo>
                        <a:pt x="34" y="99"/>
                      </a:lnTo>
                      <a:lnTo>
                        <a:pt x="0" y="87"/>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0" name="New Zealand">
                  <a:extLst>
                    <a:ext uri="{FF2B5EF4-FFF2-40B4-BE49-F238E27FC236}">
                      <a16:creationId xmlns:a16="http://schemas.microsoft.com/office/drawing/2014/main" id="{9150C18E-D57E-4266-7FBB-495384F2CD2F}"/>
                    </a:ext>
                  </a:extLst>
                </p:cNvPr>
                <p:cNvSpPr>
                  <a:spLocks noGrp="1" noRot="1" noChangeAspect="1" noMove="1" noResize="1" noEditPoints="1" noAdjustHandles="1" noChangeArrowheads="1" noChangeShapeType="1"/>
                </p:cNvSpPr>
                <p:nvPr/>
              </p:nvSpPr>
              <p:spPr bwMode="gray">
                <a:xfrm>
                  <a:off x="9020993" y="5651947"/>
                  <a:ext cx="146204" cy="222550"/>
                </a:xfrm>
                <a:custGeom>
                  <a:avLst/>
                  <a:gdLst>
                    <a:gd name="T0" fmla="*/ 0 w 80"/>
                    <a:gd name="T1" fmla="*/ 0 h 110"/>
                    <a:gd name="T2" fmla="*/ 0 w 80"/>
                    <a:gd name="T3" fmla="*/ 0 h 110"/>
                    <a:gd name="T4" fmla="*/ 22 w 80"/>
                    <a:gd name="T5" fmla="*/ 13 h 110"/>
                    <a:gd name="T6" fmla="*/ 28 w 80"/>
                    <a:gd name="T7" fmla="*/ 37 h 110"/>
                    <a:gd name="T8" fmla="*/ 37 w 80"/>
                    <a:gd name="T9" fmla="*/ 43 h 110"/>
                    <a:gd name="T10" fmla="*/ 43 w 80"/>
                    <a:gd name="T11" fmla="*/ 33 h 110"/>
                    <a:gd name="T12" fmla="*/ 47 w 80"/>
                    <a:gd name="T13" fmla="*/ 50 h 110"/>
                    <a:gd name="T14" fmla="*/ 79 w 80"/>
                    <a:gd name="T15" fmla="*/ 50 h 110"/>
                    <a:gd name="T16" fmla="*/ 73 w 80"/>
                    <a:gd name="T17" fmla="*/ 74 h 110"/>
                    <a:gd name="T18" fmla="*/ 57 w 80"/>
                    <a:gd name="T19" fmla="*/ 77 h 110"/>
                    <a:gd name="T20" fmla="*/ 43 w 80"/>
                    <a:gd name="T21" fmla="*/ 108 h 110"/>
                    <a:gd name="T22" fmla="*/ 28 w 80"/>
                    <a:gd name="T23" fmla="*/ 109 h 110"/>
                    <a:gd name="T24" fmla="*/ 35 w 80"/>
                    <a:gd name="T25" fmla="*/ 98 h 110"/>
                    <a:gd name="T26" fmla="*/ 15 w 80"/>
                    <a:gd name="T27" fmla="*/ 75 h 110"/>
                    <a:gd name="T28" fmla="*/ 31 w 80"/>
                    <a:gd name="T29" fmla="*/ 56 h 110"/>
                    <a:gd name="T30" fmla="*/ 28 w 80"/>
                    <a:gd name="T31" fmla="*/ 40 h 110"/>
                    <a:gd name="T32" fmla="*/ 0 w 80"/>
                    <a:gd name="T33" fmla="*/ 0 h 110"/>
                    <a:gd name="T34" fmla="*/ 0 w 80"/>
                    <a:gd name="T35" fmla="*/ 0 h 1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0"/>
                    <a:gd name="T55" fmla="*/ 0 h 110"/>
                    <a:gd name="T56" fmla="*/ 80 w 80"/>
                    <a:gd name="T57" fmla="*/ 110 h 1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0" h="110">
                      <a:moveTo>
                        <a:pt x="0" y="0"/>
                      </a:moveTo>
                      <a:lnTo>
                        <a:pt x="0" y="0"/>
                      </a:lnTo>
                      <a:lnTo>
                        <a:pt x="22" y="13"/>
                      </a:lnTo>
                      <a:lnTo>
                        <a:pt x="28" y="37"/>
                      </a:lnTo>
                      <a:lnTo>
                        <a:pt x="37" y="43"/>
                      </a:lnTo>
                      <a:lnTo>
                        <a:pt x="43" y="33"/>
                      </a:lnTo>
                      <a:lnTo>
                        <a:pt x="47" y="50"/>
                      </a:lnTo>
                      <a:lnTo>
                        <a:pt x="79" y="50"/>
                      </a:lnTo>
                      <a:lnTo>
                        <a:pt x="73" y="74"/>
                      </a:lnTo>
                      <a:lnTo>
                        <a:pt x="57" y="77"/>
                      </a:lnTo>
                      <a:lnTo>
                        <a:pt x="43" y="108"/>
                      </a:lnTo>
                      <a:lnTo>
                        <a:pt x="28" y="109"/>
                      </a:lnTo>
                      <a:lnTo>
                        <a:pt x="35" y="98"/>
                      </a:lnTo>
                      <a:lnTo>
                        <a:pt x="15" y="75"/>
                      </a:lnTo>
                      <a:lnTo>
                        <a:pt x="31" y="56"/>
                      </a:lnTo>
                      <a:lnTo>
                        <a:pt x="28" y="40"/>
                      </a:lnTo>
                      <a:lnTo>
                        <a:pt x="0" y="0"/>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21" name="Nepal">
                <a:extLst>
                  <a:ext uri="{FF2B5EF4-FFF2-40B4-BE49-F238E27FC236}">
                    <a16:creationId xmlns:a16="http://schemas.microsoft.com/office/drawing/2014/main" id="{68AE0225-98F1-464D-00B7-1F825B7DE15C}"/>
                  </a:ext>
                </a:extLst>
              </p:cNvPr>
              <p:cNvSpPr>
                <a:spLocks noGrp="1" noRot="1" noChangeAspect="1" noMove="1" noResize="1" noEditPoints="1" noAdjustHandles="1" noChangeArrowheads="1" noChangeShapeType="1"/>
              </p:cNvSpPr>
              <p:nvPr/>
            </p:nvSpPr>
            <p:spPr bwMode="gray">
              <a:xfrm>
                <a:off x="6722972" y="3823234"/>
                <a:ext cx="204322" cy="115092"/>
              </a:xfrm>
              <a:custGeom>
                <a:avLst/>
                <a:gdLst>
                  <a:gd name="T0" fmla="*/ 0 w 111"/>
                  <a:gd name="T1" fmla="*/ 22 h 57"/>
                  <a:gd name="T2" fmla="*/ 0 w 111"/>
                  <a:gd name="T3" fmla="*/ 22 h 57"/>
                  <a:gd name="T4" fmla="*/ 14 w 111"/>
                  <a:gd name="T5" fmla="*/ 0 h 57"/>
                  <a:gd name="T6" fmla="*/ 57 w 111"/>
                  <a:gd name="T7" fmla="*/ 14 h 57"/>
                  <a:gd name="T8" fmla="*/ 80 w 111"/>
                  <a:gd name="T9" fmla="*/ 35 h 57"/>
                  <a:gd name="T10" fmla="*/ 110 w 111"/>
                  <a:gd name="T11" fmla="*/ 35 h 57"/>
                  <a:gd name="T12" fmla="*/ 108 w 111"/>
                  <a:gd name="T13" fmla="*/ 56 h 57"/>
                  <a:gd name="T14" fmla="*/ 37 w 111"/>
                  <a:gd name="T15" fmla="*/ 43 h 57"/>
                  <a:gd name="T16" fmla="*/ 0 w 111"/>
                  <a:gd name="T17" fmla="*/ 22 h 57"/>
                  <a:gd name="T18" fmla="*/ 0 w 111"/>
                  <a:gd name="T19" fmla="*/ 22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57"/>
                  <a:gd name="T32" fmla="*/ 111 w 111"/>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57">
                    <a:moveTo>
                      <a:pt x="0" y="22"/>
                    </a:moveTo>
                    <a:lnTo>
                      <a:pt x="0" y="22"/>
                    </a:lnTo>
                    <a:lnTo>
                      <a:pt x="14" y="0"/>
                    </a:lnTo>
                    <a:lnTo>
                      <a:pt x="57" y="14"/>
                    </a:lnTo>
                    <a:lnTo>
                      <a:pt x="80" y="35"/>
                    </a:lnTo>
                    <a:lnTo>
                      <a:pt x="110" y="35"/>
                    </a:lnTo>
                    <a:lnTo>
                      <a:pt x="108" y="56"/>
                    </a:lnTo>
                    <a:lnTo>
                      <a:pt x="37" y="43"/>
                    </a:lnTo>
                    <a:lnTo>
                      <a:pt x="0" y="22"/>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Myanmar">
                <a:extLst>
                  <a:ext uri="{FF2B5EF4-FFF2-40B4-BE49-F238E27FC236}">
                    <a16:creationId xmlns:a16="http://schemas.microsoft.com/office/drawing/2014/main" id="{9CD2CE2A-3DA8-BF03-D35A-88BD7D5C6E53}"/>
                  </a:ext>
                </a:extLst>
              </p:cNvPr>
              <p:cNvSpPr>
                <a:spLocks noGrp="1" noRot="1" noChangeAspect="1" noMove="1" noResize="1" noEditPoints="1" noAdjustHandles="1" noChangeArrowheads="1" noChangeShapeType="1"/>
              </p:cNvSpPr>
              <p:nvPr/>
            </p:nvSpPr>
            <p:spPr bwMode="gray">
              <a:xfrm>
                <a:off x="7024682" y="3885045"/>
                <a:ext cx="229147" cy="513660"/>
              </a:xfrm>
              <a:custGeom>
                <a:avLst/>
                <a:gdLst>
                  <a:gd name="T0" fmla="*/ 0 w 124"/>
                  <a:gd name="T1" fmla="*/ 104 h 254"/>
                  <a:gd name="T2" fmla="*/ 0 w 124"/>
                  <a:gd name="T3" fmla="*/ 104 h 254"/>
                  <a:gd name="T4" fmla="*/ 6 w 124"/>
                  <a:gd name="T5" fmla="*/ 90 h 254"/>
                  <a:gd name="T6" fmla="*/ 41 w 124"/>
                  <a:gd name="T7" fmla="*/ 24 h 254"/>
                  <a:gd name="T8" fmla="*/ 66 w 124"/>
                  <a:gd name="T9" fmla="*/ 15 h 254"/>
                  <a:gd name="T10" fmla="*/ 71 w 124"/>
                  <a:gd name="T11" fmla="*/ 0 h 254"/>
                  <a:gd name="T12" fmla="*/ 88 w 124"/>
                  <a:gd name="T13" fmla="*/ 9 h 254"/>
                  <a:gd name="T14" fmla="*/ 89 w 124"/>
                  <a:gd name="T15" fmla="*/ 22 h 254"/>
                  <a:gd name="T16" fmla="*/ 74 w 124"/>
                  <a:gd name="T17" fmla="*/ 62 h 254"/>
                  <a:gd name="T18" fmla="*/ 90 w 124"/>
                  <a:gd name="T19" fmla="*/ 59 h 254"/>
                  <a:gd name="T20" fmla="*/ 98 w 124"/>
                  <a:gd name="T21" fmla="*/ 86 h 254"/>
                  <a:gd name="T22" fmla="*/ 123 w 124"/>
                  <a:gd name="T23" fmla="*/ 94 h 254"/>
                  <a:gd name="T24" fmla="*/ 110 w 124"/>
                  <a:gd name="T25" fmla="*/ 107 h 254"/>
                  <a:gd name="T26" fmla="*/ 81 w 124"/>
                  <a:gd name="T27" fmla="*/ 124 h 254"/>
                  <a:gd name="T28" fmla="*/ 74 w 124"/>
                  <a:gd name="T29" fmla="*/ 140 h 254"/>
                  <a:gd name="T30" fmla="*/ 90 w 124"/>
                  <a:gd name="T31" fmla="*/ 171 h 254"/>
                  <a:gd name="T32" fmla="*/ 84 w 124"/>
                  <a:gd name="T33" fmla="*/ 189 h 254"/>
                  <a:gd name="T34" fmla="*/ 103 w 124"/>
                  <a:gd name="T35" fmla="*/ 229 h 254"/>
                  <a:gd name="T36" fmla="*/ 89 w 124"/>
                  <a:gd name="T37" fmla="*/ 253 h 254"/>
                  <a:gd name="T38" fmla="*/ 75 w 124"/>
                  <a:gd name="T39" fmla="*/ 167 h 254"/>
                  <a:gd name="T40" fmla="*/ 63 w 124"/>
                  <a:gd name="T41" fmla="*/ 153 h 254"/>
                  <a:gd name="T42" fmla="*/ 43 w 124"/>
                  <a:gd name="T43" fmla="*/ 176 h 254"/>
                  <a:gd name="T44" fmla="*/ 28 w 124"/>
                  <a:gd name="T45" fmla="*/ 172 h 254"/>
                  <a:gd name="T46" fmla="*/ 31 w 124"/>
                  <a:gd name="T47" fmla="*/ 140 h 254"/>
                  <a:gd name="T48" fmla="*/ 0 w 124"/>
                  <a:gd name="T49" fmla="*/ 104 h 254"/>
                  <a:gd name="T50" fmla="*/ 0 w 124"/>
                  <a:gd name="T51" fmla="*/ 104 h 2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4"/>
                  <a:gd name="T79" fmla="*/ 0 h 254"/>
                  <a:gd name="T80" fmla="*/ 124 w 124"/>
                  <a:gd name="T81" fmla="*/ 254 h 25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4" h="254">
                    <a:moveTo>
                      <a:pt x="0" y="104"/>
                    </a:moveTo>
                    <a:lnTo>
                      <a:pt x="0" y="104"/>
                    </a:lnTo>
                    <a:lnTo>
                      <a:pt x="6" y="90"/>
                    </a:lnTo>
                    <a:lnTo>
                      <a:pt x="41" y="24"/>
                    </a:lnTo>
                    <a:lnTo>
                      <a:pt x="66" y="15"/>
                    </a:lnTo>
                    <a:lnTo>
                      <a:pt x="71" y="0"/>
                    </a:lnTo>
                    <a:lnTo>
                      <a:pt x="88" y="9"/>
                    </a:lnTo>
                    <a:lnTo>
                      <a:pt x="89" y="22"/>
                    </a:lnTo>
                    <a:lnTo>
                      <a:pt x="74" y="62"/>
                    </a:lnTo>
                    <a:lnTo>
                      <a:pt x="90" y="59"/>
                    </a:lnTo>
                    <a:lnTo>
                      <a:pt x="98" y="86"/>
                    </a:lnTo>
                    <a:lnTo>
                      <a:pt x="123" y="94"/>
                    </a:lnTo>
                    <a:lnTo>
                      <a:pt x="110" y="107"/>
                    </a:lnTo>
                    <a:lnTo>
                      <a:pt x="81" y="124"/>
                    </a:lnTo>
                    <a:lnTo>
                      <a:pt x="74" y="140"/>
                    </a:lnTo>
                    <a:lnTo>
                      <a:pt x="90" y="171"/>
                    </a:lnTo>
                    <a:lnTo>
                      <a:pt x="84" y="189"/>
                    </a:lnTo>
                    <a:lnTo>
                      <a:pt x="103" y="229"/>
                    </a:lnTo>
                    <a:lnTo>
                      <a:pt x="89" y="253"/>
                    </a:lnTo>
                    <a:lnTo>
                      <a:pt x="75" y="167"/>
                    </a:lnTo>
                    <a:lnTo>
                      <a:pt x="63" y="153"/>
                    </a:lnTo>
                    <a:lnTo>
                      <a:pt x="43" y="176"/>
                    </a:lnTo>
                    <a:lnTo>
                      <a:pt x="28" y="172"/>
                    </a:lnTo>
                    <a:lnTo>
                      <a:pt x="31" y="140"/>
                    </a:lnTo>
                    <a:lnTo>
                      <a:pt x="0" y="104"/>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 name="Mongolia">
                <a:extLst>
                  <a:ext uri="{FF2B5EF4-FFF2-40B4-BE49-F238E27FC236}">
                    <a16:creationId xmlns:a16="http://schemas.microsoft.com/office/drawing/2014/main" id="{3145B149-4A7E-04EA-59F5-853441431F2B}"/>
                  </a:ext>
                </a:extLst>
              </p:cNvPr>
              <p:cNvSpPr>
                <a:spLocks noGrp="1" noRot="1" noChangeAspect="1" noMove="1" noResize="1" noEditPoints="1" noAdjustHandles="1" noChangeArrowheads="1" noChangeShapeType="1"/>
              </p:cNvSpPr>
              <p:nvPr/>
            </p:nvSpPr>
            <p:spPr bwMode="gray">
              <a:xfrm>
                <a:off x="6917746" y="3104967"/>
                <a:ext cx="786735" cy="366595"/>
              </a:xfrm>
              <a:custGeom>
                <a:avLst/>
                <a:gdLst>
                  <a:gd name="T0" fmla="*/ 0 w 434"/>
                  <a:gd name="T1" fmla="*/ 57 h 183"/>
                  <a:gd name="T2" fmla="*/ 0 w 434"/>
                  <a:gd name="T3" fmla="*/ 57 h 183"/>
                  <a:gd name="T4" fmla="*/ 14 w 434"/>
                  <a:gd name="T5" fmla="*/ 76 h 183"/>
                  <a:gd name="T6" fmla="*/ 33 w 434"/>
                  <a:gd name="T7" fmla="*/ 82 h 183"/>
                  <a:gd name="T8" fmla="*/ 41 w 434"/>
                  <a:gd name="T9" fmla="*/ 121 h 183"/>
                  <a:gd name="T10" fmla="*/ 101 w 434"/>
                  <a:gd name="T11" fmla="*/ 136 h 183"/>
                  <a:gd name="T12" fmla="*/ 127 w 434"/>
                  <a:gd name="T13" fmla="*/ 163 h 183"/>
                  <a:gd name="T14" fmla="*/ 176 w 434"/>
                  <a:gd name="T15" fmla="*/ 161 h 183"/>
                  <a:gd name="T16" fmla="*/ 232 w 434"/>
                  <a:gd name="T17" fmla="*/ 182 h 183"/>
                  <a:gd name="T18" fmla="*/ 307 w 434"/>
                  <a:gd name="T19" fmla="*/ 163 h 183"/>
                  <a:gd name="T20" fmla="*/ 330 w 434"/>
                  <a:gd name="T21" fmla="*/ 148 h 183"/>
                  <a:gd name="T22" fmla="*/ 330 w 434"/>
                  <a:gd name="T23" fmla="*/ 127 h 183"/>
                  <a:gd name="T24" fmla="*/ 351 w 434"/>
                  <a:gd name="T25" fmla="*/ 129 h 183"/>
                  <a:gd name="T26" fmla="*/ 396 w 434"/>
                  <a:gd name="T27" fmla="*/ 99 h 183"/>
                  <a:gd name="T28" fmla="*/ 433 w 434"/>
                  <a:gd name="T29" fmla="*/ 97 h 183"/>
                  <a:gd name="T30" fmla="*/ 415 w 434"/>
                  <a:gd name="T31" fmla="*/ 74 h 183"/>
                  <a:gd name="T32" fmla="*/ 380 w 434"/>
                  <a:gd name="T33" fmla="*/ 80 h 183"/>
                  <a:gd name="T34" fmla="*/ 380 w 434"/>
                  <a:gd name="T35" fmla="*/ 54 h 183"/>
                  <a:gd name="T36" fmla="*/ 389 w 434"/>
                  <a:gd name="T37" fmla="*/ 40 h 183"/>
                  <a:gd name="T38" fmla="*/ 364 w 434"/>
                  <a:gd name="T39" fmla="*/ 36 h 183"/>
                  <a:gd name="T40" fmla="*/ 299 w 434"/>
                  <a:gd name="T41" fmla="*/ 52 h 183"/>
                  <a:gd name="T42" fmla="*/ 243 w 434"/>
                  <a:gd name="T43" fmla="*/ 29 h 183"/>
                  <a:gd name="T44" fmla="*/ 206 w 434"/>
                  <a:gd name="T45" fmla="*/ 32 h 183"/>
                  <a:gd name="T46" fmla="*/ 193 w 434"/>
                  <a:gd name="T47" fmla="*/ 13 h 183"/>
                  <a:gd name="T48" fmla="*/ 157 w 434"/>
                  <a:gd name="T49" fmla="*/ 0 h 183"/>
                  <a:gd name="T50" fmla="*/ 138 w 434"/>
                  <a:gd name="T51" fmla="*/ 14 h 183"/>
                  <a:gd name="T52" fmla="*/ 137 w 434"/>
                  <a:gd name="T53" fmla="*/ 40 h 183"/>
                  <a:gd name="T54" fmla="*/ 55 w 434"/>
                  <a:gd name="T55" fmla="*/ 28 h 183"/>
                  <a:gd name="T56" fmla="*/ 0 w 434"/>
                  <a:gd name="T57" fmla="*/ 57 h 183"/>
                  <a:gd name="T58" fmla="*/ 0 w 434"/>
                  <a:gd name="T59" fmla="*/ 57 h 1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4"/>
                  <a:gd name="T91" fmla="*/ 0 h 183"/>
                  <a:gd name="T92" fmla="*/ 434 w 434"/>
                  <a:gd name="T93" fmla="*/ 183 h 1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4" h="183">
                    <a:moveTo>
                      <a:pt x="0" y="57"/>
                    </a:moveTo>
                    <a:lnTo>
                      <a:pt x="0" y="57"/>
                    </a:lnTo>
                    <a:lnTo>
                      <a:pt x="14" y="76"/>
                    </a:lnTo>
                    <a:lnTo>
                      <a:pt x="33" y="82"/>
                    </a:lnTo>
                    <a:lnTo>
                      <a:pt x="41" y="121"/>
                    </a:lnTo>
                    <a:lnTo>
                      <a:pt x="101" y="136"/>
                    </a:lnTo>
                    <a:lnTo>
                      <a:pt x="127" y="163"/>
                    </a:lnTo>
                    <a:lnTo>
                      <a:pt x="176" y="161"/>
                    </a:lnTo>
                    <a:lnTo>
                      <a:pt x="232" y="182"/>
                    </a:lnTo>
                    <a:lnTo>
                      <a:pt x="307" y="163"/>
                    </a:lnTo>
                    <a:lnTo>
                      <a:pt x="330" y="148"/>
                    </a:lnTo>
                    <a:lnTo>
                      <a:pt x="330" y="127"/>
                    </a:lnTo>
                    <a:lnTo>
                      <a:pt x="351" y="129"/>
                    </a:lnTo>
                    <a:lnTo>
                      <a:pt x="396" y="99"/>
                    </a:lnTo>
                    <a:lnTo>
                      <a:pt x="433" y="97"/>
                    </a:lnTo>
                    <a:lnTo>
                      <a:pt x="415" y="74"/>
                    </a:lnTo>
                    <a:lnTo>
                      <a:pt x="380" y="80"/>
                    </a:lnTo>
                    <a:lnTo>
                      <a:pt x="380" y="54"/>
                    </a:lnTo>
                    <a:lnTo>
                      <a:pt x="389" y="40"/>
                    </a:lnTo>
                    <a:lnTo>
                      <a:pt x="364" y="36"/>
                    </a:lnTo>
                    <a:lnTo>
                      <a:pt x="299" y="52"/>
                    </a:lnTo>
                    <a:lnTo>
                      <a:pt x="243" y="29"/>
                    </a:lnTo>
                    <a:lnTo>
                      <a:pt x="206" y="32"/>
                    </a:lnTo>
                    <a:lnTo>
                      <a:pt x="193" y="13"/>
                    </a:lnTo>
                    <a:lnTo>
                      <a:pt x="157" y="0"/>
                    </a:lnTo>
                    <a:lnTo>
                      <a:pt x="138" y="14"/>
                    </a:lnTo>
                    <a:lnTo>
                      <a:pt x="137" y="40"/>
                    </a:lnTo>
                    <a:lnTo>
                      <a:pt x="55" y="28"/>
                    </a:lnTo>
                    <a:lnTo>
                      <a:pt x="0" y="57"/>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24" name="Malaysia">
                <a:extLst>
                  <a:ext uri="{FF2B5EF4-FFF2-40B4-BE49-F238E27FC236}">
                    <a16:creationId xmlns:a16="http://schemas.microsoft.com/office/drawing/2014/main" id="{44EB1928-C9C2-A6FA-7D80-874DDEA7E995}"/>
                  </a:ext>
                </a:extLst>
              </p:cNvPr>
              <p:cNvGrpSpPr>
                <a:grpSpLocks noGrp="1" noUngrp="1" noRot="1" noMove="1" noResize="1"/>
              </p:cNvGrpSpPr>
              <p:nvPr/>
            </p:nvGrpSpPr>
            <p:grpSpPr>
              <a:xfrm>
                <a:off x="7230912" y="4481827"/>
                <a:ext cx="467840" cy="170509"/>
                <a:chOff x="7230912" y="4481827"/>
                <a:chExt cx="467840" cy="170509"/>
              </a:xfrm>
              <a:grpFill/>
            </p:grpSpPr>
            <p:sp>
              <p:nvSpPr>
                <p:cNvPr id="57" name="Malaysia">
                  <a:extLst>
                    <a:ext uri="{FF2B5EF4-FFF2-40B4-BE49-F238E27FC236}">
                      <a16:creationId xmlns:a16="http://schemas.microsoft.com/office/drawing/2014/main" id="{8128F599-7F50-15DB-8990-5B34EA54E202}"/>
                    </a:ext>
                  </a:extLst>
                </p:cNvPr>
                <p:cNvSpPr>
                  <a:spLocks noGrp="1" noRot="1" noChangeAspect="1" noMove="1" noResize="1" noEditPoints="1" noAdjustHandles="1" noChangeArrowheads="1" noChangeShapeType="1"/>
                </p:cNvSpPr>
                <p:nvPr/>
              </p:nvSpPr>
              <p:spPr bwMode="gray">
                <a:xfrm>
                  <a:off x="7230912" y="4492100"/>
                  <a:ext cx="93569" cy="141748"/>
                </a:xfrm>
                <a:custGeom>
                  <a:avLst/>
                  <a:gdLst>
                    <a:gd name="T0" fmla="*/ 0 w 52"/>
                    <a:gd name="T1" fmla="*/ 0 h 69"/>
                    <a:gd name="T2" fmla="*/ 0 w 52"/>
                    <a:gd name="T3" fmla="*/ 0 h 69"/>
                    <a:gd name="T4" fmla="*/ 10 w 52"/>
                    <a:gd name="T5" fmla="*/ 0 h 69"/>
                    <a:gd name="T6" fmla="*/ 13 w 52"/>
                    <a:gd name="T7" fmla="*/ 13 h 69"/>
                    <a:gd name="T8" fmla="*/ 26 w 52"/>
                    <a:gd name="T9" fmla="*/ 5 h 69"/>
                    <a:gd name="T10" fmla="*/ 43 w 52"/>
                    <a:gd name="T11" fmla="*/ 21 h 69"/>
                    <a:gd name="T12" fmla="*/ 51 w 52"/>
                    <a:gd name="T13" fmla="*/ 68 h 69"/>
                    <a:gd name="T14" fmla="*/ 50 w 52"/>
                    <a:gd name="T15" fmla="*/ 68 h 69"/>
                    <a:gd name="T16" fmla="*/ 16 w 52"/>
                    <a:gd name="T17" fmla="*/ 48 h 69"/>
                    <a:gd name="T18" fmla="*/ 0 w 52"/>
                    <a:gd name="T19" fmla="*/ 0 h 69"/>
                    <a:gd name="T20" fmla="*/ 0 w 52"/>
                    <a:gd name="T21" fmla="*/ 0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69"/>
                    <a:gd name="T35" fmla="*/ 52 w 52"/>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69">
                      <a:moveTo>
                        <a:pt x="0" y="0"/>
                      </a:moveTo>
                      <a:lnTo>
                        <a:pt x="0" y="0"/>
                      </a:lnTo>
                      <a:lnTo>
                        <a:pt x="10" y="0"/>
                      </a:lnTo>
                      <a:lnTo>
                        <a:pt x="13" y="13"/>
                      </a:lnTo>
                      <a:lnTo>
                        <a:pt x="26" y="5"/>
                      </a:lnTo>
                      <a:lnTo>
                        <a:pt x="43" y="21"/>
                      </a:lnTo>
                      <a:lnTo>
                        <a:pt x="51" y="68"/>
                      </a:lnTo>
                      <a:lnTo>
                        <a:pt x="50" y="68"/>
                      </a:lnTo>
                      <a:lnTo>
                        <a:pt x="16" y="48"/>
                      </a:lnTo>
                      <a:lnTo>
                        <a:pt x="0" y="0"/>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8" name="Malaysia">
                  <a:extLst>
                    <a:ext uri="{FF2B5EF4-FFF2-40B4-BE49-F238E27FC236}">
                      <a16:creationId xmlns:a16="http://schemas.microsoft.com/office/drawing/2014/main" id="{63E3222D-2792-0422-5A43-8E493F2064E7}"/>
                    </a:ext>
                  </a:extLst>
                </p:cNvPr>
                <p:cNvSpPr>
                  <a:spLocks noGrp="1" noRot="1" noChangeAspect="1" noMove="1" noResize="1" noEditPoints="1" noAdjustHandles="1" noChangeArrowheads="1" noChangeShapeType="1"/>
                </p:cNvSpPr>
                <p:nvPr/>
              </p:nvSpPr>
              <p:spPr bwMode="gray">
                <a:xfrm>
                  <a:off x="7461234" y="4481827"/>
                  <a:ext cx="237518" cy="170509"/>
                </a:xfrm>
                <a:custGeom>
                  <a:avLst/>
                  <a:gdLst>
                    <a:gd name="T0" fmla="*/ 0 w 132"/>
                    <a:gd name="T1" fmla="*/ 72 h 83"/>
                    <a:gd name="T2" fmla="*/ 0 w 132"/>
                    <a:gd name="T3" fmla="*/ 72 h 83"/>
                    <a:gd name="T4" fmla="*/ 12 w 132"/>
                    <a:gd name="T5" fmla="*/ 82 h 83"/>
                    <a:gd name="T6" fmla="*/ 53 w 132"/>
                    <a:gd name="T7" fmla="*/ 79 h 83"/>
                    <a:gd name="T8" fmla="*/ 66 w 132"/>
                    <a:gd name="T9" fmla="*/ 73 h 83"/>
                    <a:gd name="T10" fmla="*/ 84 w 132"/>
                    <a:gd name="T11" fmla="*/ 36 h 83"/>
                    <a:gd name="T12" fmla="*/ 108 w 132"/>
                    <a:gd name="T13" fmla="*/ 37 h 83"/>
                    <a:gd name="T14" fmla="*/ 131 w 132"/>
                    <a:gd name="T15" fmla="*/ 25 h 83"/>
                    <a:gd name="T16" fmla="*/ 109 w 132"/>
                    <a:gd name="T17" fmla="*/ 14 h 83"/>
                    <a:gd name="T18" fmla="*/ 102 w 132"/>
                    <a:gd name="T19" fmla="*/ 0 h 83"/>
                    <a:gd name="T20" fmla="*/ 75 w 132"/>
                    <a:gd name="T21" fmla="*/ 26 h 83"/>
                    <a:gd name="T22" fmla="*/ 67 w 132"/>
                    <a:gd name="T23" fmla="*/ 40 h 83"/>
                    <a:gd name="T24" fmla="*/ 59 w 132"/>
                    <a:gd name="T25" fmla="*/ 32 h 83"/>
                    <a:gd name="T26" fmla="*/ 43 w 132"/>
                    <a:gd name="T27" fmla="*/ 52 h 83"/>
                    <a:gd name="T28" fmla="*/ 26 w 132"/>
                    <a:gd name="T29" fmla="*/ 55 h 83"/>
                    <a:gd name="T30" fmla="*/ 20 w 132"/>
                    <a:gd name="T31" fmla="*/ 73 h 83"/>
                    <a:gd name="T32" fmla="*/ 0 w 132"/>
                    <a:gd name="T33" fmla="*/ 72 h 83"/>
                    <a:gd name="T34" fmla="*/ 0 w 132"/>
                    <a:gd name="T35" fmla="*/ 72 h 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83"/>
                    <a:gd name="T56" fmla="*/ 132 w 132"/>
                    <a:gd name="T57" fmla="*/ 83 h 8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83">
                      <a:moveTo>
                        <a:pt x="0" y="72"/>
                      </a:moveTo>
                      <a:lnTo>
                        <a:pt x="0" y="72"/>
                      </a:lnTo>
                      <a:lnTo>
                        <a:pt x="12" y="82"/>
                      </a:lnTo>
                      <a:lnTo>
                        <a:pt x="53" y="79"/>
                      </a:lnTo>
                      <a:lnTo>
                        <a:pt x="66" y="73"/>
                      </a:lnTo>
                      <a:lnTo>
                        <a:pt x="84" y="36"/>
                      </a:lnTo>
                      <a:lnTo>
                        <a:pt x="108" y="37"/>
                      </a:lnTo>
                      <a:lnTo>
                        <a:pt x="131" y="25"/>
                      </a:lnTo>
                      <a:lnTo>
                        <a:pt x="109" y="14"/>
                      </a:lnTo>
                      <a:lnTo>
                        <a:pt x="102" y="0"/>
                      </a:lnTo>
                      <a:lnTo>
                        <a:pt x="75" y="26"/>
                      </a:lnTo>
                      <a:lnTo>
                        <a:pt x="67" y="40"/>
                      </a:lnTo>
                      <a:lnTo>
                        <a:pt x="59" y="32"/>
                      </a:lnTo>
                      <a:lnTo>
                        <a:pt x="43" y="52"/>
                      </a:lnTo>
                      <a:lnTo>
                        <a:pt x="26" y="55"/>
                      </a:lnTo>
                      <a:lnTo>
                        <a:pt x="20" y="73"/>
                      </a:lnTo>
                      <a:lnTo>
                        <a:pt x="0" y="72"/>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25" name="South Korea">
                <a:extLst>
                  <a:ext uri="{FF2B5EF4-FFF2-40B4-BE49-F238E27FC236}">
                    <a16:creationId xmlns:a16="http://schemas.microsoft.com/office/drawing/2014/main" id="{53FEE0BF-5E5F-BA37-98BF-C5FF9B3BA788}"/>
                  </a:ext>
                </a:extLst>
              </p:cNvPr>
              <p:cNvSpPr>
                <a:spLocks noGrp="1" noRot="1" noChangeAspect="1" noMove="1" noResize="1" noEditPoints="1" noAdjustHandles="1" noChangeArrowheads="1" noChangeShapeType="1"/>
              </p:cNvSpPr>
              <p:nvPr/>
            </p:nvSpPr>
            <p:spPr bwMode="gray">
              <a:xfrm>
                <a:off x="7872522" y="3565339"/>
                <a:ext cx="84020" cy="134275"/>
              </a:xfrm>
              <a:custGeom>
                <a:avLst/>
                <a:gdLst>
                  <a:gd name="T0" fmla="*/ 0 w 48"/>
                  <a:gd name="T1" fmla="*/ 65 h 66"/>
                  <a:gd name="T2" fmla="*/ 0 w 48"/>
                  <a:gd name="T3" fmla="*/ 65 h 66"/>
                  <a:gd name="T4" fmla="*/ 5 w 48"/>
                  <a:gd name="T5" fmla="*/ 14 h 66"/>
                  <a:gd name="T6" fmla="*/ 30 w 48"/>
                  <a:gd name="T7" fmla="*/ 0 h 66"/>
                  <a:gd name="T8" fmla="*/ 47 w 48"/>
                  <a:gd name="T9" fmla="*/ 40 h 66"/>
                  <a:gd name="T10" fmla="*/ 30 w 48"/>
                  <a:gd name="T11" fmla="*/ 59 h 66"/>
                  <a:gd name="T12" fmla="*/ 0 w 48"/>
                  <a:gd name="T13" fmla="*/ 65 h 66"/>
                  <a:gd name="T14" fmla="*/ 0 w 48"/>
                  <a:gd name="T15" fmla="*/ 65 h 66"/>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6"/>
                  <a:gd name="T26" fmla="*/ 48 w 4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6">
                    <a:moveTo>
                      <a:pt x="0" y="65"/>
                    </a:moveTo>
                    <a:lnTo>
                      <a:pt x="0" y="65"/>
                    </a:lnTo>
                    <a:lnTo>
                      <a:pt x="5" y="14"/>
                    </a:lnTo>
                    <a:lnTo>
                      <a:pt x="30" y="0"/>
                    </a:lnTo>
                    <a:lnTo>
                      <a:pt x="47" y="40"/>
                    </a:lnTo>
                    <a:lnTo>
                      <a:pt x="30" y="59"/>
                    </a:lnTo>
                    <a:lnTo>
                      <a:pt x="0" y="65"/>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 name="North Korea">
                <a:extLst>
                  <a:ext uri="{FF2B5EF4-FFF2-40B4-BE49-F238E27FC236}">
                    <a16:creationId xmlns:a16="http://schemas.microsoft.com/office/drawing/2014/main" id="{C6676CB9-2334-0B11-28A8-0CE31CBAA0D3}"/>
                  </a:ext>
                </a:extLst>
              </p:cNvPr>
              <p:cNvSpPr>
                <a:spLocks noGrp="1" noRot="1" noChangeAspect="1" noMove="1" noResize="1" noEditPoints="1" noAdjustHandles="1" noChangeArrowheads="1" noChangeShapeType="1"/>
              </p:cNvSpPr>
              <p:nvPr/>
            </p:nvSpPr>
            <p:spPr bwMode="gray">
              <a:xfrm>
                <a:off x="7826691" y="3426800"/>
                <a:ext cx="156583" cy="170509"/>
              </a:xfrm>
              <a:custGeom>
                <a:avLst/>
                <a:gdLst>
                  <a:gd name="T0" fmla="*/ 0 w 87"/>
                  <a:gd name="T1" fmla="*/ 47 h 84"/>
                  <a:gd name="T2" fmla="*/ 0 w 87"/>
                  <a:gd name="T3" fmla="*/ 47 h 84"/>
                  <a:gd name="T4" fmla="*/ 16 w 87"/>
                  <a:gd name="T5" fmla="*/ 54 h 84"/>
                  <a:gd name="T6" fmla="*/ 6 w 87"/>
                  <a:gd name="T7" fmla="*/ 78 h 84"/>
                  <a:gd name="T8" fmla="*/ 30 w 87"/>
                  <a:gd name="T9" fmla="*/ 83 h 84"/>
                  <a:gd name="T10" fmla="*/ 55 w 87"/>
                  <a:gd name="T11" fmla="*/ 69 h 84"/>
                  <a:gd name="T12" fmla="*/ 44 w 87"/>
                  <a:gd name="T13" fmla="*/ 50 h 84"/>
                  <a:gd name="T14" fmla="*/ 73 w 87"/>
                  <a:gd name="T15" fmla="*/ 32 h 84"/>
                  <a:gd name="T16" fmla="*/ 86 w 87"/>
                  <a:gd name="T17" fmla="*/ 8 h 84"/>
                  <a:gd name="T18" fmla="*/ 85 w 87"/>
                  <a:gd name="T19" fmla="*/ 5 h 84"/>
                  <a:gd name="T20" fmla="*/ 79 w 87"/>
                  <a:gd name="T21" fmla="*/ 0 h 84"/>
                  <a:gd name="T22" fmla="*/ 53 w 87"/>
                  <a:gd name="T23" fmla="*/ 16 h 84"/>
                  <a:gd name="T24" fmla="*/ 53 w 87"/>
                  <a:gd name="T25" fmla="*/ 25 h 84"/>
                  <a:gd name="T26" fmla="*/ 35 w 87"/>
                  <a:gd name="T27" fmla="*/ 22 h 84"/>
                  <a:gd name="T28" fmla="*/ 0 w 87"/>
                  <a:gd name="T29" fmla="*/ 47 h 84"/>
                  <a:gd name="T30" fmla="*/ 0 w 87"/>
                  <a:gd name="T31" fmla="*/ 47 h 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7"/>
                  <a:gd name="T49" fmla="*/ 0 h 84"/>
                  <a:gd name="T50" fmla="*/ 87 w 87"/>
                  <a:gd name="T51" fmla="*/ 84 h 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7" h="84">
                    <a:moveTo>
                      <a:pt x="0" y="47"/>
                    </a:moveTo>
                    <a:lnTo>
                      <a:pt x="0" y="47"/>
                    </a:lnTo>
                    <a:lnTo>
                      <a:pt x="16" y="54"/>
                    </a:lnTo>
                    <a:lnTo>
                      <a:pt x="6" y="78"/>
                    </a:lnTo>
                    <a:lnTo>
                      <a:pt x="30" y="83"/>
                    </a:lnTo>
                    <a:lnTo>
                      <a:pt x="55" y="69"/>
                    </a:lnTo>
                    <a:lnTo>
                      <a:pt x="44" y="50"/>
                    </a:lnTo>
                    <a:lnTo>
                      <a:pt x="73" y="32"/>
                    </a:lnTo>
                    <a:lnTo>
                      <a:pt x="86" y="8"/>
                    </a:lnTo>
                    <a:lnTo>
                      <a:pt x="85" y="5"/>
                    </a:lnTo>
                    <a:lnTo>
                      <a:pt x="79" y="0"/>
                    </a:lnTo>
                    <a:lnTo>
                      <a:pt x="53" y="16"/>
                    </a:lnTo>
                    <a:lnTo>
                      <a:pt x="53" y="25"/>
                    </a:lnTo>
                    <a:lnTo>
                      <a:pt x="35" y="22"/>
                    </a:lnTo>
                    <a:lnTo>
                      <a:pt x="0" y="47"/>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 name="Kazakhstan">
                <a:extLst>
                  <a:ext uri="{FF2B5EF4-FFF2-40B4-BE49-F238E27FC236}">
                    <a16:creationId xmlns:a16="http://schemas.microsoft.com/office/drawing/2014/main" id="{20897EA1-3B03-2CB5-E562-5E119A6FD2F5}"/>
                  </a:ext>
                </a:extLst>
              </p:cNvPr>
              <p:cNvSpPr>
                <a:spLocks noGrp="1" noRot="1" noChangeAspect="1" noMove="1" noResize="1" noEditPoints="1" noAdjustHandles="1" noChangeArrowheads="1" noChangeShapeType="1"/>
              </p:cNvSpPr>
              <p:nvPr/>
            </p:nvSpPr>
            <p:spPr bwMode="gray">
              <a:xfrm>
                <a:off x="5861762" y="2985609"/>
                <a:ext cx="1036886" cy="498740"/>
              </a:xfrm>
              <a:custGeom>
                <a:avLst/>
                <a:gdLst>
                  <a:gd name="T0" fmla="*/ 542 w 572"/>
                  <a:gd name="T1" fmla="*/ 101 h 246"/>
                  <a:gd name="T2" fmla="*/ 485 w 572"/>
                  <a:gd name="T3" fmla="*/ 95 h 246"/>
                  <a:gd name="T4" fmla="*/ 464 w 572"/>
                  <a:gd name="T5" fmla="*/ 76 h 246"/>
                  <a:gd name="T6" fmla="*/ 437 w 572"/>
                  <a:gd name="T7" fmla="*/ 79 h 246"/>
                  <a:gd name="T8" fmla="*/ 411 w 572"/>
                  <a:gd name="T9" fmla="*/ 71 h 246"/>
                  <a:gd name="T10" fmla="*/ 364 w 572"/>
                  <a:gd name="T11" fmla="*/ 41 h 246"/>
                  <a:gd name="T12" fmla="*/ 305 w 572"/>
                  <a:gd name="T13" fmla="*/ 30 h 246"/>
                  <a:gd name="T14" fmla="*/ 264 w 572"/>
                  <a:gd name="T15" fmla="*/ 18 h 246"/>
                  <a:gd name="T16" fmla="*/ 223 w 572"/>
                  <a:gd name="T17" fmla="*/ 10 h 246"/>
                  <a:gd name="T18" fmla="*/ 184 w 572"/>
                  <a:gd name="T19" fmla="*/ 21 h 246"/>
                  <a:gd name="T20" fmla="*/ 140 w 572"/>
                  <a:gd name="T21" fmla="*/ 21 h 246"/>
                  <a:gd name="T22" fmla="*/ 140 w 572"/>
                  <a:gd name="T23" fmla="*/ 49 h 246"/>
                  <a:gd name="T24" fmla="*/ 157 w 572"/>
                  <a:gd name="T25" fmla="*/ 62 h 246"/>
                  <a:gd name="T26" fmla="*/ 157 w 572"/>
                  <a:gd name="T27" fmla="*/ 81 h 246"/>
                  <a:gd name="T28" fmla="*/ 140 w 572"/>
                  <a:gd name="T29" fmla="*/ 82 h 246"/>
                  <a:gd name="T30" fmla="*/ 115 w 572"/>
                  <a:gd name="T31" fmla="*/ 72 h 246"/>
                  <a:gd name="T32" fmla="*/ 98 w 572"/>
                  <a:gd name="T33" fmla="*/ 76 h 246"/>
                  <a:gd name="T34" fmla="*/ 78 w 572"/>
                  <a:gd name="T35" fmla="*/ 69 h 246"/>
                  <a:gd name="T36" fmla="*/ 30 w 572"/>
                  <a:gd name="T37" fmla="*/ 68 h 246"/>
                  <a:gd name="T38" fmla="*/ 20 w 572"/>
                  <a:gd name="T39" fmla="*/ 78 h 246"/>
                  <a:gd name="T40" fmla="*/ 18 w 572"/>
                  <a:gd name="T41" fmla="*/ 91 h 246"/>
                  <a:gd name="T42" fmla="*/ 3 w 572"/>
                  <a:gd name="T43" fmla="*/ 85 h 246"/>
                  <a:gd name="T44" fmla="*/ 0 w 572"/>
                  <a:gd name="T45" fmla="*/ 112 h 246"/>
                  <a:gd name="T46" fmla="*/ 8 w 572"/>
                  <a:gd name="T47" fmla="*/ 131 h 246"/>
                  <a:gd name="T48" fmla="*/ 26 w 572"/>
                  <a:gd name="T49" fmla="*/ 130 h 246"/>
                  <a:gd name="T50" fmla="*/ 43 w 572"/>
                  <a:gd name="T51" fmla="*/ 157 h 246"/>
                  <a:gd name="T52" fmla="*/ 104 w 572"/>
                  <a:gd name="T53" fmla="*/ 147 h 246"/>
                  <a:gd name="T54" fmla="*/ 99 w 572"/>
                  <a:gd name="T55" fmla="*/ 176 h 246"/>
                  <a:gd name="T56" fmla="*/ 68 w 572"/>
                  <a:gd name="T57" fmla="*/ 191 h 246"/>
                  <a:gd name="T58" fmla="*/ 102 w 572"/>
                  <a:gd name="T59" fmla="*/ 219 h 246"/>
                  <a:gd name="T60" fmla="*/ 126 w 572"/>
                  <a:gd name="T61" fmla="*/ 222 h 246"/>
                  <a:gd name="T62" fmla="*/ 144 w 572"/>
                  <a:gd name="T63" fmla="*/ 226 h 246"/>
                  <a:gd name="T64" fmla="*/ 144 w 572"/>
                  <a:gd name="T65" fmla="*/ 171 h 246"/>
                  <a:gd name="T66" fmla="*/ 168 w 572"/>
                  <a:gd name="T67" fmla="*/ 154 h 246"/>
                  <a:gd name="T68" fmla="*/ 176 w 572"/>
                  <a:gd name="T69" fmla="*/ 147 h 246"/>
                  <a:gd name="T70" fmla="*/ 188 w 572"/>
                  <a:gd name="T71" fmla="*/ 152 h 246"/>
                  <a:gd name="T72" fmla="*/ 194 w 572"/>
                  <a:gd name="T73" fmla="*/ 156 h 246"/>
                  <a:gd name="T74" fmla="*/ 209 w 572"/>
                  <a:gd name="T75" fmla="*/ 179 h 246"/>
                  <a:gd name="T76" fmla="*/ 222 w 572"/>
                  <a:gd name="T77" fmla="*/ 194 h 246"/>
                  <a:gd name="T78" fmla="*/ 255 w 572"/>
                  <a:gd name="T79" fmla="*/ 194 h 246"/>
                  <a:gd name="T80" fmla="*/ 268 w 572"/>
                  <a:gd name="T81" fmla="*/ 232 h 246"/>
                  <a:gd name="T82" fmla="*/ 282 w 572"/>
                  <a:gd name="T83" fmla="*/ 245 h 246"/>
                  <a:gd name="T84" fmla="*/ 315 w 572"/>
                  <a:gd name="T85" fmla="*/ 239 h 246"/>
                  <a:gd name="T86" fmla="*/ 354 w 572"/>
                  <a:gd name="T87" fmla="*/ 239 h 246"/>
                  <a:gd name="T88" fmla="*/ 352 w 572"/>
                  <a:gd name="T89" fmla="*/ 223 h 246"/>
                  <a:gd name="T90" fmla="*/ 359 w 572"/>
                  <a:gd name="T91" fmla="*/ 215 h 246"/>
                  <a:gd name="T92" fmla="*/ 383 w 572"/>
                  <a:gd name="T93" fmla="*/ 218 h 246"/>
                  <a:gd name="T94" fmla="*/ 417 w 572"/>
                  <a:gd name="T95" fmla="*/ 210 h 246"/>
                  <a:gd name="T96" fmla="*/ 474 w 572"/>
                  <a:gd name="T97" fmla="*/ 221 h 246"/>
                  <a:gd name="T98" fmla="*/ 474 w 572"/>
                  <a:gd name="T99" fmla="*/ 186 h 246"/>
                  <a:gd name="T100" fmla="*/ 517 w 572"/>
                  <a:gd name="T101" fmla="*/ 147 h 246"/>
                  <a:gd name="T102" fmla="*/ 557 w 572"/>
                  <a:gd name="T103" fmla="*/ 126 h 24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2"/>
                  <a:gd name="T157" fmla="*/ 0 h 246"/>
                  <a:gd name="T158" fmla="*/ 572 w 572"/>
                  <a:gd name="T159" fmla="*/ 246 h 24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2" h="246">
                    <a:moveTo>
                      <a:pt x="557" y="126"/>
                    </a:moveTo>
                    <a:lnTo>
                      <a:pt x="571" y="121"/>
                    </a:lnTo>
                    <a:lnTo>
                      <a:pt x="542" y="101"/>
                    </a:lnTo>
                    <a:lnTo>
                      <a:pt x="524" y="109"/>
                    </a:lnTo>
                    <a:lnTo>
                      <a:pt x="497" y="102"/>
                    </a:lnTo>
                    <a:lnTo>
                      <a:pt x="485" y="95"/>
                    </a:lnTo>
                    <a:lnTo>
                      <a:pt x="474" y="95"/>
                    </a:lnTo>
                    <a:lnTo>
                      <a:pt x="467" y="84"/>
                    </a:lnTo>
                    <a:lnTo>
                      <a:pt x="464" y="76"/>
                    </a:lnTo>
                    <a:lnTo>
                      <a:pt x="454" y="76"/>
                    </a:lnTo>
                    <a:lnTo>
                      <a:pt x="446" y="76"/>
                    </a:lnTo>
                    <a:lnTo>
                      <a:pt x="437" y="79"/>
                    </a:lnTo>
                    <a:lnTo>
                      <a:pt x="424" y="66"/>
                    </a:lnTo>
                    <a:lnTo>
                      <a:pt x="418" y="68"/>
                    </a:lnTo>
                    <a:lnTo>
                      <a:pt x="411" y="71"/>
                    </a:lnTo>
                    <a:lnTo>
                      <a:pt x="404" y="73"/>
                    </a:lnTo>
                    <a:lnTo>
                      <a:pt x="392" y="63"/>
                    </a:lnTo>
                    <a:lnTo>
                      <a:pt x="364" y="41"/>
                    </a:lnTo>
                    <a:lnTo>
                      <a:pt x="342" y="27"/>
                    </a:lnTo>
                    <a:lnTo>
                      <a:pt x="328" y="15"/>
                    </a:lnTo>
                    <a:lnTo>
                      <a:pt x="305" y="30"/>
                    </a:lnTo>
                    <a:lnTo>
                      <a:pt x="301" y="19"/>
                    </a:lnTo>
                    <a:lnTo>
                      <a:pt x="268" y="18"/>
                    </a:lnTo>
                    <a:lnTo>
                      <a:pt x="264" y="18"/>
                    </a:lnTo>
                    <a:lnTo>
                      <a:pt x="249" y="0"/>
                    </a:lnTo>
                    <a:lnTo>
                      <a:pt x="233" y="2"/>
                    </a:lnTo>
                    <a:lnTo>
                      <a:pt x="223" y="10"/>
                    </a:lnTo>
                    <a:lnTo>
                      <a:pt x="202" y="14"/>
                    </a:lnTo>
                    <a:lnTo>
                      <a:pt x="195" y="10"/>
                    </a:lnTo>
                    <a:lnTo>
                      <a:pt x="184" y="21"/>
                    </a:lnTo>
                    <a:lnTo>
                      <a:pt x="176" y="19"/>
                    </a:lnTo>
                    <a:lnTo>
                      <a:pt x="146" y="22"/>
                    </a:lnTo>
                    <a:lnTo>
                      <a:pt x="140" y="21"/>
                    </a:lnTo>
                    <a:lnTo>
                      <a:pt x="136" y="23"/>
                    </a:lnTo>
                    <a:lnTo>
                      <a:pt x="148" y="36"/>
                    </a:lnTo>
                    <a:lnTo>
                      <a:pt x="140" y="49"/>
                    </a:lnTo>
                    <a:lnTo>
                      <a:pt x="141" y="58"/>
                    </a:lnTo>
                    <a:lnTo>
                      <a:pt x="141" y="62"/>
                    </a:lnTo>
                    <a:lnTo>
                      <a:pt x="157" y="62"/>
                    </a:lnTo>
                    <a:lnTo>
                      <a:pt x="162" y="71"/>
                    </a:lnTo>
                    <a:lnTo>
                      <a:pt x="162" y="79"/>
                    </a:lnTo>
                    <a:lnTo>
                      <a:pt x="157" y="81"/>
                    </a:lnTo>
                    <a:lnTo>
                      <a:pt x="151" y="76"/>
                    </a:lnTo>
                    <a:lnTo>
                      <a:pt x="144" y="79"/>
                    </a:lnTo>
                    <a:lnTo>
                      <a:pt x="140" y="82"/>
                    </a:lnTo>
                    <a:lnTo>
                      <a:pt x="129" y="76"/>
                    </a:lnTo>
                    <a:lnTo>
                      <a:pt x="125" y="69"/>
                    </a:lnTo>
                    <a:lnTo>
                      <a:pt x="115" y="72"/>
                    </a:lnTo>
                    <a:lnTo>
                      <a:pt x="115" y="75"/>
                    </a:lnTo>
                    <a:lnTo>
                      <a:pt x="108" y="69"/>
                    </a:lnTo>
                    <a:lnTo>
                      <a:pt x="98" y="76"/>
                    </a:lnTo>
                    <a:lnTo>
                      <a:pt x="86" y="79"/>
                    </a:lnTo>
                    <a:lnTo>
                      <a:pt x="82" y="76"/>
                    </a:lnTo>
                    <a:lnTo>
                      <a:pt x="78" y="69"/>
                    </a:lnTo>
                    <a:lnTo>
                      <a:pt x="63" y="68"/>
                    </a:lnTo>
                    <a:lnTo>
                      <a:pt x="36" y="66"/>
                    </a:lnTo>
                    <a:lnTo>
                      <a:pt x="30" y="68"/>
                    </a:lnTo>
                    <a:lnTo>
                      <a:pt x="28" y="72"/>
                    </a:lnTo>
                    <a:lnTo>
                      <a:pt x="24" y="71"/>
                    </a:lnTo>
                    <a:lnTo>
                      <a:pt x="20" y="78"/>
                    </a:lnTo>
                    <a:lnTo>
                      <a:pt x="16" y="84"/>
                    </a:lnTo>
                    <a:lnTo>
                      <a:pt x="16" y="86"/>
                    </a:lnTo>
                    <a:lnTo>
                      <a:pt x="18" y="91"/>
                    </a:lnTo>
                    <a:lnTo>
                      <a:pt x="14" y="93"/>
                    </a:lnTo>
                    <a:lnTo>
                      <a:pt x="9" y="84"/>
                    </a:lnTo>
                    <a:lnTo>
                      <a:pt x="3" y="85"/>
                    </a:lnTo>
                    <a:lnTo>
                      <a:pt x="0" y="98"/>
                    </a:lnTo>
                    <a:lnTo>
                      <a:pt x="0" y="105"/>
                    </a:lnTo>
                    <a:lnTo>
                      <a:pt x="0" y="112"/>
                    </a:lnTo>
                    <a:lnTo>
                      <a:pt x="4" y="118"/>
                    </a:lnTo>
                    <a:lnTo>
                      <a:pt x="8" y="123"/>
                    </a:lnTo>
                    <a:lnTo>
                      <a:pt x="8" y="131"/>
                    </a:lnTo>
                    <a:lnTo>
                      <a:pt x="14" y="130"/>
                    </a:lnTo>
                    <a:lnTo>
                      <a:pt x="22" y="124"/>
                    </a:lnTo>
                    <a:lnTo>
                      <a:pt x="26" y="130"/>
                    </a:lnTo>
                    <a:lnTo>
                      <a:pt x="32" y="137"/>
                    </a:lnTo>
                    <a:lnTo>
                      <a:pt x="37" y="144"/>
                    </a:lnTo>
                    <a:lnTo>
                      <a:pt x="43" y="157"/>
                    </a:lnTo>
                    <a:lnTo>
                      <a:pt x="55" y="154"/>
                    </a:lnTo>
                    <a:lnTo>
                      <a:pt x="74" y="150"/>
                    </a:lnTo>
                    <a:lnTo>
                      <a:pt x="104" y="147"/>
                    </a:lnTo>
                    <a:lnTo>
                      <a:pt x="111" y="156"/>
                    </a:lnTo>
                    <a:lnTo>
                      <a:pt x="112" y="172"/>
                    </a:lnTo>
                    <a:lnTo>
                      <a:pt x="99" y="176"/>
                    </a:lnTo>
                    <a:lnTo>
                      <a:pt x="86" y="179"/>
                    </a:lnTo>
                    <a:lnTo>
                      <a:pt x="87" y="191"/>
                    </a:lnTo>
                    <a:lnTo>
                      <a:pt x="68" y="191"/>
                    </a:lnTo>
                    <a:lnTo>
                      <a:pt x="86" y="215"/>
                    </a:lnTo>
                    <a:lnTo>
                      <a:pt x="94" y="217"/>
                    </a:lnTo>
                    <a:lnTo>
                      <a:pt x="102" y="219"/>
                    </a:lnTo>
                    <a:lnTo>
                      <a:pt x="106" y="229"/>
                    </a:lnTo>
                    <a:lnTo>
                      <a:pt x="110" y="225"/>
                    </a:lnTo>
                    <a:lnTo>
                      <a:pt x="126" y="222"/>
                    </a:lnTo>
                    <a:lnTo>
                      <a:pt x="134" y="226"/>
                    </a:lnTo>
                    <a:lnTo>
                      <a:pt x="140" y="231"/>
                    </a:lnTo>
                    <a:lnTo>
                      <a:pt x="144" y="226"/>
                    </a:lnTo>
                    <a:lnTo>
                      <a:pt x="155" y="228"/>
                    </a:lnTo>
                    <a:lnTo>
                      <a:pt x="137" y="174"/>
                    </a:lnTo>
                    <a:lnTo>
                      <a:pt x="144" y="171"/>
                    </a:lnTo>
                    <a:lnTo>
                      <a:pt x="167" y="159"/>
                    </a:lnTo>
                    <a:lnTo>
                      <a:pt x="171" y="158"/>
                    </a:lnTo>
                    <a:lnTo>
                      <a:pt x="168" y="154"/>
                    </a:lnTo>
                    <a:lnTo>
                      <a:pt x="173" y="156"/>
                    </a:lnTo>
                    <a:lnTo>
                      <a:pt x="173" y="150"/>
                    </a:lnTo>
                    <a:lnTo>
                      <a:pt x="176" y="147"/>
                    </a:lnTo>
                    <a:lnTo>
                      <a:pt x="178" y="148"/>
                    </a:lnTo>
                    <a:lnTo>
                      <a:pt x="183" y="148"/>
                    </a:lnTo>
                    <a:lnTo>
                      <a:pt x="188" y="152"/>
                    </a:lnTo>
                    <a:lnTo>
                      <a:pt x="195" y="145"/>
                    </a:lnTo>
                    <a:lnTo>
                      <a:pt x="198" y="147"/>
                    </a:lnTo>
                    <a:lnTo>
                      <a:pt x="194" y="156"/>
                    </a:lnTo>
                    <a:lnTo>
                      <a:pt x="197" y="169"/>
                    </a:lnTo>
                    <a:lnTo>
                      <a:pt x="209" y="176"/>
                    </a:lnTo>
                    <a:lnTo>
                      <a:pt x="209" y="179"/>
                    </a:lnTo>
                    <a:lnTo>
                      <a:pt x="205" y="185"/>
                    </a:lnTo>
                    <a:lnTo>
                      <a:pt x="207" y="188"/>
                    </a:lnTo>
                    <a:lnTo>
                      <a:pt x="222" y="194"/>
                    </a:lnTo>
                    <a:lnTo>
                      <a:pt x="226" y="202"/>
                    </a:lnTo>
                    <a:lnTo>
                      <a:pt x="240" y="197"/>
                    </a:lnTo>
                    <a:lnTo>
                      <a:pt x="255" y="194"/>
                    </a:lnTo>
                    <a:lnTo>
                      <a:pt x="268" y="218"/>
                    </a:lnTo>
                    <a:lnTo>
                      <a:pt x="272" y="229"/>
                    </a:lnTo>
                    <a:lnTo>
                      <a:pt x="268" y="232"/>
                    </a:lnTo>
                    <a:lnTo>
                      <a:pt x="266" y="236"/>
                    </a:lnTo>
                    <a:lnTo>
                      <a:pt x="278" y="240"/>
                    </a:lnTo>
                    <a:lnTo>
                      <a:pt x="282" y="245"/>
                    </a:lnTo>
                    <a:lnTo>
                      <a:pt x="298" y="240"/>
                    </a:lnTo>
                    <a:lnTo>
                      <a:pt x="304" y="245"/>
                    </a:lnTo>
                    <a:lnTo>
                      <a:pt x="315" y="239"/>
                    </a:lnTo>
                    <a:lnTo>
                      <a:pt x="323" y="238"/>
                    </a:lnTo>
                    <a:lnTo>
                      <a:pt x="333" y="239"/>
                    </a:lnTo>
                    <a:lnTo>
                      <a:pt x="354" y="239"/>
                    </a:lnTo>
                    <a:lnTo>
                      <a:pt x="349" y="235"/>
                    </a:lnTo>
                    <a:lnTo>
                      <a:pt x="349" y="228"/>
                    </a:lnTo>
                    <a:lnTo>
                      <a:pt x="352" y="223"/>
                    </a:lnTo>
                    <a:lnTo>
                      <a:pt x="352" y="219"/>
                    </a:lnTo>
                    <a:lnTo>
                      <a:pt x="345" y="216"/>
                    </a:lnTo>
                    <a:lnTo>
                      <a:pt x="359" y="215"/>
                    </a:lnTo>
                    <a:lnTo>
                      <a:pt x="371" y="216"/>
                    </a:lnTo>
                    <a:lnTo>
                      <a:pt x="373" y="219"/>
                    </a:lnTo>
                    <a:lnTo>
                      <a:pt x="383" y="218"/>
                    </a:lnTo>
                    <a:lnTo>
                      <a:pt x="376" y="207"/>
                    </a:lnTo>
                    <a:lnTo>
                      <a:pt x="383" y="206"/>
                    </a:lnTo>
                    <a:lnTo>
                      <a:pt x="417" y="210"/>
                    </a:lnTo>
                    <a:lnTo>
                      <a:pt x="444" y="212"/>
                    </a:lnTo>
                    <a:lnTo>
                      <a:pt x="464" y="221"/>
                    </a:lnTo>
                    <a:lnTo>
                      <a:pt x="474" y="221"/>
                    </a:lnTo>
                    <a:lnTo>
                      <a:pt x="478" y="231"/>
                    </a:lnTo>
                    <a:lnTo>
                      <a:pt x="485" y="210"/>
                    </a:lnTo>
                    <a:lnTo>
                      <a:pt x="474" y="186"/>
                    </a:lnTo>
                    <a:lnTo>
                      <a:pt x="508" y="179"/>
                    </a:lnTo>
                    <a:lnTo>
                      <a:pt x="512" y="166"/>
                    </a:lnTo>
                    <a:lnTo>
                      <a:pt x="517" y="147"/>
                    </a:lnTo>
                    <a:lnTo>
                      <a:pt x="552" y="148"/>
                    </a:lnTo>
                    <a:lnTo>
                      <a:pt x="557" y="126"/>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28" name="Japan">
                <a:extLst>
                  <a:ext uri="{FF2B5EF4-FFF2-40B4-BE49-F238E27FC236}">
                    <a16:creationId xmlns:a16="http://schemas.microsoft.com/office/drawing/2014/main" id="{10FD0BCC-2B9F-E4ED-472A-4957422827C6}"/>
                  </a:ext>
                </a:extLst>
              </p:cNvPr>
              <p:cNvGrpSpPr>
                <a:grpSpLocks noGrp="1" noUngrp="1" noRot="1" noMove="1" noResize="1"/>
              </p:cNvGrpSpPr>
              <p:nvPr/>
            </p:nvGrpSpPr>
            <p:grpSpPr>
              <a:xfrm>
                <a:off x="7956541" y="3343678"/>
                <a:ext cx="399097" cy="447587"/>
                <a:chOff x="7956541" y="3343678"/>
                <a:chExt cx="399097" cy="447587"/>
              </a:xfrm>
              <a:grpFill/>
            </p:grpSpPr>
            <p:sp>
              <p:nvSpPr>
                <p:cNvPr id="53" name="Japan">
                  <a:extLst>
                    <a:ext uri="{FF2B5EF4-FFF2-40B4-BE49-F238E27FC236}">
                      <a16:creationId xmlns:a16="http://schemas.microsoft.com/office/drawing/2014/main" id="{FB895758-5628-C093-84C1-ABB75EFF7966}"/>
                    </a:ext>
                  </a:extLst>
                </p:cNvPr>
                <p:cNvSpPr>
                  <a:spLocks noGrp="1" noRot="1" noChangeAspect="1" noMove="1" noResize="1" noEditPoints="1" noAdjustHandles="1" noChangeArrowheads="1" noChangeShapeType="1"/>
                </p:cNvSpPr>
                <p:nvPr/>
              </p:nvSpPr>
              <p:spPr bwMode="gray">
                <a:xfrm>
                  <a:off x="7956541" y="3714995"/>
                  <a:ext cx="59593" cy="76270"/>
                </a:xfrm>
                <a:custGeom>
                  <a:avLst/>
                  <a:gdLst>
                    <a:gd name="T0" fmla="*/ 0 w 33"/>
                    <a:gd name="T1" fmla="*/ 10 h 38"/>
                    <a:gd name="T2" fmla="*/ 0 w 33"/>
                    <a:gd name="T3" fmla="*/ 10 h 38"/>
                    <a:gd name="T4" fmla="*/ 1 w 33"/>
                    <a:gd name="T5" fmla="*/ 19 h 38"/>
                    <a:gd name="T6" fmla="*/ 8 w 33"/>
                    <a:gd name="T7" fmla="*/ 10 h 38"/>
                    <a:gd name="T8" fmla="*/ 12 w 33"/>
                    <a:gd name="T9" fmla="*/ 15 h 38"/>
                    <a:gd name="T10" fmla="*/ 8 w 33"/>
                    <a:gd name="T11" fmla="*/ 37 h 38"/>
                    <a:gd name="T12" fmla="*/ 23 w 33"/>
                    <a:gd name="T13" fmla="*/ 37 h 38"/>
                    <a:gd name="T14" fmla="*/ 32 w 33"/>
                    <a:gd name="T15" fmla="*/ 14 h 38"/>
                    <a:gd name="T16" fmla="*/ 27 w 33"/>
                    <a:gd name="T17" fmla="*/ 1 h 38"/>
                    <a:gd name="T18" fmla="*/ 12 w 33"/>
                    <a:gd name="T19" fmla="*/ 0 h 38"/>
                    <a:gd name="T20" fmla="*/ 0 w 33"/>
                    <a:gd name="T21" fmla="*/ 10 h 38"/>
                    <a:gd name="T22" fmla="*/ 0 w 33"/>
                    <a:gd name="T23" fmla="*/ 1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8"/>
                    <a:gd name="T38" fmla="*/ 33 w 33"/>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8">
                      <a:moveTo>
                        <a:pt x="0" y="10"/>
                      </a:moveTo>
                      <a:lnTo>
                        <a:pt x="0" y="10"/>
                      </a:lnTo>
                      <a:lnTo>
                        <a:pt x="1" y="19"/>
                      </a:lnTo>
                      <a:lnTo>
                        <a:pt x="8" y="10"/>
                      </a:lnTo>
                      <a:lnTo>
                        <a:pt x="12" y="15"/>
                      </a:lnTo>
                      <a:lnTo>
                        <a:pt x="8" y="37"/>
                      </a:lnTo>
                      <a:lnTo>
                        <a:pt x="23" y="37"/>
                      </a:lnTo>
                      <a:lnTo>
                        <a:pt x="32" y="14"/>
                      </a:lnTo>
                      <a:lnTo>
                        <a:pt x="27" y="1"/>
                      </a:lnTo>
                      <a:lnTo>
                        <a:pt x="12" y="0"/>
                      </a:lnTo>
                      <a:lnTo>
                        <a:pt x="0" y="10"/>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4" name="Japan">
                  <a:extLst>
                    <a:ext uri="{FF2B5EF4-FFF2-40B4-BE49-F238E27FC236}">
                      <a16:creationId xmlns:a16="http://schemas.microsoft.com/office/drawing/2014/main" id="{2E6856F1-1063-6E4D-E205-07A24D9AC309}"/>
                    </a:ext>
                  </a:extLst>
                </p:cNvPr>
                <p:cNvSpPr>
                  <a:spLocks noGrp="1" noRot="1" noChangeAspect="1" noMove="1" noResize="1" noEditPoints="1" noAdjustHandles="1" noChangeArrowheads="1" noChangeShapeType="1"/>
                </p:cNvSpPr>
                <p:nvPr/>
              </p:nvSpPr>
              <p:spPr bwMode="gray">
                <a:xfrm>
                  <a:off x="8019748" y="3702952"/>
                  <a:ext cx="57788" cy="46164"/>
                </a:xfrm>
                <a:custGeom>
                  <a:avLst/>
                  <a:gdLst>
                    <a:gd name="T0" fmla="*/ 0 w 32"/>
                    <a:gd name="T1" fmla="*/ 12 h 23"/>
                    <a:gd name="T2" fmla="*/ 0 w 32"/>
                    <a:gd name="T3" fmla="*/ 12 h 23"/>
                    <a:gd name="T4" fmla="*/ 10 w 32"/>
                    <a:gd name="T5" fmla="*/ 22 h 23"/>
                    <a:gd name="T6" fmla="*/ 28 w 32"/>
                    <a:gd name="T7" fmla="*/ 14 h 23"/>
                    <a:gd name="T8" fmla="*/ 31 w 32"/>
                    <a:gd name="T9" fmla="*/ 0 h 23"/>
                    <a:gd name="T10" fmla="*/ 0 w 32"/>
                    <a:gd name="T11" fmla="*/ 12 h 23"/>
                    <a:gd name="T12" fmla="*/ 0 w 32"/>
                    <a:gd name="T13" fmla="*/ 12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12"/>
                      </a:moveTo>
                      <a:lnTo>
                        <a:pt x="0" y="12"/>
                      </a:lnTo>
                      <a:lnTo>
                        <a:pt x="10" y="22"/>
                      </a:lnTo>
                      <a:lnTo>
                        <a:pt x="28" y="14"/>
                      </a:lnTo>
                      <a:lnTo>
                        <a:pt x="31" y="0"/>
                      </a:lnTo>
                      <a:lnTo>
                        <a:pt x="0" y="12"/>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5" name="Japan">
                  <a:extLst>
                    <a:ext uri="{FF2B5EF4-FFF2-40B4-BE49-F238E27FC236}">
                      <a16:creationId xmlns:a16="http://schemas.microsoft.com/office/drawing/2014/main" id="{51A73FDB-23B9-35C5-E85F-1BEF8ED27905}"/>
                    </a:ext>
                  </a:extLst>
                </p:cNvPr>
                <p:cNvSpPr>
                  <a:spLocks noGrp="1" noRot="1" noChangeAspect="1" noMove="1" noResize="1" noEditPoints="1" noAdjustHandles="1" noChangeArrowheads="1" noChangeShapeType="1"/>
                </p:cNvSpPr>
                <p:nvPr/>
              </p:nvSpPr>
              <p:spPr bwMode="gray">
                <a:xfrm>
                  <a:off x="7985435" y="3476147"/>
                  <a:ext cx="279909" cy="250888"/>
                </a:xfrm>
                <a:custGeom>
                  <a:avLst/>
                  <a:gdLst>
                    <a:gd name="T0" fmla="*/ 0 w 155"/>
                    <a:gd name="T1" fmla="*/ 116 h 125"/>
                    <a:gd name="T2" fmla="*/ 0 w 155"/>
                    <a:gd name="T3" fmla="*/ 116 h 125"/>
                    <a:gd name="T4" fmla="*/ 27 w 155"/>
                    <a:gd name="T5" fmla="*/ 93 h 125"/>
                    <a:gd name="T6" fmla="*/ 66 w 155"/>
                    <a:gd name="T7" fmla="*/ 93 h 125"/>
                    <a:gd name="T8" fmla="*/ 82 w 155"/>
                    <a:gd name="T9" fmla="*/ 65 h 125"/>
                    <a:gd name="T10" fmla="*/ 89 w 155"/>
                    <a:gd name="T11" fmla="*/ 63 h 125"/>
                    <a:gd name="T12" fmla="*/ 89 w 155"/>
                    <a:gd name="T13" fmla="*/ 74 h 125"/>
                    <a:gd name="T14" fmla="*/ 107 w 155"/>
                    <a:gd name="T15" fmla="*/ 63 h 125"/>
                    <a:gd name="T16" fmla="*/ 122 w 155"/>
                    <a:gd name="T17" fmla="*/ 42 h 125"/>
                    <a:gd name="T18" fmla="*/ 129 w 155"/>
                    <a:gd name="T19" fmla="*/ 6 h 125"/>
                    <a:gd name="T20" fmla="*/ 141 w 155"/>
                    <a:gd name="T21" fmla="*/ 8 h 125"/>
                    <a:gd name="T22" fmla="*/ 137 w 155"/>
                    <a:gd name="T23" fmla="*/ 0 h 125"/>
                    <a:gd name="T24" fmla="*/ 144 w 155"/>
                    <a:gd name="T25" fmla="*/ 1 h 125"/>
                    <a:gd name="T26" fmla="*/ 154 w 155"/>
                    <a:gd name="T27" fmla="*/ 30 h 125"/>
                    <a:gd name="T28" fmla="*/ 141 w 155"/>
                    <a:gd name="T29" fmla="*/ 51 h 125"/>
                    <a:gd name="T30" fmla="*/ 141 w 155"/>
                    <a:gd name="T31" fmla="*/ 70 h 125"/>
                    <a:gd name="T32" fmla="*/ 131 w 155"/>
                    <a:gd name="T33" fmla="*/ 98 h 125"/>
                    <a:gd name="T34" fmla="*/ 124 w 155"/>
                    <a:gd name="T35" fmla="*/ 102 h 125"/>
                    <a:gd name="T36" fmla="*/ 124 w 155"/>
                    <a:gd name="T37" fmla="*/ 91 h 125"/>
                    <a:gd name="T38" fmla="*/ 101 w 155"/>
                    <a:gd name="T39" fmla="*/ 107 h 125"/>
                    <a:gd name="T40" fmla="*/ 82 w 155"/>
                    <a:gd name="T41" fmla="*/ 100 h 125"/>
                    <a:gd name="T42" fmla="*/ 83 w 155"/>
                    <a:gd name="T43" fmla="*/ 113 h 125"/>
                    <a:gd name="T44" fmla="*/ 67 w 155"/>
                    <a:gd name="T45" fmla="*/ 124 h 125"/>
                    <a:gd name="T46" fmla="*/ 62 w 155"/>
                    <a:gd name="T47" fmla="*/ 106 h 125"/>
                    <a:gd name="T48" fmla="*/ 0 w 155"/>
                    <a:gd name="T49" fmla="*/ 116 h 125"/>
                    <a:gd name="T50" fmla="*/ 0 w 155"/>
                    <a:gd name="T51" fmla="*/ 116 h 1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5"/>
                    <a:gd name="T79" fmla="*/ 0 h 125"/>
                    <a:gd name="T80" fmla="*/ 155 w 155"/>
                    <a:gd name="T81" fmla="*/ 125 h 12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5" h="125">
                      <a:moveTo>
                        <a:pt x="0" y="116"/>
                      </a:moveTo>
                      <a:lnTo>
                        <a:pt x="0" y="116"/>
                      </a:lnTo>
                      <a:lnTo>
                        <a:pt x="27" y="93"/>
                      </a:lnTo>
                      <a:lnTo>
                        <a:pt x="66" y="93"/>
                      </a:lnTo>
                      <a:lnTo>
                        <a:pt x="82" y="65"/>
                      </a:lnTo>
                      <a:lnTo>
                        <a:pt x="89" y="63"/>
                      </a:lnTo>
                      <a:lnTo>
                        <a:pt x="89" y="74"/>
                      </a:lnTo>
                      <a:lnTo>
                        <a:pt x="107" y="63"/>
                      </a:lnTo>
                      <a:lnTo>
                        <a:pt x="122" y="42"/>
                      </a:lnTo>
                      <a:lnTo>
                        <a:pt x="129" y="6"/>
                      </a:lnTo>
                      <a:lnTo>
                        <a:pt x="141" y="8"/>
                      </a:lnTo>
                      <a:lnTo>
                        <a:pt x="137" y="0"/>
                      </a:lnTo>
                      <a:lnTo>
                        <a:pt x="144" y="1"/>
                      </a:lnTo>
                      <a:lnTo>
                        <a:pt x="154" y="30"/>
                      </a:lnTo>
                      <a:lnTo>
                        <a:pt x="141" y="51"/>
                      </a:lnTo>
                      <a:lnTo>
                        <a:pt x="141" y="70"/>
                      </a:lnTo>
                      <a:lnTo>
                        <a:pt x="131" y="98"/>
                      </a:lnTo>
                      <a:lnTo>
                        <a:pt x="124" y="102"/>
                      </a:lnTo>
                      <a:lnTo>
                        <a:pt x="124" y="91"/>
                      </a:lnTo>
                      <a:lnTo>
                        <a:pt x="101" y="107"/>
                      </a:lnTo>
                      <a:lnTo>
                        <a:pt x="82" y="100"/>
                      </a:lnTo>
                      <a:lnTo>
                        <a:pt x="83" y="113"/>
                      </a:lnTo>
                      <a:lnTo>
                        <a:pt x="67" y="124"/>
                      </a:lnTo>
                      <a:lnTo>
                        <a:pt x="62" y="106"/>
                      </a:lnTo>
                      <a:lnTo>
                        <a:pt x="0" y="116"/>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6" name="Japan">
                  <a:extLst>
                    <a:ext uri="{FF2B5EF4-FFF2-40B4-BE49-F238E27FC236}">
                      <a16:creationId xmlns:a16="http://schemas.microsoft.com/office/drawing/2014/main" id="{D1AE2C2D-43B6-7FB1-B087-EEAA78AA3F0B}"/>
                    </a:ext>
                  </a:extLst>
                </p:cNvPr>
                <p:cNvSpPr>
                  <a:spLocks noGrp="1" noRot="1" noChangeAspect="1" noMove="1" noResize="1" noEditPoints="1" noAdjustHandles="1" noChangeArrowheads="1" noChangeShapeType="1"/>
                </p:cNvSpPr>
                <p:nvPr/>
              </p:nvSpPr>
              <p:spPr bwMode="gray">
                <a:xfrm>
                  <a:off x="8209362" y="3343678"/>
                  <a:ext cx="146276" cy="134475"/>
                </a:xfrm>
                <a:custGeom>
                  <a:avLst/>
                  <a:gdLst>
                    <a:gd name="T0" fmla="*/ 0 w 81"/>
                    <a:gd name="T1" fmla="*/ 47 h 67"/>
                    <a:gd name="T2" fmla="*/ 0 w 81"/>
                    <a:gd name="T3" fmla="*/ 47 h 67"/>
                    <a:gd name="T4" fmla="*/ 3 w 81"/>
                    <a:gd name="T5" fmla="*/ 66 h 67"/>
                    <a:gd name="T6" fmla="*/ 17 w 81"/>
                    <a:gd name="T7" fmla="*/ 59 h 67"/>
                    <a:gd name="T8" fmla="*/ 8 w 81"/>
                    <a:gd name="T9" fmla="*/ 48 h 67"/>
                    <a:gd name="T10" fmla="*/ 46 w 81"/>
                    <a:gd name="T11" fmla="*/ 58 h 67"/>
                    <a:gd name="T12" fmla="*/ 55 w 81"/>
                    <a:gd name="T13" fmla="*/ 42 h 67"/>
                    <a:gd name="T14" fmla="*/ 80 w 81"/>
                    <a:gd name="T15" fmla="*/ 37 h 67"/>
                    <a:gd name="T16" fmla="*/ 71 w 81"/>
                    <a:gd name="T17" fmla="*/ 27 h 67"/>
                    <a:gd name="T18" fmla="*/ 74 w 81"/>
                    <a:gd name="T19" fmla="*/ 18 h 67"/>
                    <a:gd name="T20" fmla="*/ 53 w 81"/>
                    <a:gd name="T21" fmla="*/ 20 h 67"/>
                    <a:gd name="T22" fmla="*/ 27 w 81"/>
                    <a:gd name="T23" fmla="*/ 0 h 67"/>
                    <a:gd name="T24" fmla="*/ 18 w 81"/>
                    <a:gd name="T25" fmla="*/ 38 h 67"/>
                    <a:gd name="T26" fmla="*/ 7 w 81"/>
                    <a:gd name="T27" fmla="*/ 35 h 67"/>
                    <a:gd name="T28" fmla="*/ 0 w 81"/>
                    <a:gd name="T29" fmla="*/ 47 h 67"/>
                    <a:gd name="T30" fmla="*/ 0 w 81"/>
                    <a:gd name="T31" fmla="*/ 47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67"/>
                    <a:gd name="T50" fmla="*/ 81 w 81"/>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67">
                      <a:moveTo>
                        <a:pt x="0" y="47"/>
                      </a:moveTo>
                      <a:lnTo>
                        <a:pt x="0" y="47"/>
                      </a:lnTo>
                      <a:lnTo>
                        <a:pt x="3" y="66"/>
                      </a:lnTo>
                      <a:lnTo>
                        <a:pt x="17" y="59"/>
                      </a:lnTo>
                      <a:lnTo>
                        <a:pt x="8" y="48"/>
                      </a:lnTo>
                      <a:lnTo>
                        <a:pt x="46" y="58"/>
                      </a:lnTo>
                      <a:lnTo>
                        <a:pt x="55" y="42"/>
                      </a:lnTo>
                      <a:lnTo>
                        <a:pt x="80" y="37"/>
                      </a:lnTo>
                      <a:lnTo>
                        <a:pt x="71" y="27"/>
                      </a:lnTo>
                      <a:lnTo>
                        <a:pt x="74" y="18"/>
                      </a:lnTo>
                      <a:lnTo>
                        <a:pt x="53" y="20"/>
                      </a:lnTo>
                      <a:lnTo>
                        <a:pt x="27" y="0"/>
                      </a:lnTo>
                      <a:lnTo>
                        <a:pt x="18" y="38"/>
                      </a:lnTo>
                      <a:lnTo>
                        <a:pt x="7" y="35"/>
                      </a:lnTo>
                      <a:lnTo>
                        <a:pt x="0" y="47"/>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9" name="Indonesia">
                <a:extLst>
                  <a:ext uri="{FF2B5EF4-FFF2-40B4-BE49-F238E27FC236}">
                    <a16:creationId xmlns:a16="http://schemas.microsoft.com/office/drawing/2014/main" id="{FD107FCD-01A1-F38C-E02A-BC46C5C6B500}"/>
                  </a:ext>
                </a:extLst>
              </p:cNvPr>
              <p:cNvGrpSpPr>
                <a:grpSpLocks noGrp="1" noUngrp="1" noRot="1" noMove="1" noResize="1"/>
              </p:cNvGrpSpPr>
              <p:nvPr/>
            </p:nvGrpSpPr>
            <p:grpSpPr>
              <a:xfrm>
                <a:off x="7104882" y="4518061"/>
                <a:ext cx="1140003" cy="441190"/>
                <a:chOff x="7104882" y="4518061"/>
                <a:chExt cx="1140003" cy="441190"/>
              </a:xfrm>
              <a:grpFill/>
            </p:grpSpPr>
            <p:sp>
              <p:nvSpPr>
                <p:cNvPr id="41" name="Indonesia">
                  <a:extLst>
                    <a:ext uri="{FF2B5EF4-FFF2-40B4-BE49-F238E27FC236}">
                      <a16:creationId xmlns:a16="http://schemas.microsoft.com/office/drawing/2014/main" id="{FACDAB3E-29A3-6026-9263-30F61FAC4400}"/>
                    </a:ext>
                  </a:extLst>
                </p:cNvPr>
                <p:cNvSpPr>
                  <a:spLocks noGrp="1" noRot="1" noChangeAspect="1" noMove="1" noResize="1" noEditPoints="1" noAdjustHandles="1" noChangeArrowheads="1" noChangeShapeType="1"/>
                </p:cNvSpPr>
                <p:nvPr/>
              </p:nvSpPr>
              <p:spPr bwMode="gray">
                <a:xfrm>
                  <a:off x="7104882" y="4518061"/>
                  <a:ext cx="270047" cy="315717"/>
                </a:xfrm>
                <a:custGeom>
                  <a:avLst/>
                  <a:gdLst>
                    <a:gd name="T0" fmla="*/ 0 w 149"/>
                    <a:gd name="T1" fmla="*/ 0 h 156"/>
                    <a:gd name="T2" fmla="*/ 0 w 149"/>
                    <a:gd name="T3" fmla="*/ 0 h 156"/>
                    <a:gd name="T4" fmla="*/ 33 w 149"/>
                    <a:gd name="T5" fmla="*/ 7 h 156"/>
                    <a:gd name="T6" fmla="*/ 74 w 149"/>
                    <a:gd name="T7" fmla="*/ 47 h 156"/>
                    <a:gd name="T8" fmla="*/ 108 w 149"/>
                    <a:gd name="T9" fmla="*/ 62 h 156"/>
                    <a:gd name="T10" fmla="*/ 104 w 149"/>
                    <a:gd name="T11" fmla="*/ 73 h 156"/>
                    <a:gd name="T12" fmla="*/ 115 w 149"/>
                    <a:gd name="T13" fmla="*/ 72 h 156"/>
                    <a:gd name="T14" fmla="*/ 114 w 149"/>
                    <a:gd name="T15" fmla="*/ 87 h 156"/>
                    <a:gd name="T16" fmla="*/ 148 w 149"/>
                    <a:gd name="T17" fmla="*/ 116 h 156"/>
                    <a:gd name="T18" fmla="*/ 144 w 149"/>
                    <a:gd name="T19" fmla="*/ 154 h 156"/>
                    <a:gd name="T20" fmla="*/ 129 w 149"/>
                    <a:gd name="T21" fmla="*/ 155 h 156"/>
                    <a:gd name="T22" fmla="*/ 99 w 149"/>
                    <a:gd name="T23" fmla="*/ 133 h 156"/>
                    <a:gd name="T24" fmla="*/ 50 w 149"/>
                    <a:gd name="T25" fmla="*/ 54 h 156"/>
                    <a:gd name="T26" fmla="*/ 0 w 149"/>
                    <a:gd name="T27" fmla="*/ 0 h 156"/>
                    <a:gd name="T28" fmla="*/ 0 w 149"/>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9"/>
                    <a:gd name="T46" fmla="*/ 0 h 156"/>
                    <a:gd name="T47" fmla="*/ 149 w 149"/>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9" h="156">
                      <a:moveTo>
                        <a:pt x="0" y="0"/>
                      </a:moveTo>
                      <a:lnTo>
                        <a:pt x="0" y="0"/>
                      </a:lnTo>
                      <a:lnTo>
                        <a:pt x="33" y="7"/>
                      </a:lnTo>
                      <a:lnTo>
                        <a:pt x="74" y="47"/>
                      </a:lnTo>
                      <a:lnTo>
                        <a:pt x="108" y="62"/>
                      </a:lnTo>
                      <a:lnTo>
                        <a:pt x="104" y="73"/>
                      </a:lnTo>
                      <a:lnTo>
                        <a:pt x="115" y="72"/>
                      </a:lnTo>
                      <a:lnTo>
                        <a:pt x="114" y="87"/>
                      </a:lnTo>
                      <a:lnTo>
                        <a:pt x="148" y="116"/>
                      </a:lnTo>
                      <a:lnTo>
                        <a:pt x="144" y="154"/>
                      </a:lnTo>
                      <a:lnTo>
                        <a:pt x="129" y="155"/>
                      </a:lnTo>
                      <a:lnTo>
                        <a:pt x="99" y="133"/>
                      </a:lnTo>
                      <a:lnTo>
                        <a:pt x="50" y="54"/>
                      </a:lnTo>
                      <a:lnTo>
                        <a:pt x="0" y="0"/>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2" name="Indonesia">
                  <a:extLst>
                    <a:ext uri="{FF2B5EF4-FFF2-40B4-BE49-F238E27FC236}">
                      <a16:creationId xmlns:a16="http://schemas.microsoft.com/office/drawing/2014/main" id="{32A2B566-717B-BC6C-CA9B-544D914867C7}"/>
                    </a:ext>
                  </a:extLst>
                </p:cNvPr>
                <p:cNvSpPr>
                  <a:spLocks noGrp="1" noRot="1" noChangeAspect="1" noMove="1" noResize="1" noEditPoints="1" noAdjustHandles="1" noChangeArrowheads="1" noChangeShapeType="1"/>
                </p:cNvSpPr>
                <p:nvPr/>
              </p:nvSpPr>
              <p:spPr bwMode="gray">
                <a:xfrm>
                  <a:off x="7356806" y="4835800"/>
                  <a:ext cx="226550" cy="80953"/>
                </a:xfrm>
                <a:custGeom>
                  <a:avLst/>
                  <a:gdLst>
                    <a:gd name="T0" fmla="*/ 0 w 125"/>
                    <a:gd name="T1" fmla="*/ 11 h 40"/>
                    <a:gd name="T2" fmla="*/ 0 w 125"/>
                    <a:gd name="T3" fmla="*/ 11 h 40"/>
                    <a:gd name="T4" fmla="*/ 8 w 125"/>
                    <a:gd name="T5" fmla="*/ 0 h 40"/>
                    <a:gd name="T6" fmla="*/ 95 w 125"/>
                    <a:gd name="T7" fmla="*/ 12 h 40"/>
                    <a:gd name="T8" fmla="*/ 104 w 125"/>
                    <a:gd name="T9" fmla="*/ 22 h 40"/>
                    <a:gd name="T10" fmla="*/ 122 w 125"/>
                    <a:gd name="T11" fmla="*/ 26 h 40"/>
                    <a:gd name="T12" fmla="*/ 124 w 125"/>
                    <a:gd name="T13" fmla="*/ 39 h 40"/>
                    <a:gd name="T14" fmla="*/ 22 w 125"/>
                    <a:gd name="T15" fmla="*/ 21 h 40"/>
                    <a:gd name="T16" fmla="*/ 0 w 125"/>
                    <a:gd name="T17" fmla="*/ 11 h 40"/>
                    <a:gd name="T18" fmla="*/ 0 w 125"/>
                    <a:gd name="T19" fmla="*/ 11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5"/>
                    <a:gd name="T31" fmla="*/ 0 h 40"/>
                    <a:gd name="T32" fmla="*/ 125 w 125"/>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5" h="40">
                      <a:moveTo>
                        <a:pt x="0" y="11"/>
                      </a:moveTo>
                      <a:lnTo>
                        <a:pt x="0" y="11"/>
                      </a:lnTo>
                      <a:lnTo>
                        <a:pt x="8" y="0"/>
                      </a:lnTo>
                      <a:lnTo>
                        <a:pt x="95" y="12"/>
                      </a:lnTo>
                      <a:lnTo>
                        <a:pt x="104" y="22"/>
                      </a:lnTo>
                      <a:lnTo>
                        <a:pt x="122" y="26"/>
                      </a:lnTo>
                      <a:lnTo>
                        <a:pt x="124" y="39"/>
                      </a:lnTo>
                      <a:lnTo>
                        <a:pt x="22" y="21"/>
                      </a:lnTo>
                      <a:lnTo>
                        <a:pt x="0" y="11"/>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3" name="Indonesia">
                  <a:extLst>
                    <a:ext uri="{FF2B5EF4-FFF2-40B4-BE49-F238E27FC236}">
                      <a16:creationId xmlns:a16="http://schemas.microsoft.com/office/drawing/2014/main" id="{3682279C-B898-02F8-07DA-8CB7D28040DD}"/>
                    </a:ext>
                  </a:extLst>
                </p:cNvPr>
                <p:cNvSpPr>
                  <a:spLocks noGrp="1" noRot="1" noChangeAspect="1" noMove="1" noResize="1" noEditPoints="1" noAdjustHandles="1" noChangeArrowheads="1" noChangeShapeType="1"/>
                </p:cNvSpPr>
                <p:nvPr/>
              </p:nvSpPr>
              <p:spPr bwMode="gray">
                <a:xfrm>
                  <a:off x="7445614" y="4554488"/>
                  <a:ext cx="246486" cy="234763"/>
                </a:xfrm>
                <a:custGeom>
                  <a:avLst/>
                  <a:gdLst>
                    <a:gd name="T0" fmla="*/ 0 w 136"/>
                    <a:gd name="T1" fmla="*/ 52 h 116"/>
                    <a:gd name="T2" fmla="*/ 0 w 136"/>
                    <a:gd name="T3" fmla="*/ 52 h 116"/>
                    <a:gd name="T4" fmla="*/ 9 w 136"/>
                    <a:gd name="T5" fmla="*/ 36 h 116"/>
                    <a:gd name="T6" fmla="*/ 21 w 136"/>
                    <a:gd name="T7" fmla="*/ 46 h 116"/>
                    <a:gd name="T8" fmla="*/ 62 w 136"/>
                    <a:gd name="T9" fmla="*/ 43 h 116"/>
                    <a:gd name="T10" fmla="*/ 75 w 136"/>
                    <a:gd name="T11" fmla="*/ 37 h 116"/>
                    <a:gd name="T12" fmla="*/ 93 w 136"/>
                    <a:gd name="T13" fmla="*/ 0 h 116"/>
                    <a:gd name="T14" fmla="*/ 117 w 136"/>
                    <a:gd name="T15" fmla="*/ 1 h 116"/>
                    <a:gd name="T16" fmla="*/ 112 w 136"/>
                    <a:gd name="T17" fmla="*/ 11 h 116"/>
                    <a:gd name="T18" fmla="*/ 135 w 136"/>
                    <a:gd name="T19" fmla="*/ 46 h 116"/>
                    <a:gd name="T20" fmla="*/ 122 w 136"/>
                    <a:gd name="T21" fmla="*/ 43 h 116"/>
                    <a:gd name="T22" fmla="*/ 99 w 136"/>
                    <a:gd name="T23" fmla="*/ 82 h 116"/>
                    <a:gd name="T24" fmla="*/ 95 w 136"/>
                    <a:gd name="T25" fmla="*/ 107 h 116"/>
                    <a:gd name="T26" fmla="*/ 81 w 136"/>
                    <a:gd name="T27" fmla="*/ 115 h 116"/>
                    <a:gd name="T28" fmla="*/ 55 w 136"/>
                    <a:gd name="T29" fmla="*/ 100 h 116"/>
                    <a:gd name="T30" fmla="*/ 40 w 136"/>
                    <a:gd name="T31" fmla="*/ 107 h 116"/>
                    <a:gd name="T32" fmla="*/ 37 w 136"/>
                    <a:gd name="T33" fmla="*/ 95 h 116"/>
                    <a:gd name="T34" fmla="*/ 17 w 136"/>
                    <a:gd name="T35" fmla="*/ 97 h 116"/>
                    <a:gd name="T36" fmla="*/ 0 w 136"/>
                    <a:gd name="T37" fmla="*/ 52 h 116"/>
                    <a:gd name="T38" fmla="*/ 0 w 136"/>
                    <a:gd name="T39" fmla="*/ 52 h 1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16"/>
                    <a:gd name="T62" fmla="*/ 136 w 136"/>
                    <a:gd name="T63" fmla="*/ 116 h 1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16">
                      <a:moveTo>
                        <a:pt x="0" y="52"/>
                      </a:moveTo>
                      <a:lnTo>
                        <a:pt x="0" y="52"/>
                      </a:lnTo>
                      <a:lnTo>
                        <a:pt x="9" y="36"/>
                      </a:lnTo>
                      <a:lnTo>
                        <a:pt x="21" y="46"/>
                      </a:lnTo>
                      <a:lnTo>
                        <a:pt x="62" y="43"/>
                      </a:lnTo>
                      <a:lnTo>
                        <a:pt x="75" y="37"/>
                      </a:lnTo>
                      <a:lnTo>
                        <a:pt x="93" y="0"/>
                      </a:lnTo>
                      <a:lnTo>
                        <a:pt x="117" y="1"/>
                      </a:lnTo>
                      <a:lnTo>
                        <a:pt x="112" y="11"/>
                      </a:lnTo>
                      <a:lnTo>
                        <a:pt x="135" y="46"/>
                      </a:lnTo>
                      <a:lnTo>
                        <a:pt x="122" y="43"/>
                      </a:lnTo>
                      <a:lnTo>
                        <a:pt x="99" y="82"/>
                      </a:lnTo>
                      <a:lnTo>
                        <a:pt x="95" y="107"/>
                      </a:lnTo>
                      <a:lnTo>
                        <a:pt x="81" y="115"/>
                      </a:lnTo>
                      <a:lnTo>
                        <a:pt x="55" y="100"/>
                      </a:lnTo>
                      <a:lnTo>
                        <a:pt x="40" y="107"/>
                      </a:lnTo>
                      <a:lnTo>
                        <a:pt x="37" y="95"/>
                      </a:lnTo>
                      <a:lnTo>
                        <a:pt x="17" y="97"/>
                      </a:lnTo>
                      <a:lnTo>
                        <a:pt x="0" y="52"/>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4" name="Indonesia">
                  <a:extLst>
                    <a:ext uri="{FF2B5EF4-FFF2-40B4-BE49-F238E27FC236}">
                      <a16:creationId xmlns:a16="http://schemas.microsoft.com/office/drawing/2014/main" id="{6B6F0667-A6F8-667B-C265-4D2406A5C950}"/>
                    </a:ext>
                  </a:extLst>
                </p:cNvPr>
                <p:cNvSpPr>
                  <a:spLocks noGrp="1" noRot="1" noChangeAspect="1" noMove="1" noResize="1" noEditPoints="1" noAdjustHandles="1" noChangeArrowheads="1" noChangeShapeType="1"/>
                </p:cNvSpPr>
                <p:nvPr/>
              </p:nvSpPr>
              <p:spPr bwMode="gray">
                <a:xfrm>
                  <a:off x="7637728" y="4904611"/>
                  <a:ext cx="61621" cy="18215"/>
                </a:xfrm>
                <a:custGeom>
                  <a:avLst/>
                  <a:gdLst>
                    <a:gd name="T0" fmla="*/ 0 w 34"/>
                    <a:gd name="T1" fmla="*/ 2 h 9"/>
                    <a:gd name="T2" fmla="*/ 0 w 34"/>
                    <a:gd name="T3" fmla="*/ 2 h 9"/>
                    <a:gd name="T4" fmla="*/ 4 w 34"/>
                    <a:gd name="T5" fmla="*/ 8 h 9"/>
                    <a:gd name="T6" fmla="*/ 33 w 34"/>
                    <a:gd name="T7" fmla="*/ 3 h 9"/>
                    <a:gd name="T8" fmla="*/ 11 w 34"/>
                    <a:gd name="T9" fmla="*/ 0 h 9"/>
                    <a:gd name="T10" fmla="*/ 0 w 34"/>
                    <a:gd name="T11" fmla="*/ 2 h 9"/>
                    <a:gd name="T12" fmla="*/ 0 w 34"/>
                    <a:gd name="T13" fmla="*/ 2 h 9"/>
                    <a:gd name="T14" fmla="*/ 0 60000 65536"/>
                    <a:gd name="T15" fmla="*/ 0 60000 65536"/>
                    <a:gd name="T16" fmla="*/ 0 60000 65536"/>
                    <a:gd name="T17" fmla="*/ 0 60000 65536"/>
                    <a:gd name="T18" fmla="*/ 0 60000 65536"/>
                    <a:gd name="T19" fmla="*/ 0 60000 65536"/>
                    <a:gd name="T20" fmla="*/ 0 60000 65536"/>
                    <a:gd name="T21" fmla="*/ 0 w 34"/>
                    <a:gd name="T22" fmla="*/ 0 h 9"/>
                    <a:gd name="T23" fmla="*/ 34 w 34"/>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9">
                      <a:moveTo>
                        <a:pt x="0" y="2"/>
                      </a:moveTo>
                      <a:lnTo>
                        <a:pt x="0" y="2"/>
                      </a:lnTo>
                      <a:lnTo>
                        <a:pt x="4" y="8"/>
                      </a:lnTo>
                      <a:lnTo>
                        <a:pt x="33" y="3"/>
                      </a:lnTo>
                      <a:lnTo>
                        <a:pt x="11" y="0"/>
                      </a:lnTo>
                      <a:lnTo>
                        <a:pt x="0" y="2"/>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5" name="Indonesia">
                  <a:extLst>
                    <a:ext uri="{FF2B5EF4-FFF2-40B4-BE49-F238E27FC236}">
                      <a16:creationId xmlns:a16="http://schemas.microsoft.com/office/drawing/2014/main" id="{556C0398-1DD3-46DD-3A8F-51A671FC1F37}"/>
                    </a:ext>
                  </a:extLst>
                </p:cNvPr>
                <p:cNvSpPr>
                  <a:spLocks noGrp="1" noRot="1" noChangeAspect="1" noMove="1" noResize="1" noEditPoints="1" noAdjustHandles="1" noChangeArrowheads="1" noChangeShapeType="1"/>
                </p:cNvSpPr>
                <p:nvPr/>
              </p:nvSpPr>
              <p:spPr bwMode="gray">
                <a:xfrm>
                  <a:off x="7690289" y="4623298"/>
                  <a:ext cx="154055" cy="204407"/>
                </a:xfrm>
                <a:custGeom>
                  <a:avLst/>
                  <a:gdLst>
                    <a:gd name="T0" fmla="*/ 0 w 85"/>
                    <a:gd name="T1" fmla="*/ 60 h 101"/>
                    <a:gd name="T2" fmla="*/ 0 w 85"/>
                    <a:gd name="T3" fmla="*/ 60 h 101"/>
                    <a:gd name="T4" fmla="*/ 10 w 85"/>
                    <a:gd name="T5" fmla="*/ 78 h 101"/>
                    <a:gd name="T6" fmla="*/ 7 w 85"/>
                    <a:gd name="T7" fmla="*/ 96 h 101"/>
                    <a:gd name="T8" fmla="*/ 21 w 85"/>
                    <a:gd name="T9" fmla="*/ 100 h 101"/>
                    <a:gd name="T10" fmla="*/ 19 w 85"/>
                    <a:gd name="T11" fmla="*/ 63 h 101"/>
                    <a:gd name="T12" fmla="*/ 28 w 85"/>
                    <a:gd name="T13" fmla="*/ 60 h 101"/>
                    <a:gd name="T14" fmla="*/ 30 w 85"/>
                    <a:gd name="T15" fmla="*/ 74 h 101"/>
                    <a:gd name="T16" fmla="*/ 37 w 85"/>
                    <a:gd name="T17" fmla="*/ 90 h 101"/>
                    <a:gd name="T18" fmla="*/ 53 w 85"/>
                    <a:gd name="T19" fmla="*/ 83 h 101"/>
                    <a:gd name="T20" fmla="*/ 34 w 85"/>
                    <a:gd name="T21" fmla="*/ 48 h 101"/>
                    <a:gd name="T22" fmla="*/ 62 w 85"/>
                    <a:gd name="T23" fmla="*/ 33 h 101"/>
                    <a:gd name="T24" fmla="*/ 25 w 85"/>
                    <a:gd name="T25" fmla="*/ 43 h 101"/>
                    <a:gd name="T26" fmla="*/ 19 w 85"/>
                    <a:gd name="T27" fmla="*/ 21 h 101"/>
                    <a:gd name="T28" fmla="*/ 74 w 85"/>
                    <a:gd name="T29" fmla="*/ 19 h 101"/>
                    <a:gd name="T30" fmla="*/ 84 w 85"/>
                    <a:gd name="T31" fmla="*/ 0 h 101"/>
                    <a:gd name="T32" fmla="*/ 68 w 85"/>
                    <a:gd name="T33" fmla="*/ 12 h 101"/>
                    <a:gd name="T34" fmla="*/ 28 w 85"/>
                    <a:gd name="T35" fmla="*/ 6 h 101"/>
                    <a:gd name="T36" fmla="*/ 15 w 85"/>
                    <a:gd name="T37" fmla="*/ 14 h 101"/>
                    <a:gd name="T38" fmla="*/ 0 w 85"/>
                    <a:gd name="T39" fmla="*/ 60 h 101"/>
                    <a:gd name="T40" fmla="*/ 0 w 85"/>
                    <a:gd name="T41" fmla="*/ 6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101"/>
                    <a:gd name="T65" fmla="*/ 85 w 85"/>
                    <a:gd name="T66" fmla="*/ 101 h 10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101">
                      <a:moveTo>
                        <a:pt x="0" y="60"/>
                      </a:moveTo>
                      <a:lnTo>
                        <a:pt x="0" y="60"/>
                      </a:lnTo>
                      <a:lnTo>
                        <a:pt x="10" y="78"/>
                      </a:lnTo>
                      <a:lnTo>
                        <a:pt x="7" y="96"/>
                      </a:lnTo>
                      <a:lnTo>
                        <a:pt x="21" y="100"/>
                      </a:lnTo>
                      <a:lnTo>
                        <a:pt x="19" y="63"/>
                      </a:lnTo>
                      <a:lnTo>
                        <a:pt x="28" y="60"/>
                      </a:lnTo>
                      <a:lnTo>
                        <a:pt x="30" y="74"/>
                      </a:lnTo>
                      <a:lnTo>
                        <a:pt x="37" y="90"/>
                      </a:lnTo>
                      <a:lnTo>
                        <a:pt x="53" y="83"/>
                      </a:lnTo>
                      <a:lnTo>
                        <a:pt x="34" y="48"/>
                      </a:lnTo>
                      <a:lnTo>
                        <a:pt x="62" y="33"/>
                      </a:lnTo>
                      <a:lnTo>
                        <a:pt x="25" y="43"/>
                      </a:lnTo>
                      <a:lnTo>
                        <a:pt x="19" y="21"/>
                      </a:lnTo>
                      <a:lnTo>
                        <a:pt x="74" y="19"/>
                      </a:lnTo>
                      <a:lnTo>
                        <a:pt x="84" y="0"/>
                      </a:lnTo>
                      <a:lnTo>
                        <a:pt x="68" y="12"/>
                      </a:lnTo>
                      <a:lnTo>
                        <a:pt x="28" y="6"/>
                      </a:lnTo>
                      <a:lnTo>
                        <a:pt x="15" y="14"/>
                      </a:lnTo>
                      <a:lnTo>
                        <a:pt x="0" y="60"/>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8" name="Indonesia">
                  <a:extLst>
                    <a:ext uri="{FF2B5EF4-FFF2-40B4-BE49-F238E27FC236}">
                      <a16:creationId xmlns:a16="http://schemas.microsoft.com/office/drawing/2014/main" id="{46FF0B9C-2883-FD8C-E130-CFE10975F7C1}"/>
                    </a:ext>
                  </a:extLst>
                </p:cNvPr>
                <p:cNvSpPr>
                  <a:spLocks noGrp="1" noRot="1" noChangeAspect="1" noMove="1" noResize="1" noEditPoints="1" noAdjustHandles="1" noChangeArrowheads="1" noChangeShapeType="1"/>
                </p:cNvSpPr>
                <p:nvPr/>
              </p:nvSpPr>
              <p:spPr bwMode="gray">
                <a:xfrm>
                  <a:off x="7809907" y="4906632"/>
                  <a:ext cx="86995" cy="52619"/>
                </a:xfrm>
                <a:custGeom>
                  <a:avLst/>
                  <a:gdLst>
                    <a:gd name="T0" fmla="*/ 0 w 48"/>
                    <a:gd name="T1" fmla="*/ 15 h 26"/>
                    <a:gd name="T2" fmla="*/ 0 w 48"/>
                    <a:gd name="T3" fmla="*/ 15 h 26"/>
                    <a:gd name="T4" fmla="*/ 2 w 48"/>
                    <a:gd name="T5" fmla="*/ 25 h 26"/>
                    <a:gd name="T6" fmla="*/ 47 w 48"/>
                    <a:gd name="T7" fmla="*/ 0 h 26"/>
                    <a:gd name="T8" fmla="*/ 14 w 48"/>
                    <a:gd name="T9" fmla="*/ 7 h 26"/>
                    <a:gd name="T10" fmla="*/ 0 w 48"/>
                    <a:gd name="T11" fmla="*/ 15 h 26"/>
                    <a:gd name="T12" fmla="*/ 0 w 48"/>
                    <a:gd name="T13" fmla="*/ 15 h 26"/>
                    <a:gd name="T14" fmla="*/ 0 60000 65536"/>
                    <a:gd name="T15" fmla="*/ 0 60000 65536"/>
                    <a:gd name="T16" fmla="*/ 0 60000 65536"/>
                    <a:gd name="T17" fmla="*/ 0 60000 65536"/>
                    <a:gd name="T18" fmla="*/ 0 60000 65536"/>
                    <a:gd name="T19" fmla="*/ 0 60000 65536"/>
                    <a:gd name="T20" fmla="*/ 0 60000 65536"/>
                    <a:gd name="T21" fmla="*/ 0 w 48"/>
                    <a:gd name="T22" fmla="*/ 0 h 26"/>
                    <a:gd name="T23" fmla="*/ 48 w 4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26">
                      <a:moveTo>
                        <a:pt x="0" y="15"/>
                      </a:moveTo>
                      <a:lnTo>
                        <a:pt x="0" y="15"/>
                      </a:lnTo>
                      <a:lnTo>
                        <a:pt x="2" y="25"/>
                      </a:lnTo>
                      <a:lnTo>
                        <a:pt x="47" y="0"/>
                      </a:lnTo>
                      <a:lnTo>
                        <a:pt x="14" y="7"/>
                      </a:lnTo>
                      <a:lnTo>
                        <a:pt x="0" y="15"/>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9" name="Indonesia">
                  <a:extLst>
                    <a:ext uri="{FF2B5EF4-FFF2-40B4-BE49-F238E27FC236}">
                      <a16:creationId xmlns:a16="http://schemas.microsoft.com/office/drawing/2014/main" id="{4AFB1C1D-1405-7F3F-9CC8-CE1E0458D47E}"/>
                    </a:ext>
                  </a:extLst>
                </p:cNvPr>
                <p:cNvSpPr>
                  <a:spLocks noGrp="1" noRot="1" noChangeAspect="1" noMove="1" noResize="1" noEditPoints="1" noAdjustHandles="1" noChangeArrowheads="1" noChangeShapeType="1"/>
                </p:cNvSpPr>
                <p:nvPr/>
              </p:nvSpPr>
              <p:spPr bwMode="gray">
                <a:xfrm>
                  <a:off x="7900527" y="4613181"/>
                  <a:ext cx="30811" cy="85001"/>
                </a:xfrm>
                <a:custGeom>
                  <a:avLst/>
                  <a:gdLst>
                    <a:gd name="T0" fmla="*/ 0 w 17"/>
                    <a:gd name="T1" fmla="*/ 14 h 42"/>
                    <a:gd name="T2" fmla="*/ 0 w 17"/>
                    <a:gd name="T3" fmla="*/ 14 h 42"/>
                    <a:gd name="T4" fmla="*/ 3 w 17"/>
                    <a:gd name="T5" fmla="*/ 33 h 42"/>
                    <a:gd name="T6" fmla="*/ 13 w 17"/>
                    <a:gd name="T7" fmla="*/ 41 h 42"/>
                    <a:gd name="T8" fmla="*/ 7 w 17"/>
                    <a:gd name="T9" fmla="*/ 24 h 42"/>
                    <a:gd name="T10" fmla="*/ 16 w 17"/>
                    <a:gd name="T11" fmla="*/ 21 h 42"/>
                    <a:gd name="T12" fmla="*/ 15 w 17"/>
                    <a:gd name="T13" fmla="*/ 8 h 42"/>
                    <a:gd name="T14" fmla="*/ 3 w 17"/>
                    <a:gd name="T15" fmla="*/ 17 h 42"/>
                    <a:gd name="T16" fmla="*/ 8 w 17"/>
                    <a:gd name="T17" fmla="*/ 0 h 42"/>
                    <a:gd name="T18" fmla="*/ 0 w 17"/>
                    <a:gd name="T19" fmla="*/ 14 h 42"/>
                    <a:gd name="T20" fmla="*/ 0 w 17"/>
                    <a:gd name="T21" fmla="*/ 14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2"/>
                    <a:gd name="T35" fmla="*/ 17 w 17"/>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2">
                      <a:moveTo>
                        <a:pt x="0" y="14"/>
                      </a:moveTo>
                      <a:lnTo>
                        <a:pt x="0" y="14"/>
                      </a:lnTo>
                      <a:lnTo>
                        <a:pt x="3" y="33"/>
                      </a:lnTo>
                      <a:lnTo>
                        <a:pt x="13" y="41"/>
                      </a:lnTo>
                      <a:lnTo>
                        <a:pt x="7" y="24"/>
                      </a:lnTo>
                      <a:lnTo>
                        <a:pt x="16" y="21"/>
                      </a:lnTo>
                      <a:lnTo>
                        <a:pt x="15" y="8"/>
                      </a:lnTo>
                      <a:lnTo>
                        <a:pt x="3" y="17"/>
                      </a:lnTo>
                      <a:lnTo>
                        <a:pt x="8" y="0"/>
                      </a:lnTo>
                      <a:lnTo>
                        <a:pt x="0" y="14"/>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0" name="Indonesia">
                  <a:extLst>
                    <a:ext uri="{FF2B5EF4-FFF2-40B4-BE49-F238E27FC236}">
                      <a16:creationId xmlns:a16="http://schemas.microsoft.com/office/drawing/2014/main" id="{EB5080A9-71B8-AB4D-7C25-7BC1BEB6ED16}"/>
                    </a:ext>
                  </a:extLst>
                </p:cNvPr>
                <p:cNvSpPr>
                  <a:spLocks noGrp="1" noRot="1" noChangeAspect="1" noMove="1" noResize="1" noEditPoints="1" noAdjustHandles="1" noChangeArrowheads="1" noChangeShapeType="1"/>
                </p:cNvSpPr>
                <p:nvPr/>
              </p:nvSpPr>
              <p:spPr bwMode="gray">
                <a:xfrm>
                  <a:off x="7913214" y="4746752"/>
                  <a:ext cx="72497" cy="28334"/>
                </a:xfrm>
                <a:custGeom>
                  <a:avLst/>
                  <a:gdLst>
                    <a:gd name="T0" fmla="*/ 0 w 40"/>
                    <a:gd name="T1" fmla="*/ 5 h 14"/>
                    <a:gd name="T2" fmla="*/ 0 w 40"/>
                    <a:gd name="T3" fmla="*/ 5 h 14"/>
                    <a:gd name="T4" fmla="*/ 22 w 40"/>
                    <a:gd name="T5" fmla="*/ 0 h 14"/>
                    <a:gd name="T6" fmla="*/ 39 w 40"/>
                    <a:gd name="T7" fmla="*/ 13 h 14"/>
                    <a:gd name="T8" fmla="*/ 0 w 40"/>
                    <a:gd name="T9" fmla="*/ 5 h 14"/>
                    <a:gd name="T10" fmla="*/ 0 w 40"/>
                    <a:gd name="T11" fmla="*/ 5 h 14"/>
                    <a:gd name="T12" fmla="*/ 0 60000 65536"/>
                    <a:gd name="T13" fmla="*/ 0 60000 65536"/>
                    <a:gd name="T14" fmla="*/ 0 60000 65536"/>
                    <a:gd name="T15" fmla="*/ 0 60000 65536"/>
                    <a:gd name="T16" fmla="*/ 0 60000 65536"/>
                    <a:gd name="T17" fmla="*/ 0 60000 65536"/>
                    <a:gd name="T18" fmla="*/ 0 w 40"/>
                    <a:gd name="T19" fmla="*/ 0 h 14"/>
                    <a:gd name="T20" fmla="*/ 40 w 4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40" h="14">
                      <a:moveTo>
                        <a:pt x="0" y="5"/>
                      </a:moveTo>
                      <a:lnTo>
                        <a:pt x="0" y="5"/>
                      </a:lnTo>
                      <a:lnTo>
                        <a:pt x="22" y="0"/>
                      </a:lnTo>
                      <a:lnTo>
                        <a:pt x="39" y="13"/>
                      </a:lnTo>
                      <a:lnTo>
                        <a:pt x="0" y="5"/>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1" name="Indonesia">
                  <a:extLst>
                    <a:ext uri="{FF2B5EF4-FFF2-40B4-BE49-F238E27FC236}">
                      <a16:creationId xmlns:a16="http://schemas.microsoft.com/office/drawing/2014/main" id="{EC6B7117-8CA4-DB27-DC3E-DDD003706588}"/>
                    </a:ext>
                  </a:extLst>
                </p:cNvPr>
                <p:cNvSpPr>
                  <a:spLocks noGrp="1" noRot="1" noChangeAspect="1" noMove="1" noResize="1" noEditPoints="1" noAdjustHandles="1" noChangeArrowheads="1" noChangeShapeType="1"/>
                </p:cNvSpPr>
                <p:nvPr/>
              </p:nvSpPr>
              <p:spPr bwMode="gray">
                <a:xfrm>
                  <a:off x="7983899" y="4681988"/>
                  <a:ext cx="260986" cy="240834"/>
                </a:xfrm>
                <a:custGeom>
                  <a:avLst/>
                  <a:gdLst>
                    <a:gd name="T0" fmla="*/ 0 w 144"/>
                    <a:gd name="T1" fmla="*/ 15 h 119"/>
                    <a:gd name="T2" fmla="*/ 0 w 144"/>
                    <a:gd name="T3" fmla="*/ 15 h 119"/>
                    <a:gd name="T4" fmla="*/ 21 w 144"/>
                    <a:gd name="T5" fmla="*/ 26 h 119"/>
                    <a:gd name="T6" fmla="*/ 42 w 144"/>
                    <a:gd name="T7" fmla="*/ 23 h 119"/>
                    <a:gd name="T8" fmla="*/ 16 w 144"/>
                    <a:gd name="T9" fmla="*/ 32 h 119"/>
                    <a:gd name="T10" fmla="*/ 28 w 144"/>
                    <a:gd name="T11" fmla="*/ 51 h 119"/>
                    <a:gd name="T12" fmla="*/ 41 w 144"/>
                    <a:gd name="T13" fmla="*/ 35 h 119"/>
                    <a:gd name="T14" fmla="*/ 49 w 144"/>
                    <a:gd name="T15" fmla="*/ 51 h 119"/>
                    <a:gd name="T16" fmla="*/ 100 w 144"/>
                    <a:gd name="T17" fmla="*/ 69 h 119"/>
                    <a:gd name="T18" fmla="*/ 113 w 144"/>
                    <a:gd name="T19" fmla="*/ 98 h 119"/>
                    <a:gd name="T20" fmla="*/ 103 w 144"/>
                    <a:gd name="T21" fmla="*/ 97 h 119"/>
                    <a:gd name="T22" fmla="*/ 95 w 144"/>
                    <a:gd name="T23" fmla="*/ 110 h 119"/>
                    <a:gd name="T24" fmla="*/ 126 w 144"/>
                    <a:gd name="T25" fmla="*/ 104 h 119"/>
                    <a:gd name="T26" fmla="*/ 143 w 144"/>
                    <a:gd name="T27" fmla="*/ 118 h 119"/>
                    <a:gd name="T28" fmla="*/ 141 w 144"/>
                    <a:gd name="T29" fmla="*/ 30 h 119"/>
                    <a:gd name="T30" fmla="*/ 97 w 144"/>
                    <a:gd name="T31" fmla="*/ 15 h 119"/>
                    <a:gd name="T32" fmla="*/ 61 w 144"/>
                    <a:gd name="T33" fmla="*/ 41 h 119"/>
                    <a:gd name="T34" fmla="*/ 47 w 144"/>
                    <a:gd name="T35" fmla="*/ 27 h 119"/>
                    <a:gd name="T36" fmla="*/ 43 w 144"/>
                    <a:gd name="T37" fmla="*/ 6 h 119"/>
                    <a:gd name="T38" fmla="*/ 21 w 144"/>
                    <a:gd name="T39" fmla="*/ 0 h 119"/>
                    <a:gd name="T40" fmla="*/ 0 w 144"/>
                    <a:gd name="T41" fmla="*/ 15 h 119"/>
                    <a:gd name="T42" fmla="*/ 0 w 144"/>
                    <a:gd name="T43" fmla="*/ 15 h 1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19"/>
                    <a:gd name="T68" fmla="*/ 144 w 144"/>
                    <a:gd name="T69" fmla="*/ 119 h 1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19">
                      <a:moveTo>
                        <a:pt x="0" y="15"/>
                      </a:moveTo>
                      <a:lnTo>
                        <a:pt x="0" y="15"/>
                      </a:lnTo>
                      <a:lnTo>
                        <a:pt x="21" y="26"/>
                      </a:lnTo>
                      <a:lnTo>
                        <a:pt x="42" y="23"/>
                      </a:lnTo>
                      <a:lnTo>
                        <a:pt x="16" y="32"/>
                      </a:lnTo>
                      <a:lnTo>
                        <a:pt x="28" y="51"/>
                      </a:lnTo>
                      <a:lnTo>
                        <a:pt x="41" y="35"/>
                      </a:lnTo>
                      <a:lnTo>
                        <a:pt x="49" y="51"/>
                      </a:lnTo>
                      <a:lnTo>
                        <a:pt x="100" y="69"/>
                      </a:lnTo>
                      <a:lnTo>
                        <a:pt x="113" y="98"/>
                      </a:lnTo>
                      <a:lnTo>
                        <a:pt x="103" y="97"/>
                      </a:lnTo>
                      <a:lnTo>
                        <a:pt x="95" y="110"/>
                      </a:lnTo>
                      <a:lnTo>
                        <a:pt x="126" y="104"/>
                      </a:lnTo>
                      <a:lnTo>
                        <a:pt x="143" y="118"/>
                      </a:lnTo>
                      <a:lnTo>
                        <a:pt x="141" y="30"/>
                      </a:lnTo>
                      <a:lnTo>
                        <a:pt x="97" y="15"/>
                      </a:lnTo>
                      <a:lnTo>
                        <a:pt x="61" y="41"/>
                      </a:lnTo>
                      <a:lnTo>
                        <a:pt x="47" y="27"/>
                      </a:lnTo>
                      <a:lnTo>
                        <a:pt x="43" y="6"/>
                      </a:lnTo>
                      <a:lnTo>
                        <a:pt x="21" y="0"/>
                      </a:lnTo>
                      <a:lnTo>
                        <a:pt x="0" y="15"/>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2" name="Indonesia">
                  <a:extLst>
                    <a:ext uri="{FF2B5EF4-FFF2-40B4-BE49-F238E27FC236}">
                      <a16:creationId xmlns:a16="http://schemas.microsoft.com/office/drawing/2014/main" id="{44927C38-FD71-4B03-FF54-BE959331241D}"/>
                    </a:ext>
                  </a:extLst>
                </p:cNvPr>
                <p:cNvSpPr>
                  <a:spLocks noGrp="1" noRot="1" noChangeAspect="1" noMove="1" noResize="1" noEditPoints="1" noAdjustHandles="1" noChangeArrowheads="1" noChangeShapeType="1"/>
                </p:cNvSpPr>
                <p:nvPr/>
              </p:nvSpPr>
              <p:spPr bwMode="gray">
                <a:xfrm>
                  <a:off x="7994772" y="4868181"/>
                  <a:ext cx="12687" cy="22262"/>
                </a:xfrm>
                <a:custGeom>
                  <a:avLst/>
                  <a:gdLst>
                    <a:gd name="T0" fmla="*/ 0 w 7"/>
                    <a:gd name="T1" fmla="*/ 10 h 11"/>
                    <a:gd name="T2" fmla="*/ 0 w 7"/>
                    <a:gd name="T3" fmla="*/ 10 h 11"/>
                    <a:gd name="T4" fmla="*/ 3 w 7"/>
                    <a:gd name="T5" fmla="*/ 0 h 11"/>
                    <a:gd name="T6" fmla="*/ 6 w 7"/>
                    <a:gd name="T7" fmla="*/ 6 h 11"/>
                    <a:gd name="T8" fmla="*/ 0 w 7"/>
                    <a:gd name="T9" fmla="*/ 10 h 11"/>
                    <a:gd name="T10" fmla="*/ 0 w 7"/>
                    <a:gd name="T11" fmla="*/ 10 h 11"/>
                    <a:gd name="T12" fmla="*/ 0 60000 65536"/>
                    <a:gd name="T13" fmla="*/ 0 60000 65536"/>
                    <a:gd name="T14" fmla="*/ 0 60000 65536"/>
                    <a:gd name="T15" fmla="*/ 0 60000 65536"/>
                    <a:gd name="T16" fmla="*/ 0 60000 65536"/>
                    <a:gd name="T17" fmla="*/ 0 60000 65536"/>
                    <a:gd name="T18" fmla="*/ 0 w 7"/>
                    <a:gd name="T19" fmla="*/ 0 h 11"/>
                    <a:gd name="T20" fmla="*/ 7 w 7"/>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7" h="11">
                      <a:moveTo>
                        <a:pt x="0" y="10"/>
                      </a:moveTo>
                      <a:lnTo>
                        <a:pt x="0" y="10"/>
                      </a:lnTo>
                      <a:lnTo>
                        <a:pt x="3" y="0"/>
                      </a:lnTo>
                      <a:lnTo>
                        <a:pt x="6" y="6"/>
                      </a:lnTo>
                      <a:lnTo>
                        <a:pt x="0" y="10"/>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30" name="India">
                <a:extLst>
                  <a:ext uri="{FF2B5EF4-FFF2-40B4-BE49-F238E27FC236}">
                    <a16:creationId xmlns:a16="http://schemas.microsoft.com/office/drawing/2014/main" id="{D68DC3F2-D2D9-8636-2BFA-8B90BF83F24F}"/>
                  </a:ext>
                </a:extLst>
              </p:cNvPr>
              <p:cNvSpPr>
                <a:spLocks noGrp="1" noRot="1" noChangeAspect="1" noMove="1" noResize="1" noEditPoints="1" noAdjustHandles="1" noChangeArrowheads="1" noChangeShapeType="1"/>
              </p:cNvSpPr>
              <p:nvPr/>
            </p:nvSpPr>
            <p:spPr bwMode="gray">
              <a:xfrm>
                <a:off x="6430810" y="3648463"/>
                <a:ext cx="725629" cy="803526"/>
              </a:xfrm>
              <a:custGeom>
                <a:avLst/>
                <a:gdLst>
                  <a:gd name="T0" fmla="*/ 0 w 401"/>
                  <a:gd name="T1" fmla="*/ 181 h 399"/>
                  <a:gd name="T2" fmla="*/ 42 w 401"/>
                  <a:gd name="T3" fmla="*/ 172 h 399"/>
                  <a:gd name="T4" fmla="*/ 33 w 401"/>
                  <a:gd name="T5" fmla="*/ 119 h 399"/>
                  <a:gd name="T6" fmla="*/ 91 w 401"/>
                  <a:gd name="T7" fmla="*/ 75 h 399"/>
                  <a:gd name="T8" fmla="*/ 99 w 401"/>
                  <a:gd name="T9" fmla="*/ 55 h 399"/>
                  <a:gd name="T10" fmla="*/ 81 w 401"/>
                  <a:gd name="T11" fmla="*/ 19 h 399"/>
                  <a:gd name="T12" fmla="*/ 131 w 401"/>
                  <a:gd name="T13" fmla="*/ 8 h 399"/>
                  <a:gd name="T14" fmla="*/ 167 w 401"/>
                  <a:gd name="T15" fmla="*/ 7 h 399"/>
                  <a:gd name="T16" fmla="*/ 157 w 401"/>
                  <a:gd name="T17" fmla="*/ 49 h 399"/>
                  <a:gd name="T18" fmla="*/ 149 w 401"/>
                  <a:gd name="T19" fmla="*/ 76 h 399"/>
                  <a:gd name="T20" fmla="*/ 163 w 401"/>
                  <a:gd name="T21" fmla="*/ 108 h 399"/>
                  <a:gd name="T22" fmla="*/ 271 w 401"/>
                  <a:gd name="T23" fmla="*/ 142 h 399"/>
                  <a:gd name="T24" fmla="*/ 282 w 401"/>
                  <a:gd name="T25" fmla="*/ 119 h 399"/>
                  <a:gd name="T26" fmla="*/ 289 w 401"/>
                  <a:gd name="T27" fmla="*/ 138 h 399"/>
                  <a:gd name="T28" fmla="*/ 323 w 401"/>
                  <a:gd name="T29" fmla="*/ 122 h 399"/>
                  <a:gd name="T30" fmla="*/ 386 w 401"/>
                  <a:gd name="T31" fmla="*/ 112 h 399"/>
                  <a:gd name="T32" fmla="*/ 395 w 401"/>
                  <a:gd name="T33" fmla="*/ 132 h 399"/>
                  <a:gd name="T34" fmla="*/ 335 w 401"/>
                  <a:gd name="T35" fmla="*/ 207 h 399"/>
                  <a:gd name="T36" fmla="*/ 321 w 401"/>
                  <a:gd name="T37" fmla="*/ 190 h 399"/>
                  <a:gd name="T38" fmla="*/ 329 w 401"/>
                  <a:gd name="T39" fmla="*/ 161 h 399"/>
                  <a:gd name="T40" fmla="*/ 278 w 401"/>
                  <a:gd name="T41" fmla="*/ 140 h 399"/>
                  <a:gd name="T42" fmla="*/ 279 w 401"/>
                  <a:gd name="T43" fmla="*/ 159 h 399"/>
                  <a:gd name="T44" fmla="*/ 279 w 401"/>
                  <a:gd name="T45" fmla="*/ 173 h 399"/>
                  <a:gd name="T46" fmla="*/ 272 w 401"/>
                  <a:gd name="T47" fmla="*/ 205 h 399"/>
                  <a:gd name="T48" fmla="*/ 166 w 401"/>
                  <a:gd name="T49" fmla="*/ 295 h 399"/>
                  <a:gd name="T50" fmla="*/ 126 w 401"/>
                  <a:gd name="T51" fmla="*/ 398 h 399"/>
                  <a:gd name="T52" fmla="*/ 83 w 401"/>
                  <a:gd name="T53" fmla="*/ 296 h 399"/>
                  <a:gd name="T54" fmla="*/ 63 w 401"/>
                  <a:gd name="T55" fmla="*/ 202 h 399"/>
                  <a:gd name="T56" fmla="*/ 51 w 401"/>
                  <a:gd name="T57" fmla="*/ 217 h 399"/>
                  <a:gd name="T58" fmla="*/ 12 w 401"/>
                  <a:gd name="T59" fmla="*/ 201 h 399"/>
                  <a:gd name="T60" fmla="*/ 12 w 401"/>
                  <a:gd name="T61" fmla="*/ 193 h 399"/>
                  <a:gd name="T62" fmla="*/ 0 w 401"/>
                  <a:gd name="T63" fmla="*/ 181 h 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1"/>
                  <a:gd name="T97" fmla="*/ 0 h 399"/>
                  <a:gd name="T98" fmla="*/ 401 w 401"/>
                  <a:gd name="T99" fmla="*/ 399 h 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1" h="399">
                    <a:moveTo>
                      <a:pt x="0" y="181"/>
                    </a:moveTo>
                    <a:lnTo>
                      <a:pt x="0" y="181"/>
                    </a:lnTo>
                    <a:lnTo>
                      <a:pt x="11" y="172"/>
                    </a:lnTo>
                    <a:lnTo>
                      <a:pt x="42" y="172"/>
                    </a:lnTo>
                    <a:lnTo>
                      <a:pt x="20" y="130"/>
                    </a:lnTo>
                    <a:lnTo>
                      <a:pt x="33" y="119"/>
                    </a:lnTo>
                    <a:lnTo>
                      <a:pt x="51" y="120"/>
                    </a:lnTo>
                    <a:lnTo>
                      <a:pt x="91" y="75"/>
                    </a:lnTo>
                    <a:lnTo>
                      <a:pt x="88" y="62"/>
                    </a:lnTo>
                    <a:lnTo>
                      <a:pt x="99" y="55"/>
                    </a:lnTo>
                    <a:lnTo>
                      <a:pt x="81" y="41"/>
                    </a:lnTo>
                    <a:lnTo>
                      <a:pt x="81" y="19"/>
                    </a:lnTo>
                    <a:lnTo>
                      <a:pt x="120" y="19"/>
                    </a:lnTo>
                    <a:lnTo>
                      <a:pt x="131" y="8"/>
                    </a:lnTo>
                    <a:lnTo>
                      <a:pt x="152" y="0"/>
                    </a:lnTo>
                    <a:lnTo>
                      <a:pt x="167" y="7"/>
                    </a:lnTo>
                    <a:lnTo>
                      <a:pt x="148" y="30"/>
                    </a:lnTo>
                    <a:lnTo>
                      <a:pt x="157" y="49"/>
                    </a:lnTo>
                    <a:lnTo>
                      <a:pt x="142" y="52"/>
                    </a:lnTo>
                    <a:lnTo>
                      <a:pt x="149" y="76"/>
                    </a:lnTo>
                    <a:lnTo>
                      <a:pt x="177" y="86"/>
                    </a:lnTo>
                    <a:lnTo>
                      <a:pt x="163" y="108"/>
                    </a:lnTo>
                    <a:lnTo>
                      <a:pt x="200" y="129"/>
                    </a:lnTo>
                    <a:lnTo>
                      <a:pt x="271" y="142"/>
                    </a:lnTo>
                    <a:lnTo>
                      <a:pt x="273" y="121"/>
                    </a:lnTo>
                    <a:lnTo>
                      <a:pt x="282" y="119"/>
                    </a:lnTo>
                    <a:lnTo>
                      <a:pt x="284" y="129"/>
                    </a:lnTo>
                    <a:lnTo>
                      <a:pt x="289" y="138"/>
                    </a:lnTo>
                    <a:lnTo>
                      <a:pt x="325" y="134"/>
                    </a:lnTo>
                    <a:lnTo>
                      <a:pt x="323" y="122"/>
                    </a:lnTo>
                    <a:lnTo>
                      <a:pt x="382" y="97"/>
                    </a:lnTo>
                    <a:lnTo>
                      <a:pt x="386" y="112"/>
                    </a:lnTo>
                    <a:lnTo>
                      <a:pt x="400" y="117"/>
                    </a:lnTo>
                    <a:lnTo>
                      <a:pt x="395" y="132"/>
                    </a:lnTo>
                    <a:lnTo>
                      <a:pt x="370" y="141"/>
                    </a:lnTo>
                    <a:lnTo>
                      <a:pt x="335" y="207"/>
                    </a:lnTo>
                    <a:lnTo>
                      <a:pt x="328" y="180"/>
                    </a:lnTo>
                    <a:lnTo>
                      <a:pt x="321" y="190"/>
                    </a:lnTo>
                    <a:lnTo>
                      <a:pt x="313" y="178"/>
                    </a:lnTo>
                    <a:lnTo>
                      <a:pt x="329" y="161"/>
                    </a:lnTo>
                    <a:lnTo>
                      <a:pt x="298" y="159"/>
                    </a:lnTo>
                    <a:lnTo>
                      <a:pt x="278" y="140"/>
                    </a:lnTo>
                    <a:lnTo>
                      <a:pt x="272" y="151"/>
                    </a:lnTo>
                    <a:lnTo>
                      <a:pt x="279" y="159"/>
                    </a:lnTo>
                    <a:lnTo>
                      <a:pt x="270" y="165"/>
                    </a:lnTo>
                    <a:lnTo>
                      <a:pt x="279" y="173"/>
                    </a:lnTo>
                    <a:lnTo>
                      <a:pt x="284" y="211"/>
                    </a:lnTo>
                    <a:lnTo>
                      <a:pt x="272" y="205"/>
                    </a:lnTo>
                    <a:lnTo>
                      <a:pt x="249" y="234"/>
                    </a:lnTo>
                    <a:lnTo>
                      <a:pt x="166" y="295"/>
                    </a:lnTo>
                    <a:lnTo>
                      <a:pt x="160" y="369"/>
                    </a:lnTo>
                    <a:lnTo>
                      <a:pt x="126" y="398"/>
                    </a:lnTo>
                    <a:lnTo>
                      <a:pt x="95" y="341"/>
                    </a:lnTo>
                    <a:lnTo>
                      <a:pt x="83" y="296"/>
                    </a:lnTo>
                    <a:lnTo>
                      <a:pt x="72" y="285"/>
                    </a:lnTo>
                    <a:lnTo>
                      <a:pt x="63" y="202"/>
                    </a:lnTo>
                    <a:lnTo>
                      <a:pt x="56" y="199"/>
                    </a:lnTo>
                    <a:lnTo>
                      <a:pt x="51" y="217"/>
                    </a:lnTo>
                    <a:lnTo>
                      <a:pt x="32" y="223"/>
                    </a:lnTo>
                    <a:lnTo>
                      <a:pt x="12" y="201"/>
                    </a:lnTo>
                    <a:lnTo>
                      <a:pt x="31" y="189"/>
                    </a:lnTo>
                    <a:lnTo>
                      <a:pt x="12" y="193"/>
                    </a:lnTo>
                    <a:lnTo>
                      <a:pt x="0" y="181"/>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1" name="Laos">
                <a:extLst>
                  <a:ext uri="{FF2B5EF4-FFF2-40B4-BE49-F238E27FC236}">
                    <a16:creationId xmlns:a16="http://schemas.microsoft.com/office/drawing/2014/main" id="{CC818860-66C8-C92F-C880-BEE2B7501964}"/>
                  </a:ext>
                </a:extLst>
              </p:cNvPr>
              <p:cNvSpPr>
                <a:spLocks noGrp="1" noRot="1" noChangeAspect="1" noMove="1" noResize="1" noEditPoints="1" noAdjustHandles="1" noChangeArrowheads="1" noChangeShapeType="1"/>
              </p:cNvSpPr>
              <p:nvPr/>
            </p:nvSpPr>
            <p:spPr bwMode="gray">
              <a:xfrm>
                <a:off x="7229003" y="4049159"/>
                <a:ext cx="177589" cy="232320"/>
              </a:xfrm>
              <a:custGeom>
                <a:avLst/>
                <a:gdLst>
                  <a:gd name="T0" fmla="*/ 0 w 99"/>
                  <a:gd name="T1" fmla="*/ 25 h 115"/>
                  <a:gd name="T2" fmla="*/ 0 w 99"/>
                  <a:gd name="T3" fmla="*/ 25 h 115"/>
                  <a:gd name="T4" fmla="*/ 13 w 99"/>
                  <a:gd name="T5" fmla="*/ 41 h 115"/>
                  <a:gd name="T6" fmla="*/ 9 w 99"/>
                  <a:gd name="T7" fmla="*/ 69 h 115"/>
                  <a:gd name="T8" fmla="*/ 44 w 99"/>
                  <a:gd name="T9" fmla="*/ 57 h 115"/>
                  <a:gd name="T10" fmla="*/ 59 w 99"/>
                  <a:gd name="T11" fmla="*/ 69 h 115"/>
                  <a:gd name="T12" fmla="*/ 72 w 99"/>
                  <a:gd name="T13" fmla="*/ 97 h 115"/>
                  <a:gd name="T14" fmla="*/ 67 w 99"/>
                  <a:gd name="T15" fmla="*/ 114 h 115"/>
                  <a:gd name="T16" fmla="*/ 98 w 99"/>
                  <a:gd name="T17" fmla="*/ 109 h 115"/>
                  <a:gd name="T18" fmla="*/ 83 w 99"/>
                  <a:gd name="T19" fmla="*/ 72 h 115"/>
                  <a:gd name="T20" fmla="*/ 50 w 99"/>
                  <a:gd name="T21" fmla="*/ 45 h 115"/>
                  <a:gd name="T22" fmla="*/ 59 w 99"/>
                  <a:gd name="T23" fmla="*/ 30 h 115"/>
                  <a:gd name="T24" fmla="*/ 41 w 99"/>
                  <a:gd name="T25" fmla="*/ 21 h 115"/>
                  <a:gd name="T26" fmla="*/ 27 w 99"/>
                  <a:gd name="T27" fmla="*/ 0 h 115"/>
                  <a:gd name="T28" fmla="*/ 18 w 99"/>
                  <a:gd name="T29" fmla="*/ 0 h 115"/>
                  <a:gd name="T30" fmla="*/ 19 w 99"/>
                  <a:gd name="T31" fmla="*/ 16 h 115"/>
                  <a:gd name="T32" fmla="*/ 13 w 99"/>
                  <a:gd name="T33" fmla="*/ 12 h 115"/>
                  <a:gd name="T34" fmla="*/ 0 w 99"/>
                  <a:gd name="T35" fmla="*/ 25 h 115"/>
                  <a:gd name="T36" fmla="*/ 0 w 99"/>
                  <a:gd name="T37" fmla="*/ 25 h 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9"/>
                  <a:gd name="T58" fmla="*/ 0 h 115"/>
                  <a:gd name="T59" fmla="*/ 99 w 99"/>
                  <a:gd name="T60" fmla="*/ 115 h 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9" h="115">
                    <a:moveTo>
                      <a:pt x="0" y="25"/>
                    </a:moveTo>
                    <a:lnTo>
                      <a:pt x="0" y="25"/>
                    </a:lnTo>
                    <a:lnTo>
                      <a:pt x="13" y="41"/>
                    </a:lnTo>
                    <a:lnTo>
                      <a:pt x="9" y="69"/>
                    </a:lnTo>
                    <a:lnTo>
                      <a:pt x="44" y="57"/>
                    </a:lnTo>
                    <a:lnTo>
                      <a:pt x="59" y="69"/>
                    </a:lnTo>
                    <a:lnTo>
                      <a:pt x="72" y="97"/>
                    </a:lnTo>
                    <a:lnTo>
                      <a:pt x="67" y="114"/>
                    </a:lnTo>
                    <a:lnTo>
                      <a:pt x="98" y="109"/>
                    </a:lnTo>
                    <a:lnTo>
                      <a:pt x="83" y="72"/>
                    </a:lnTo>
                    <a:lnTo>
                      <a:pt x="50" y="45"/>
                    </a:lnTo>
                    <a:lnTo>
                      <a:pt x="59" y="30"/>
                    </a:lnTo>
                    <a:lnTo>
                      <a:pt x="41" y="21"/>
                    </a:lnTo>
                    <a:lnTo>
                      <a:pt x="27" y="0"/>
                    </a:lnTo>
                    <a:lnTo>
                      <a:pt x="18" y="0"/>
                    </a:lnTo>
                    <a:lnTo>
                      <a:pt x="19" y="16"/>
                    </a:lnTo>
                    <a:lnTo>
                      <a:pt x="13" y="12"/>
                    </a:lnTo>
                    <a:lnTo>
                      <a:pt x="0" y="25"/>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2" name="Cambodia">
                <a:extLst>
                  <a:ext uri="{FF2B5EF4-FFF2-40B4-BE49-F238E27FC236}">
                    <a16:creationId xmlns:a16="http://schemas.microsoft.com/office/drawing/2014/main" id="{029325D0-D1AB-2F28-1631-F2DD214289E1}"/>
                  </a:ext>
                </a:extLst>
              </p:cNvPr>
              <p:cNvSpPr>
                <a:spLocks noGrp="1" noRot="1" noChangeAspect="1" noMove="1" noResize="1" noEditPoints="1" noAdjustHandles="1" noChangeArrowheads="1" noChangeShapeType="1"/>
              </p:cNvSpPr>
              <p:nvPr/>
            </p:nvSpPr>
            <p:spPr bwMode="gray">
              <a:xfrm>
                <a:off x="7284380" y="4270821"/>
                <a:ext cx="124121" cy="119357"/>
              </a:xfrm>
              <a:custGeom>
                <a:avLst/>
                <a:gdLst>
                  <a:gd name="T0" fmla="*/ 0 w 70"/>
                  <a:gd name="T1" fmla="*/ 12 h 59"/>
                  <a:gd name="T2" fmla="*/ 0 w 70"/>
                  <a:gd name="T3" fmla="*/ 12 h 59"/>
                  <a:gd name="T4" fmla="*/ 5 w 70"/>
                  <a:gd name="T5" fmla="*/ 41 h 59"/>
                  <a:gd name="T6" fmla="*/ 14 w 70"/>
                  <a:gd name="T7" fmla="*/ 56 h 59"/>
                  <a:gd name="T8" fmla="*/ 28 w 70"/>
                  <a:gd name="T9" fmla="*/ 58 h 59"/>
                  <a:gd name="T10" fmla="*/ 69 w 70"/>
                  <a:gd name="T11" fmla="*/ 31 h 59"/>
                  <a:gd name="T12" fmla="*/ 67 w 70"/>
                  <a:gd name="T13" fmla="*/ 0 h 59"/>
                  <a:gd name="T14" fmla="*/ 36 w 70"/>
                  <a:gd name="T15" fmla="*/ 5 h 59"/>
                  <a:gd name="T16" fmla="*/ 10 w 70"/>
                  <a:gd name="T17" fmla="*/ 4 h 59"/>
                  <a:gd name="T18" fmla="*/ 0 w 70"/>
                  <a:gd name="T19" fmla="*/ 12 h 59"/>
                  <a:gd name="T20" fmla="*/ 0 w 70"/>
                  <a:gd name="T21" fmla="*/ 12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9"/>
                  <a:gd name="T35" fmla="*/ 70 w 70"/>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9">
                    <a:moveTo>
                      <a:pt x="0" y="12"/>
                    </a:moveTo>
                    <a:lnTo>
                      <a:pt x="0" y="12"/>
                    </a:lnTo>
                    <a:lnTo>
                      <a:pt x="5" y="41"/>
                    </a:lnTo>
                    <a:lnTo>
                      <a:pt x="14" y="56"/>
                    </a:lnTo>
                    <a:lnTo>
                      <a:pt x="28" y="58"/>
                    </a:lnTo>
                    <a:lnTo>
                      <a:pt x="69" y="31"/>
                    </a:lnTo>
                    <a:lnTo>
                      <a:pt x="67" y="0"/>
                    </a:lnTo>
                    <a:lnTo>
                      <a:pt x="36" y="5"/>
                    </a:lnTo>
                    <a:lnTo>
                      <a:pt x="10" y="4"/>
                    </a:lnTo>
                    <a:lnTo>
                      <a:pt x="0" y="12"/>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3" name="Bhutan">
                <a:extLst>
                  <a:ext uri="{FF2B5EF4-FFF2-40B4-BE49-F238E27FC236}">
                    <a16:creationId xmlns:a16="http://schemas.microsoft.com/office/drawing/2014/main" id="{23E4A162-D1AB-81FF-7AD2-7614EAE163F9}"/>
                  </a:ext>
                </a:extLst>
              </p:cNvPr>
              <p:cNvSpPr>
                <a:spLocks noGrp="1" noRot="1" noChangeAspect="1" noMove="1" noResize="1" noEditPoints="1" noAdjustHandles="1" noChangeArrowheads="1" noChangeShapeType="1"/>
              </p:cNvSpPr>
              <p:nvPr/>
            </p:nvSpPr>
            <p:spPr bwMode="gray">
              <a:xfrm>
                <a:off x="6946390" y="3880781"/>
                <a:ext cx="74473" cy="49022"/>
              </a:xfrm>
              <a:custGeom>
                <a:avLst/>
                <a:gdLst>
                  <a:gd name="T0" fmla="*/ 0 w 42"/>
                  <a:gd name="T1" fmla="*/ 14 h 24"/>
                  <a:gd name="T2" fmla="*/ 0 w 42"/>
                  <a:gd name="T3" fmla="*/ 14 h 24"/>
                  <a:gd name="T4" fmla="*/ 5 w 42"/>
                  <a:gd name="T5" fmla="*/ 23 h 24"/>
                  <a:gd name="T6" fmla="*/ 41 w 42"/>
                  <a:gd name="T7" fmla="*/ 19 h 24"/>
                  <a:gd name="T8" fmla="*/ 39 w 42"/>
                  <a:gd name="T9" fmla="*/ 7 h 24"/>
                  <a:gd name="T10" fmla="*/ 13 w 42"/>
                  <a:gd name="T11" fmla="*/ 0 h 24"/>
                  <a:gd name="T12" fmla="*/ 0 w 42"/>
                  <a:gd name="T13" fmla="*/ 14 h 24"/>
                  <a:gd name="T14" fmla="*/ 0 w 42"/>
                  <a:gd name="T15" fmla="*/ 14 h 2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4"/>
                  <a:gd name="T26" fmla="*/ 42 w 4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4">
                    <a:moveTo>
                      <a:pt x="0" y="14"/>
                    </a:moveTo>
                    <a:lnTo>
                      <a:pt x="0" y="14"/>
                    </a:lnTo>
                    <a:lnTo>
                      <a:pt x="5" y="23"/>
                    </a:lnTo>
                    <a:lnTo>
                      <a:pt x="41" y="19"/>
                    </a:lnTo>
                    <a:lnTo>
                      <a:pt x="39" y="7"/>
                    </a:lnTo>
                    <a:lnTo>
                      <a:pt x="13" y="0"/>
                    </a:lnTo>
                    <a:lnTo>
                      <a:pt x="0" y="14"/>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Bangladesh">
                <a:extLst>
                  <a:ext uri="{FF2B5EF4-FFF2-40B4-BE49-F238E27FC236}">
                    <a16:creationId xmlns:a16="http://schemas.microsoft.com/office/drawing/2014/main" id="{279FF824-C05F-4CA2-192B-E7003DFB96E2}"/>
                  </a:ext>
                </a:extLst>
              </p:cNvPr>
              <p:cNvSpPr>
                <a:spLocks noGrp="1" noRot="1" noChangeAspect="1" noMove="1" noResize="1" noEditPoints="1" noAdjustHandles="1" noChangeArrowheads="1" noChangeShapeType="1"/>
              </p:cNvSpPr>
              <p:nvPr/>
            </p:nvSpPr>
            <p:spPr bwMode="gray">
              <a:xfrm>
                <a:off x="6919655" y="3929803"/>
                <a:ext cx="120302" cy="166247"/>
              </a:xfrm>
              <a:custGeom>
                <a:avLst/>
                <a:gdLst>
                  <a:gd name="T0" fmla="*/ 0 w 66"/>
                  <a:gd name="T1" fmla="*/ 25 h 82"/>
                  <a:gd name="T2" fmla="*/ 0 w 66"/>
                  <a:gd name="T3" fmla="*/ 25 h 82"/>
                  <a:gd name="T4" fmla="*/ 9 w 66"/>
                  <a:gd name="T5" fmla="*/ 33 h 82"/>
                  <a:gd name="T6" fmla="*/ 14 w 66"/>
                  <a:gd name="T7" fmla="*/ 71 h 82"/>
                  <a:gd name="T8" fmla="*/ 30 w 66"/>
                  <a:gd name="T9" fmla="*/ 68 h 82"/>
                  <a:gd name="T10" fmla="*/ 40 w 66"/>
                  <a:gd name="T11" fmla="*/ 52 h 82"/>
                  <a:gd name="T12" fmla="*/ 51 w 66"/>
                  <a:gd name="T13" fmla="*/ 56 h 82"/>
                  <a:gd name="T14" fmla="*/ 59 w 66"/>
                  <a:gd name="T15" fmla="*/ 81 h 82"/>
                  <a:gd name="T16" fmla="*/ 65 w 66"/>
                  <a:gd name="T17" fmla="*/ 67 h 82"/>
                  <a:gd name="T18" fmla="*/ 58 w 66"/>
                  <a:gd name="T19" fmla="*/ 40 h 82"/>
                  <a:gd name="T20" fmla="*/ 51 w 66"/>
                  <a:gd name="T21" fmla="*/ 50 h 82"/>
                  <a:gd name="T22" fmla="*/ 43 w 66"/>
                  <a:gd name="T23" fmla="*/ 38 h 82"/>
                  <a:gd name="T24" fmla="*/ 59 w 66"/>
                  <a:gd name="T25" fmla="*/ 21 h 82"/>
                  <a:gd name="T26" fmla="*/ 28 w 66"/>
                  <a:gd name="T27" fmla="*/ 19 h 82"/>
                  <a:gd name="T28" fmla="*/ 8 w 66"/>
                  <a:gd name="T29" fmla="*/ 0 h 82"/>
                  <a:gd name="T30" fmla="*/ 2 w 66"/>
                  <a:gd name="T31" fmla="*/ 11 h 82"/>
                  <a:gd name="T32" fmla="*/ 9 w 66"/>
                  <a:gd name="T33" fmla="*/ 19 h 82"/>
                  <a:gd name="T34" fmla="*/ 0 w 66"/>
                  <a:gd name="T35" fmla="*/ 25 h 82"/>
                  <a:gd name="T36" fmla="*/ 0 w 66"/>
                  <a:gd name="T37" fmla="*/ 25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2"/>
                  <a:gd name="T59" fmla="*/ 66 w 6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2">
                    <a:moveTo>
                      <a:pt x="0" y="25"/>
                    </a:moveTo>
                    <a:lnTo>
                      <a:pt x="0" y="25"/>
                    </a:lnTo>
                    <a:lnTo>
                      <a:pt x="9" y="33"/>
                    </a:lnTo>
                    <a:lnTo>
                      <a:pt x="14" y="71"/>
                    </a:lnTo>
                    <a:lnTo>
                      <a:pt x="30" y="68"/>
                    </a:lnTo>
                    <a:lnTo>
                      <a:pt x="40" y="52"/>
                    </a:lnTo>
                    <a:lnTo>
                      <a:pt x="51" y="56"/>
                    </a:lnTo>
                    <a:lnTo>
                      <a:pt x="59" y="81"/>
                    </a:lnTo>
                    <a:lnTo>
                      <a:pt x="65" y="67"/>
                    </a:lnTo>
                    <a:lnTo>
                      <a:pt x="58" y="40"/>
                    </a:lnTo>
                    <a:lnTo>
                      <a:pt x="51" y="50"/>
                    </a:lnTo>
                    <a:lnTo>
                      <a:pt x="43" y="38"/>
                    </a:lnTo>
                    <a:lnTo>
                      <a:pt x="59" y="21"/>
                    </a:lnTo>
                    <a:lnTo>
                      <a:pt x="28" y="19"/>
                    </a:lnTo>
                    <a:lnTo>
                      <a:pt x="8" y="0"/>
                    </a:lnTo>
                    <a:lnTo>
                      <a:pt x="2" y="11"/>
                    </a:lnTo>
                    <a:lnTo>
                      <a:pt x="9" y="19"/>
                    </a:lnTo>
                    <a:lnTo>
                      <a:pt x="0" y="25"/>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35" name="Australia">
                <a:extLst>
                  <a:ext uri="{FF2B5EF4-FFF2-40B4-BE49-F238E27FC236}">
                    <a16:creationId xmlns:a16="http://schemas.microsoft.com/office/drawing/2014/main" id="{2F1D0BB3-F418-BC99-1392-51EC93D1FA59}"/>
                  </a:ext>
                </a:extLst>
              </p:cNvPr>
              <p:cNvGrpSpPr>
                <a:grpSpLocks noGrp="1" noUngrp="1" noRot="1" noMove="1" noResize="1"/>
              </p:cNvGrpSpPr>
              <p:nvPr/>
            </p:nvGrpSpPr>
            <p:grpSpPr>
              <a:xfrm>
                <a:off x="7542169" y="4967780"/>
                <a:ext cx="1008242" cy="976164"/>
                <a:chOff x="7542169" y="4967780"/>
                <a:chExt cx="1008242" cy="976164"/>
              </a:xfrm>
              <a:grpFill/>
            </p:grpSpPr>
            <p:sp>
              <p:nvSpPr>
                <p:cNvPr id="39" name="Australia">
                  <a:extLst>
                    <a:ext uri="{FF2B5EF4-FFF2-40B4-BE49-F238E27FC236}">
                      <a16:creationId xmlns:a16="http://schemas.microsoft.com/office/drawing/2014/main" id="{07D59F18-FC2F-A83B-C261-7C497275AC25}"/>
                    </a:ext>
                  </a:extLst>
                </p:cNvPr>
                <p:cNvSpPr>
                  <a:spLocks noGrp="1" noRot="1" noChangeAspect="1" noMove="1" noResize="1" noEditPoints="1" noAdjustHandles="1" noChangeArrowheads="1" noChangeShapeType="1"/>
                </p:cNvSpPr>
                <p:nvPr/>
              </p:nvSpPr>
              <p:spPr bwMode="gray">
                <a:xfrm>
                  <a:off x="7542169" y="4967780"/>
                  <a:ext cx="1008242" cy="833263"/>
                </a:xfrm>
                <a:custGeom>
                  <a:avLst/>
                  <a:gdLst>
                    <a:gd name="T0" fmla="*/ 0 w 552"/>
                    <a:gd name="T1" fmla="*/ 218 h 414"/>
                    <a:gd name="T2" fmla="*/ 4 w 552"/>
                    <a:gd name="T3" fmla="*/ 209 h 414"/>
                    <a:gd name="T4" fmla="*/ 3 w 552"/>
                    <a:gd name="T5" fmla="*/ 192 h 414"/>
                    <a:gd name="T6" fmla="*/ 14 w 552"/>
                    <a:gd name="T7" fmla="*/ 165 h 414"/>
                    <a:gd name="T8" fmla="*/ 106 w 552"/>
                    <a:gd name="T9" fmla="*/ 123 h 414"/>
                    <a:gd name="T10" fmla="*/ 125 w 552"/>
                    <a:gd name="T11" fmla="*/ 88 h 414"/>
                    <a:gd name="T12" fmla="*/ 141 w 552"/>
                    <a:gd name="T13" fmla="*/ 94 h 414"/>
                    <a:gd name="T14" fmla="*/ 154 w 552"/>
                    <a:gd name="T15" fmla="*/ 80 h 414"/>
                    <a:gd name="T16" fmla="*/ 175 w 552"/>
                    <a:gd name="T17" fmla="*/ 46 h 414"/>
                    <a:gd name="T18" fmla="*/ 202 w 552"/>
                    <a:gd name="T19" fmla="*/ 68 h 414"/>
                    <a:gd name="T20" fmla="*/ 226 w 552"/>
                    <a:gd name="T21" fmla="*/ 63 h 414"/>
                    <a:gd name="T22" fmla="*/ 233 w 552"/>
                    <a:gd name="T23" fmla="*/ 28 h 414"/>
                    <a:gd name="T24" fmla="*/ 257 w 552"/>
                    <a:gd name="T25" fmla="*/ 6 h 414"/>
                    <a:gd name="T26" fmla="*/ 306 w 552"/>
                    <a:gd name="T27" fmla="*/ 59 h 414"/>
                    <a:gd name="T28" fmla="*/ 384 w 552"/>
                    <a:gd name="T29" fmla="*/ 82 h 414"/>
                    <a:gd name="T30" fmla="*/ 405 w 552"/>
                    <a:gd name="T31" fmla="*/ 0 h 414"/>
                    <a:gd name="T32" fmla="*/ 440 w 552"/>
                    <a:gd name="T33" fmla="*/ 59 h 414"/>
                    <a:gd name="T34" fmla="*/ 488 w 552"/>
                    <a:gd name="T35" fmla="*/ 133 h 414"/>
                    <a:gd name="T36" fmla="*/ 512 w 552"/>
                    <a:gd name="T37" fmla="*/ 163 h 414"/>
                    <a:gd name="T38" fmla="*/ 543 w 552"/>
                    <a:gd name="T39" fmla="*/ 204 h 414"/>
                    <a:gd name="T40" fmla="*/ 545 w 552"/>
                    <a:gd name="T41" fmla="*/ 290 h 414"/>
                    <a:gd name="T42" fmla="*/ 503 w 552"/>
                    <a:gd name="T43" fmla="*/ 388 h 414"/>
                    <a:gd name="T44" fmla="*/ 453 w 552"/>
                    <a:gd name="T45" fmla="*/ 406 h 414"/>
                    <a:gd name="T46" fmla="*/ 435 w 552"/>
                    <a:gd name="T47" fmla="*/ 392 h 414"/>
                    <a:gd name="T48" fmla="*/ 387 w 552"/>
                    <a:gd name="T49" fmla="*/ 401 h 414"/>
                    <a:gd name="T50" fmla="*/ 357 w 552"/>
                    <a:gd name="T51" fmla="*/ 354 h 414"/>
                    <a:gd name="T52" fmla="*/ 341 w 552"/>
                    <a:gd name="T53" fmla="*/ 337 h 414"/>
                    <a:gd name="T54" fmla="*/ 324 w 552"/>
                    <a:gd name="T55" fmla="*/ 352 h 414"/>
                    <a:gd name="T56" fmla="*/ 312 w 552"/>
                    <a:gd name="T57" fmla="*/ 349 h 414"/>
                    <a:gd name="T58" fmla="*/ 288 w 552"/>
                    <a:gd name="T59" fmla="*/ 312 h 414"/>
                    <a:gd name="T60" fmla="*/ 175 w 552"/>
                    <a:gd name="T61" fmla="*/ 308 h 414"/>
                    <a:gd name="T62" fmla="*/ 94 w 552"/>
                    <a:gd name="T63" fmla="*/ 331 h 414"/>
                    <a:gd name="T64" fmla="*/ 27 w 552"/>
                    <a:gd name="T65" fmla="*/ 337 h 414"/>
                    <a:gd name="T66" fmla="*/ 0 w 552"/>
                    <a:gd name="T67" fmla="*/ 218 h 4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2"/>
                    <a:gd name="T103" fmla="*/ 0 h 414"/>
                    <a:gd name="T104" fmla="*/ 552 w 552"/>
                    <a:gd name="T105" fmla="*/ 414 h 4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2" h="414">
                      <a:moveTo>
                        <a:pt x="0" y="218"/>
                      </a:moveTo>
                      <a:lnTo>
                        <a:pt x="0" y="218"/>
                      </a:lnTo>
                      <a:lnTo>
                        <a:pt x="9" y="221"/>
                      </a:lnTo>
                      <a:lnTo>
                        <a:pt x="4" y="209"/>
                      </a:lnTo>
                      <a:lnTo>
                        <a:pt x="15" y="215"/>
                      </a:lnTo>
                      <a:lnTo>
                        <a:pt x="3" y="192"/>
                      </a:lnTo>
                      <a:lnTo>
                        <a:pt x="11" y="155"/>
                      </a:lnTo>
                      <a:lnTo>
                        <a:pt x="14" y="165"/>
                      </a:lnTo>
                      <a:lnTo>
                        <a:pt x="48" y="136"/>
                      </a:lnTo>
                      <a:lnTo>
                        <a:pt x="106" y="123"/>
                      </a:lnTo>
                      <a:lnTo>
                        <a:pt x="125" y="101"/>
                      </a:lnTo>
                      <a:lnTo>
                        <a:pt x="125" y="88"/>
                      </a:lnTo>
                      <a:lnTo>
                        <a:pt x="133" y="78"/>
                      </a:lnTo>
                      <a:lnTo>
                        <a:pt x="141" y="94"/>
                      </a:lnTo>
                      <a:lnTo>
                        <a:pt x="141" y="76"/>
                      </a:lnTo>
                      <a:lnTo>
                        <a:pt x="154" y="80"/>
                      </a:lnTo>
                      <a:lnTo>
                        <a:pt x="155" y="67"/>
                      </a:lnTo>
                      <a:lnTo>
                        <a:pt x="175" y="46"/>
                      </a:lnTo>
                      <a:lnTo>
                        <a:pt x="197" y="48"/>
                      </a:lnTo>
                      <a:lnTo>
                        <a:pt x="202" y="68"/>
                      </a:lnTo>
                      <a:lnTo>
                        <a:pt x="210" y="56"/>
                      </a:lnTo>
                      <a:lnTo>
                        <a:pt x="226" y="63"/>
                      </a:lnTo>
                      <a:lnTo>
                        <a:pt x="220" y="49"/>
                      </a:lnTo>
                      <a:lnTo>
                        <a:pt x="233" y="28"/>
                      </a:lnTo>
                      <a:lnTo>
                        <a:pt x="265" y="20"/>
                      </a:lnTo>
                      <a:lnTo>
                        <a:pt x="257" y="6"/>
                      </a:lnTo>
                      <a:lnTo>
                        <a:pt x="319" y="23"/>
                      </a:lnTo>
                      <a:lnTo>
                        <a:pt x="306" y="59"/>
                      </a:lnTo>
                      <a:lnTo>
                        <a:pt x="368" y="97"/>
                      </a:lnTo>
                      <a:lnTo>
                        <a:pt x="384" y="82"/>
                      </a:lnTo>
                      <a:lnTo>
                        <a:pt x="390" y="19"/>
                      </a:lnTo>
                      <a:lnTo>
                        <a:pt x="405" y="0"/>
                      </a:lnTo>
                      <a:lnTo>
                        <a:pt x="418" y="49"/>
                      </a:lnTo>
                      <a:lnTo>
                        <a:pt x="440" y="59"/>
                      </a:lnTo>
                      <a:lnTo>
                        <a:pt x="454" y="115"/>
                      </a:lnTo>
                      <a:lnTo>
                        <a:pt x="488" y="133"/>
                      </a:lnTo>
                      <a:lnTo>
                        <a:pt x="499" y="165"/>
                      </a:lnTo>
                      <a:lnTo>
                        <a:pt x="512" y="163"/>
                      </a:lnTo>
                      <a:lnTo>
                        <a:pt x="515" y="179"/>
                      </a:lnTo>
                      <a:lnTo>
                        <a:pt x="543" y="204"/>
                      </a:lnTo>
                      <a:lnTo>
                        <a:pt x="551" y="247"/>
                      </a:lnTo>
                      <a:lnTo>
                        <a:pt x="545" y="290"/>
                      </a:lnTo>
                      <a:lnTo>
                        <a:pt x="521" y="326"/>
                      </a:lnTo>
                      <a:lnTo>
                        <a:pt x="503" y="388"/>
                      </a:lnTo>
                      <a:lnTo>
                        <a:pt x="472" y="395"/>
                      </a:lnTo>
                      <a:lnTo>
                        <a:pt x="453" y="406"/>
                      </a:lnTo>
                      <a:lnTo>
                        <a:pt x="454" y="413"/>
                      </a:lnTo>
                      <a:lnTo>
                        <a:pt x="435" y="392"/>
                      </a:lnTo>
                      <a:lnTo>
                        <a:pt x="413" y="408"/>
                      </a:lnTo>
                      <a:lnTo>
                        <a:pt x="387" y="401"/>
                      </a:lnTo>
                      <a:lnTo>
                        <a:pt x="367" y="386"/>
                      </a:lnTo>
                      <a:lnTo>
                        <a:pt x="357" y="354"/>
                      </a:lnTo>
                      <a:lnTo>
                        <a:pt x="341" y="358"/>
                      </a:lnTo>
                      <a:lnTo>
                        <a:pt x="341" y="337"/>
                      </a:lnTo>
                      <a:lnTo>
                        <a:pt x="336" y="351"/>
                      </a:lnTo>
                      <a:lnTo>
                        <a:pt x="324" y="352"/>
                      </a:lnTo>
                      <a:lnTo>
                        <a:pt x="336" y="311"/>
                      </a:lnTo>
                      <a:lnTo>
                        <a:pt x="312" y="349"/>
                      </a:lnTo>
                      <a:lnTo>
                        <a:pt x="301" y="341"/>
                      </a:lnTo>
                      <a:lnTo>
                        <a:pt x="288" y="312"/>
                      </a:lnTo>
                      <a:lnTo>
                        <a:pt x="248" y="295"/>
                      </a:lnTo>
                      <a:lnTo>
                        <a:pt x="175" y="308"/>
                      </a:lnTo>
                      <a:lnTo>
                        <a:pt x="144" y="330"/>
                      </a:lnTo>
                      <a:lnTo>
                        <a:pt x="94" y="331"/>
                      </a:lnTo>
                      <a:lnTo>
                        <a:pt x="65" y="350"/>
                      </a:lnTo>
                      <a:lnTo>
                        <a:pt x="27" y="337"/>
                      </a:lnTo>
                      <a:lnTo>
                        <a:pt x="35" y="297"/>
                      </a:lnTo>
                      <a:lnTo>
                        <a:pt x="0" y="218"/>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0" name="Australia">
                  <a:extLst>
                    <a:ext uri="{FF2B5EF4-FFF2-40B4-BE49-F238E27FC236}">
                      <a16:creationId xmlns:a16="http://schemas.microsoft.com/office/drawing/2014/main" id="{F36EA7F6-BDEF-92E6-5E29-DF1BAB6AD2BC}"/>
                    </a:ext>
                  </a:extLst>
                </p:cNvPr>
                <p:cNvSpPr>
                  <a:spLocks noGrp="1" noRot="1" noChangeAspect="1" noMove="1" noResize="1" noEditPoints="1" noAdjustHandles="1" noChangeArrowheads="1" noChangeShapeType="1"/>
                </p:cNvSpPr>
                <p:nvPr/>
              </p:nvSpPr>
              <p:spPr bwMode="gray">
                <a:xfrm>
                  <a:off x="8331228" y="5847334"/>
                  <a:ext cx="89499" cy="96610"/>
                </a:xfrm>
                <a:custGeom>
                  <a:avLst/>
                  <a:gdLst>
                    <a:gd name="T0" fmla="*/ 0 w 49"/>
                    <a:gd name="T1" fmla="*/ 8 h 48"/>
                    <a:gd name="T2" fmla="*/ 0 w 49"/>
                    <a:gd name="T3" fmla="*/ 8 h 48"/>
                    <a:gd name="T4" fmla="*/ 1 w 49"/>
                    <a:gd name="T5" fmla="*/ 0 h 48"/>
                    <a:gd name="T6" fmla="*/ 25 w 49"/>
                    <a:gd name="T7" fmla="*/ 7 h 48"/>
                    <a:gd name="T8" fmla="*/ 44 w 49"/>
                    <a:gd name="T9" fmla="*/ 1 h 48"/>
                    <a:gd name="T10" fmla="*/ 48 w 49"/>
                    <a:gd name="T11" fmla="*/ 13 h 48"/>
                    <a:gd name="T12" fmla="*/ 48 w 49"/>
                    <a:gd name="T13" fmla="*/ 27 h 48"/>
                    <a:gd name="T14" fmla="*/ 30 w 49"/>
                    <a:gd name="T15" fmla="*/ 47 h 48"/>
                    <a:gd name="T16" fmla="*/ 18 w 49"/>
                    <a:gd name="T17" fmla="*/ 46 h 48"/>
                    <a:gd name="T18" fmla="*/ 0 w 49"/>
                    <a:gd name="T19" fmla="*/ 8 h 48"/>
                    <a:gd name="T20" fmla="*/ 0 w 49"/>
                    <a:gd name="T21" fmla="*/ 8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48"/>
                    <a:gd name="T35" fmla="*/ 49 w 49"/>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48">
                      <a:moveTo>
                        <a:pt x="0" y="8"/>
                      </a:moveTo>
                      <a:lnTo>
                        <a:pt x="0" y="8"/>
                      </a:lnTo>
                      <a:lnTo>
                        <a:pt x="1" y="0"/>
                      </a:lnTo>
                      <a:lnTo>
                        <a:pt x="25" y="7"/>
                      </a:lnTo>
                      <a:lnTo>
                        <a:pt x="44" y="1"/>
                      </a:lnTo>
                      <a:lnTo>
                        <a:pt x="48" y="13"/>
                      </a:lnTo>
                      <a:lnTo>
                        <a:pt x="48" y="27"/>
                      </a:lnTo>
                      <a:lnTo>
                        <a:pt x="30" y="47"/>
                      </a:lnTo>
                      <a:lnTo>
                        <a:pt x="18" y="46"/>
                      </a:lnTo>
                      <a:lnTo>
                        <a:pt x="0" y="8"/>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36" name="China">
                <a:extLst>
                  <a:ext uri="{FF2B5EF4-FFF2-40B4-BE49-F238E27FC236}">
                    <a16:creationId xmlns:a16="http://schemas.microsoft.com/office/drawing/2014/main" id="{25D4E3CB-44B5-9422-78B4-5986CD22702F}"/>
                  </a:ext>
                </a:extLst>
              </p:cNvPr>
              <p:cNvGrpSpPr>
                <a:grpSpLocks noGrp="1" noUngrp="1" noRot="1" noMove="1" noResize="1"/>
              </p:cNvGrpSpPr>
              <p:nvPr/>
            </p:nvGrpSpPr>
            <p:grpSpPr>
              <a:xfrm>
                <a:off x="6566388" y="3053813"/>
                <a:ext cx="1518092" cy="1116836"/>
                <a:chOff x="6566388" y="3053813"/>
                <a:chExt cx="1518092" cy="1116836"/>
              </a:xfrm>
              <a:grpFill/>
            </p:grpSpPr>
            <p:sp>
              <p:nvSpPr>
                <p:cNvPr id="37" name="China">
                  <a:extLst>
                    <a:ext uri="{FF2B5EF4-FFF2-40B4-BE49-F238E27FC236}">
                      <a16:creationId xmlns:a16="http://schemas.microsoft.com/office/drawing/2014/main" id="{C56110EF-E3DA-C271-E96C-124B9FAA8B40}"/>
                    </a:ext>
                  </a:extLst>
                </p:cNvPr>
                <p:cNvSpPr>
                  <a:spLocks noGrp="1" noRot="1" noChangeAspect="1" noMove="1" noResize="1" noEditPoints="1" noAdjustHandles="1" noChangeArrowheads="1" noChangeShapeType="1"/>
                </p:cNvSpPr>
                <p:nvPr/>
              </p:nvSpPr>
              <p:spPr bwMode="gray">
                <a:xfrm>
                  <a:off x="6566388" y="3053813"/>
                  <a:ext cx="1518092" cy="1058479"/>
                </a:xfrm>
                <a:custGeom>
                  <a:avLst/>
                  <a:gdLst>
                    <a:gd name="T0" fmla="*/ 0 w 835"/>
                    <a:gd name="T1" fmla="*/ 250 h 526"/>
                    <a:gd name="T2" fmla="*/ 35 w 835"/>
                    <a:gd name="T3" fmla="*/ 226 h 526"/>
                    <a:gd name="T4" fmla="*/ 95 w 835"/>
                    <a:gd name="T5" fmla="*/ 177 h 526"/>
                    <a:gd name="T6" fmla="*/ 118 w 835"/>
                    <a:gd name="T7" fmla="*/ 145 h 526"/>
                    <a:gd name="T8" fmla="*/ 162 w 835"/>
                    <a:gd name="T9" fmla="*/ 114 h 526"/>
                    <a:gd name="T10" fmla="*/ 192 w 835"/>
                    <a:gd name="T11" fmla="*/ 81 h 526"/>
                    <a:gd name="T12" fmla="*/ 225 w 835"/>
                    <a:gd name="T13" fmla="*/ 106 h 526"/>
                    <a:gd name="T14" fmla="*/ 293 w 835"/>
                    <a:gd name="T15" fmla="*/ 160 h 526"/>
                    <a:gd name="T16" fmla="*/ 368 w 835"/>
                    <a:gd name="T17" fmla="*/ 185 h 526"/>
                    <a:gd name="T18" fmla="*/ 499 w 835"/>
                    <a:gd name="T19" fmla="*/ 187 h 526"/>
                    <a:gd name="T20" fmla="*/ 522 w 835"/>
                    <a:gd name="T21" fmla="*/ 151 h 526"/>
                    <a:gd name="T22" fmla="*/ 588 w 835"/>
                    <a:gd name="T23" fmla="*/ 123 h 526"/>
                    <a:gd name="T24" fmla="*/ 607 w 835"/>
                    <a:gd name="T25" fmla="*/ 98 h 526"/>
                    <a:gd name="T26" fmla="*/ 572 w 835"/>
                    <a:gd name="T27" fmla="*/ 78 h 526"/>
                    <a:gd name="T28" fmla="*/ 602 w 835"/>
                    <a:gd name="T29" fmla="*/ 72 h 526"/>
                    <a:gd name="T30" fmla="*/ 642 w 835"/>
                    <a:gd name="T31" fmla="*/ 28 h 526"/>
                    <a:gd name="T32" fmla="*/ 681 w 835"/>
                    <a:gd name="T33" fmla="*/ 0 h 526"/>
                    <a:gd name="T34" fmla="*/ 734 w 835"/>
                    <a:gd name="T35" fmla="*/ 69 h 526"/>
                    <a:gd name="T36" fmla="*/ 783 w 835"/>
                    <a:gd name="T37" fmla="*/ 104 h 526"/>
                    <a:gd name="T38" fmla="*/ 811 w 835"/>
                    <a:gd name="T39" fmla="*/ 147 h 526"/>
                    <a:gd name="T40" fmla="*/ 785 w 835"/>
                    <a:gd name="T41" fmla="*/ 177 h 526"/>
                    <a:gd name="T42" fmla="*/ 770 w 835"/>
                    <a:gd name="T43" fmla="*/ 185 h 526"/>
                    <a:gd name="T44" fmla="*/ 744 w 835"/>
                    <a:gd name="T45" fmla="*/ 210 h 526"/>
                    <a:gd name="T46" fmla="*/ 691 w 835"/>
                    <a:gd name="T47" fmla="*/ 232 h 526"/>
                    <a:gd name="T48" fmla="*/ 663 w 835"/>
                    <a:gd name="T49" fmla="*/ 226 h 526"/>
                    <a:gd name="T50" fmla="*/ 602 w 835"/>
                    <a:gd name="T51" fmla="*/ 247 h 526"/>
                    <a:gd name="T52" fmla="*/ 618 w 835"/>
                    <a:gd name="T53" fmla="*/ 276 h 526"/>
                    <a:gd name="T54" fmla="*/ 668 w 835"/>
                    <a:gd name="T55" fmla="*/ 274 h 526"/>
                    <a:gd name="T56" fmla="*/ 622 w 835"/>
                    <a:gd name="T57" fmla="*/ 312 h 526"/>
                    <a:gd name="T58" fmla="*/ 633 w 835"/>
                    <a:gd name="T59" fmla="*/ 355 h 526"/>
                    <a:gd name="T60" fmla="*/ 634 w 835"/>
                    <a:gd name="T61" fmla="*/ 382 h 526"/>
                    <a:gd name="T62" fmla="*/ 613 w 835"/>
                    <a:gd name="T63" fmla="*/ 463 h 526"/>
                    <a:gd name="T64" fmla="*/ 552 w 835"/>
                    <a:gd name="T65" fmla="*/ 493 h 526"/>
                    <a:gd name="T66" fmla="*/ 543 w 835"/>
                    <a:gd name="T67" fmla="*/ 489 h 526"/>
                    <a:gd name="T68" fmla="*/ 499 w 835"/>
                    <a:gd name="T69" fmla="*/ 510 h 526"/>
                    <a:gd name="T70" fmla="*/ 490 w 835"/>
                    <a:gd name="T71" fmla="*/ 506 h 526"/>
                    <a:gd name="T72" fmla="*/ 429 w 835"/>
                    <a:gd name="T73" fmla="*/ 484 h 526"/>
                    <a:gd name="T74" fmla="*/ 380 w 835"/>
                    <a:gd name="T75" fmla="*/ 494 h 526"/>
                    <a:gd name="T76" fmla="*/ 375 w 835"/>
                    <a:gd name="T77" fmla="*/ 506 h 526"/>
                    <a:gd name="T78" fmla="*/ 342 w 835"/>
                    <a:gd name="T79" fmla="*/ 471 h 526"/>
                    <a:gd name="T80" fmla="*/ 341 w 835"/>
                    <a:gd name="T81" fmla="*/ 434 h 526"/>
                    <a:gd name="T82" fmla="*/ 323 w 835"/>
                    <a:gd name="T83" fmla="*/ 412 h 526"/>
                    <a:gd name="T84" fmla="*/ 305 w 835"/>
                    <a:gd name="T85" fmla="*/ 392 h 526"/>
                    <a:gd name="T86" fmla="*/ 220 w 835"/>
                    <a:gd name="T87" fmla="*/ 410 h 526"/>
                    <a:gd name="T88" fmla="*/ 205 w 835"/>
                    <a:gd name="T89" fmla="*/ 414 h 526"/>
                    <a:gd name="T90" fmla="*/ 166 w 835"/>
                    <a:gd name="T91" fmla="*/ 416 h 526"/>
                    <a:gd name="T92" fmla="*/ 100 w 835"/>
                    <a:gd name="T93" fmla="*/ 381 h 526"/>
                    <a:gd name="T94" fmla="*/ 65 w 835"/>
                    <a:gd name="T95" fmla="*/ 347 h 526"/>
                    <a:gd name="T96" fmla="*/ 71 w 835"/>
                    <a:gd name="T97" fmla="*/ 325 h 526"/>
                    <a:gd name="T98" fmla="*/ 75 w 835"/>
                    <a:gd name="T99" fmla="*/ 295 h 526"/>
                    <a:gd name="T100" fmla="*/ 13 w 835"/>
                    <a:gd name="T101" fmla="*/ 278 h 526"/>
                    <a:gd name="T102" fmla="*/ 14 w 835"/>
                    <a:gd name="T103" fmla="*/ 256 h 526"/>
                    <a:gd name="T104" fmla="*/ 0 w 835"/>
                    <a:gd name="T105" fmla="*/ 250 h 5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35"/>
                    <a:gd name="T160" fmla="*/ 0 h 526"/>
                    <a:gd name="T161" fmla="*/ 835 w 835"/>
                    <a:gd name="T162" fmla="*/ 526 h 5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35" h="526">
                      <a:moveTo>
                        <a:pt x="0" y="250"/>
                      </a:moveTo>
                      <a:lnTo>
                        <a:pt x="0" y="250"/>
                      </a:lnTo>
                      <a:lnTo>
                        <a:pt x="5" y="230"/>
                      </a:lnTo>
                      <a:lnTo>
                        <a:pt x="35" y="226"/>
                      </a:lnTo>
                      <a:lnTo>
                        <a:pt x="88" y="198"/>
                      </a:lnTo>
                      <a:lnTo>
                        <a:pt x="95" y="177"/>
                      </a:lnTo>
                      <a:lnTo>
                        <a:pt x="85" y="152"/>
                      </a:lnTo>
                      <a:lnTo>
                        <a:pt x="118" y="145"/>
                      </a:lnTo>
                      <a:lnTo>
                        <a:pt x="127" y="112"/>
                      </a:lnTo>
                      <a:lnTo>
                        <a:pt x="162" y="114"/>
                      </a:lnTo>
                      <a:lnTo>
                        <a:pt x="166" y="92"/>
                      </a:lnTo>
                      <a:lnTo>
                        <a:pt x="192" y="81"/>
                      </a:lnTo>
                      <a:lnTo>
                        <a:pt x="206" y="100"/>
                      </a:lnTo>
                      <a:lnTo>
                        <a:pt x="225" y="106"/>
                      </a:lnTo>
                      <a:lnTo>
                        <a:pt x="233" y="145"/>
                      </a:lnTo>
                      <a:lnTo>
                        <a:pt x="293" y="160"/>
                      </a:lnTo>
                      <a:lnTo>
                        <a:pt x="319" y="187"/>
                      </a:lnTo>
                      <a:lnTo>
                        <a:pt x="368" y="185"/>
                      </a:lnTo>
                      <a:lnTo>
                        <a:pt x="424" y="206"/>
                      </a:lnTo>
                      <a:lnTo>
                        <a:pt x="499" y="187"/>
                      </a:lnTo>
                      <a:lnTo>
                        <a:pt x="522" y="172"/>
                      </a:lnTo>
                      <a:lnTo>
                        <a:pt x="522" y="151"/>
                      </a:lnTo>
                      <a:lnTo>
                        <a:pt x="543" y="153"/>
                      </a:lnTo>
                      <a:lnTo>
                        <a:pt x="588" y="123"/>
                      </a:lnTo>
                      <a:lnTo>
                        <a:pt x="625" y="121"/>
                      </a:lnTo>
                      <a:lnTo>
                        <a:pt x="607" y="98"/>
                      </a:lnTo>
                      <a:lnTo>
                        <a:pt x="572" y="104"/>
                      </a:lnTo>
                      <a:lnTo>
                        <a:pt x="572" y="78"/>
                      </a:lnTo>
                      <a:lnTo>
                        <a:pt x="581" y="64"/>
                      </a:lnTo>
                      <a:lnTo>
                        <a:pt x="602" y="72"/>
                      </a:lnTo>
                      <a:lnTo>
                        <a:pt x="621" y="63"/>
                      </a:lnTo>
                      <a:lnTo>
                        <a:pt x="642" y="28"/>
                      </a:lnTo>
                      <a:lnTo>
                        <a:pt x="632" y="16"/>
                      </a:lnTo>
                      <a:lnTo>
                        <a:pt x="681" y="0"/>
                      </a:lnTo>
                      <a:lnTo>
                        <a:pt x="709" y="11"/>
                      </a:lnTo>
                      <a:lnTo>
                        <a:pt x="734" y="69"/>
                      </a:lnTo>
                      <a:lnTo>
                        <a:pt x="776" y="82"/>
                      </a:lnTo>
                      <a:lnTo>
                        <a:pt x="783" y="104"/>
                      </a:lnTo>
                      <a:lnTo>
                        <a:pt x="834" y="90"/>
                      </a:lnTo>
                      <a:lnTo>
                        <a:pt x="811" y="147"/>
                      </a:lnTo>
                      <a:lnTo>
                        <a:pt x="781" y="155"/>
                      </a:lnTo>
                      <a:lnTo>
                        <a:pt x="785" y="177"/>
                      </a:lnTo>
                      <a:lnTo>
                        <a:pt x="776" y="190"/>
                      </a:lnTo>
                      <a:lnTo>
                        <a:pt x="770" y="185"/>
                      </a:lnTo>
                      <a:lnTo>
                        <a:pt x="744" y="201"/>
                      </a:lnTo>
                      <a:lnTo>
                        <a:pt x="744" y="210"/>
                      </a:lnTo>
                      <a:lnTo>
                        <a:pt x="726" y="207"/>
                      </a:lnTo>
                      <a:lnTo>
                        <a:pt x="691" y="232"/>
                      </a:lnTo>
                      <a:lnTo>
                        <a:pt x="651" y="253"/>
                      </a:lnTo>
                      <a:lnTo>
                        <a:pt x="663" y="226"/>
                      </a:lnTo>
                      <a:lnTo>
                        <a:pt x="657" y="216"/>
                      </a:lnTo>
                      <a:lnTo>
                        <a:pt x="602" y="247"/>
                      </a:lnTo>
                      <a:lnTo>
                        <a:pt x="600" y="255"/>
                      </a:lnTo>
                      <a:lnTo>
                        <a:pt x="618" y="276"/>
                      </a:lnTo>
                      <a:lnTo>
                        <a:pt x="643" y="267"/>
                      </a:lnTo>
                      <a:lnTo>
                        <a:pt x="668" y="274"/>
                      </a:lnTo>
                      <a:lnTo>
                        <a:pt x="634" y="290"/>
                      </a:lnTo>
                      <a:lnTo>
                        <a:pt x="622" y="312"/>
                      </a:lnTo>
                      <a:lnTo>
                        <a:pt x="658" y="360"/>
                      </a:lnTo>
                      <a:lnTo>
                        <a:pt x="633" y="355"/>
                      </a:lnTo>
                      <a:lnTo>
                        <a:pt x="658" y="371"/>
                      </a:lnTo>
                      <a:lnTo>
                        <a:pt x="634" y="382"/>
                      </a:lnTo>
                      <a:lnTo>
                        <a:pt x="659" y="386"/>
                      </a:lnTo>
                      <a:lnTo>
                        <a:pt x="613" y="463"/>
                      </a:lnTo>
                      <a:lnTo>
                        <a:pt x="582" y="485"/>
                      </a:lnTo>
                      <a:lnTo>
                        <a:pt x="552" y="493"/>
                      </a:lnTo>
                      <a:lnTo>
                        <a:pt x="550" y="493"/>
                      </a:lnTo>
                      <a:lnTo>
                        <a:pt x="543" y="489"/>
                      </a:lnTo>
                      <a:lnTo>
                        <a:pt x="535" y="502"/>
                      </a:lnTo>
                      <a:lnTo>
                        <a:pt x="499" y="510"/>
                      </a:lnTo>
                      <a:lnTo>
                        <a:pt x="496" y="525"/>
                      </a:lnTo>
                      <a:lnTo>
                        <a:pt x="490" y="506"/>
                      </a:lnTo>
                      <a:lnTo>
                        <a:pt x="466" y="507"/>
                      </a:lnTo>
                      <a:lnTo>
                        <a:pt x="429" y="484"/>
                      </a:lnTo>
                      <a:lnTo>
                        <a:pt x="389" y="494"/>
                      </a:lnTo>
                      <a:lnTo>
                        <a:pt x="380" y="494"/>
                      </a:lnTo>
                      <a:lnTo>
                        <a:pt x="381" y="510"/>
                      </a:lnTo>
                      <a:lnTo>
                        <a:pt x="375" y="506"/>
                      </a:lnTo>
                      <a:lnTo>
                        <a:pt x="350" y="498"/>
                      </a:lnTo>
                      <a:lnTo>
                        <a:pt x="342" y="471"/>
                      </a:lnTo>
                      <a:lnTo>
                        <a:pt x="326" y="474"/>
                      </a:lnTo>
                      <a:lnTo>
                        <a:pt x="341" y="434"/>
                      </a:lnTo>
                      <a:lnTo>
                        <a:pt x="340" y="421"/>
                      </a:lnTo>
                      <a:lnTo>
                        <a:pt x="323" y="412"/>
                      </a:lnTo>
                      <a:lnTo>
                        <a:pt x="309" y="407"/>
                      </a:lnTo>
                      <a:lnTo>
                        <a:pt x="305" y="392"/>
                      </a:lnTo>
                      <a:lnTo>
                        <a:pt x="246" y="417"/>
                      </a:lnTo>
                      <a:lnTo>
                        <a:pt x="220" y="410"/>
                      </a:lnTo>
                      <a:lnTo>
                        <a:pt x="207" y="424"/>
                      </a:lnTo>
                      <a:lnTo>
                        <a:pt x="205" y="414"/>
                      </a:lnTo>
                      <a:lnTo>
                        <a:pt x="196" y="416"/>
                      </a:lnTo>
                      <a:lnTo>
                        <a:pt x="166" y="416"/>
                      </a:lnTo>
                      <a:lnTo>
                        <a:pt x="143" y="395"/>
                      </a:lnTo>
                      <a:lnTo>
                        <a:pt x="100" y="381"/>
                      </a:lnTo>
                      <a:lnTo>
                        <a:pt x="72" y="371"/>
                      </a:lnTo>
                      <a:lnTo>
                        <a:pt x="65" y="347"/>
                      </a:lnTo>
                      <a:lnTo>
                        <a:pt x="80" y="344"/>
                      </a:lnTo>
                      <a:lnTo>
                        <a:pt x="71" y="325"/>
                      </a:lnTo>
                      <a:lnTo>
                        <a:pt x="90" y="302"/>
                      </a:lnTo>
                      <a:lnTo>
                        <a:pt x="75" y="295"/>
                      </a:lnTo>
                      <a:lnTo>
                        <a:pt x="54" y="303"/>
                      </a:lnTo>
                      <a:lnTo>
                        <a:pt x="13" y="278"/>
                      </a:lnTo>
                      <a:lnTo>
                        <a:pt x="14" y="274"/>
                      </a:lnTo>
                      <a:lnTo>
                        <a:pt x="14" y="256"/>
                      </a:lnTo>
                      <a:lnTo>
                        <a:pt x="0" y="250"/>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8" name="China">
                  <a:extLst>
                    <a:ext uri="{FF2B5EF4-FFF2-40B4-BE49-F238E27FC236}">
                      <a16:creationId xmlns:a16="http://schemas.microsoft.com/office/drawing/2014/main" id="{38D2B1AB-2A45-55B8-B197-A10C0D0FC739}"/>
                    </a:ext>
                  </a:extLst>
                </p:cNvPr>
                <p:cNvSpPr>
                  <a:spLocks noGrp="1" noRot="1" noChangeAspect="1" noMove="1" noResize="1" noEditPoints="1" noAdjustHandles="1" noChangeArrowheads="1" noChangeShapeType="1"/>
                </p:cNvSpPr>
                <p:nvPr/>
              </p:nvSpPr>
              <p:spPr bwMode="gray">
                <a:xfrm>
                  <a:off x="7435428" y="4118328"/>
                  <a:ext cx="56360" cy="52321"/>
                </a:xfrm>
                <a:custGeom>
                  <a:avLst/>
                  <a:gdLst>
                    <a:gd name="T0" fmla="*/ 0 w 31"/>
                    <a:gd name="T1" fmla="*/ 19 h 26"/>
                    <a:gd name="T2" fmla="*/ 0 w 31"/>
                    <a:gd name="T3" fmla="*/ 19 h 26"/>
                    <a:gd name="T4" fmla="*/ 9 w 31"/>
                    <a:gd name="T5" fmla="*/ 0 h 26"/>
                    <a:gd name="T6" fmla="*/ 30 w 31"/>
                    <a:gd name="T7" fmla="*/ 4 h 26"/>
                    <a:gd name="T8" fmla="*/ 13 w 31"/>
                    <a:gd name="T9" fmla="*/ 25 h 26"/>
                    <a:gd name="T10" fmla="*/ 0 w 31"/>
                    <a:gd name="T11" fmla="*/ 19 h 26"/>
                    <a:gd name="T12" fmla="*/ 0 w 31"/>
                    <a:gd name="T13" fmla="*/ 19 h 26"/>
                    <a:gd name="T14" fmla="*/ 0 60000 65536"/>
                    <a:gd name="T15" fmla="*/ 0 60000 65536"/>
                    <a:gd name="T16" fmla="*/ 0 60000 65536"/>
                    <a:gd name="T17" fmla="*/ 0 60000 65536"/>
                    <a:gd name="T18" fmla="*/ 0 60000 65536"/>
                    <a:gd name="T19" fmla="*/ 0 60000 65536"/>
                    <a:gd name="T20" fmla="*/ 0 60000 65536"/>
                    <a:gd name="T21" fmla="*/ 0 w 31"/>
                    <a:gd name="T22" fmla="*/ 0 h 26"/>
                    <a:gd name="T23" fmla="*/ 31 w 3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6">
                      <a:moveTo>
                        <a:pt x="0" y="19"/>
                      </a:moveTo>
                      <a:lnTo>
                        <a:pt x="0" y="19"/>
                      </a:lnTo>
                      <a:lnTo>
                        <a:pt x="9" y="0"/>
                      </a:lnTo>
                      <a:lnTo>
                        <a:pt x="30" y="4"/>
                      </a:lnTo>
                      <a:lnTo>
                        <a:pt x="13" y="25"/>
                      </a:lnTo>
                      <a:lnTo>
                        <a:pt x="0" y="19"/>
                      </a:lnTo>
                    </a:path>
                  </a:pathLst>
                </a:custGeom>
                <a:grpFill/>
                <a:ln w="12700" algn="ctr">
                  <a:solidFill>
                    <a:schemeClr val="bg1">
                      <a:alpha val="45000"/>
                    </a:schemeClr>
                  </a:solidFill>
                  <a:round/>
                  <a:headEnd/>
                  <a:tailEnd/>
                </a:ln>
                <a:effectLst/>
              </p:spPr>
              <p:txBody>
                <a:bodyPr wrap="none" lIns="0" tIns="0" rIns="0" bIns="0" anchor="ctr" anchorCtr="1"/>
                <a:lstStyle/>
                <a:p>
                  <a:pPr marL="0" marR="0" lvl="0" indent="0" algn="ctr" defTabSz="927283" rtl="0" eaLnBrk="1" fontAlgn="auto" latinLnBrk="0" hangingPunct="1">
                    <a:lnSpc>
                      <a:spcPct val="100000"/>
                    </a:lnSpc>
                    <a:spcBef>
                      <a:spcPct val="50000"/>
                    </a:spcBef>
                    <a:spcAft>
                      <a:spcPts val="0"/>
                    </a:spcAft>
                    <a:buClrTx/>
                    <a:buSzTx/>
                    <a:buFontTx/>
                    <a:buNone/>
                    <a:tabLst/>
                    <a:defRPr/>
                  </a:pPr>
                  <a:endParaRPr kumimoji="0" lang="en-US" sz="700" b="0" i="0" u="sng"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grpSp>
      <p:graphicFrame>
        <p:nvGraphicFramePr>
          <p:cNvPr id="320" name="Diagram 319">
            <a:extLst>
              <a:ext uri="{FF2B5EF4-FFF2-40B4-BE49-F238E27FC236}">
                <a16:creationId xmlns:a16="http://schemas.microsoft.com/office/drawing/2014/main" id="{AB8CC78B-BFD8-17B6-3C9D-9C8183ADB45E}"/>
              </a:ext>
            </a:extLst>
          </p:cNvPr>
          <p:cNvGraphicFramePr/>
          <p:nvPr>
            <p:extLst>
              <p:ext uri="{D42A27DB-BD31-4B8C-83A1-F6EECF244321}">
                <p14:modId xmlns:p14="http://schemas.microsoft.com/office/powerpoint/2010/main" val="2206047402"/>
              </p:ext>
            </p:extLst>
          </p:nvPr>
        </p:nvGraphicFramePr>
        <p:xfrm>
          <a:off x="125008" y="889254"/>
          <a:ext cx="3313009" cy="541866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 name="Slide Number Placeholder 1">
            <a:extLst>
              <a:ext uri="{FF2B5EF4-FFF2-40B4-BE49-F238E27FC236}">
                <a16:creationId xmlns:a16="http://schemas.microsoft.com/office/drawing/2014/main" id="{48EDCAEB-180E-3D98-27E3-2200B476DAC5}"/>
              </a:ext>
            </a:extLst>
          </p:cNvPr>
          <p:cNvSpPr>
            <a:spLocks noGrp="1"/>
          </p:cNvSpPr>
          <p:nvPr>
            <p:ph type="sldNum" sz="quarter" idx="4294967295"/>
            <p:custDataLst>
              <p:tags r:id="rId3"/>
            </p:custDataLst>
          </p:nvPr>
        </p:nvSpPr>
        <p:spPr>
          <a:xfrm>
            <a:off x="11694996" y="6658139"/>
            <a:ext cx="366712" cy="15398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86A102-957E-47D3-A22D-E8508A8052D6}" type="slidenum">
              <a:rPr kumimoji="0" lang="en-GB" sz="1000" b="0" i="0" u="none" strike="noStrike" kern="1200" cap="none" spc="0" normalizeH="0" baseline="0" noProof="0" smtClean="0">
                <a:ln>
                  <a:noFill/>
                </a:ln>
                <a:solidFill>
                  <a:srgbClr val="63666A"/>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000" b="0" i="0" u="none" strike="noStrike" kern="1200" cap="none" spc="0" normalizeH="0" baseline="0" noProof="0" dirty="0">
              <a:ln>
                <a:noFill/>
              </a:ln>
              <a:solidFill>
                <a:srgbClr val="63666A"/>
              </a:solidFill>
              <a:effectLst/>
              <a:uLnTx/>
              <a:uFillTx/>
              <a:latin typeface="Arial" panose="020B0604020202020204"/>
              <a:ea typeface="+mn-ea"/>
              <a:cs typeface="+mn-cs"/>
            </a:endParaRPr>
          </a:p>
        </p:txBody>
      </p:sp>
      <p:graphicFrame>
        <p:nvGraphicFramePr>
          <p:cNvPr id="290" name="Table 289">
            <a:extLst>
              <a:ext uri="{FF2B5EF4-FFF2-40B4-BE49-F238E27FC236}">
                <a16:creationId xmlns:a16="http://schemas.microsoft.com/office/drawing/2014/main" id="{8D07B3DA-2ED2-6FB3-6C6D-EFA246D01076}"/>
              </a:ext>
            </a:extLst>
          </p:cNvPr>
          <p:cNvGraphicFramePr>
            <a:graphicFrameLocks noGrp="1"/>
          </p:cNvGraphicFramePr>
          <p:nvPr>
            <p:custDataLst>
              <p:tags r:id="rId4"/>
            </p:custDataLst>
          </p:nvPr>
        </p:nvGraphicFramePr>
        <p:xfrm>
          <a:off x="7363681" y="4295420"/>
          <a:ext cx="4246027" cy="707880"/>
        </p:xfrm>
        <a:graphic>
          <a:graphicData uri="http://schemas.openxmlformats.org/drawingml/2006/table">
            <a:tbl>
              <a:tblPr firstRow="1">
                <a:tableStyleId>{C407572E-B3BF-44EF-AB0D-F005A362588C}</a:tableStyleId>
              </a:tblPr>
              <a:tblGrid>
                <a:gridCol w="1555039">
                  <a:extLst>
                    <a:ext uri="{9D8B030D-6E8A-4147-A177-3AD203B41FA5}">
                      <a16:colId xmlns:a16="http://schemas.microsoft.com/office/drawing/2014/main" val="2427404326"/>
                    </a:ext>
                  </a:extLst>
                </a:gridCol>
                <a:gridCol w="888952">
                  <a:extLst>
                    <a:ext uri="{9D8B030D-6E8A-4147-A177-3AD203B41FA5}">
                      <a16:colId xmlns:a16="http://schemas.microsoft.com/office/drawing/2014/main" val="1161767923"/>
                    </a:ext>
                  </a:extLst>
                </a:gridCol>
                <a:gridCol w="940939">
                  <a:extLst>
                    <a:ext uri="{9D8B030D-6E8A-4147-A177-3AD203B41FA5}">
                      <a16:colId xmlns:a16="http://schemas.microsoft.com/office/drawing/2014/main" val="958156310"/>
                    </a:ext>
                  </a:extLst>
                </a:gridCol>
                <a:gridCol w="861097">
                  <a:extLst>
                    <a:ext uri="{9D8B030D-6E8A-4147-A177-3AD203B41FA5}">
                      <a16:colId xmlns:a16="http://schemas.microsoft.com/office/drawing/2014/main" val="1425223184"/>
                    </a:ext>
                  </a:extLst>
                </a:gridCol>
              </a:tblGrid>
              <a:tr h="228600">
                <a:tc gridSpan="4">
                  <a:txBody>
                    <a:bodyPr/>
                    <a:lstStyle/>
                    <a:p>
                      <a:pPr algn="l" rtl="0" fontAlgn="ctr">
                        <a:lnSpc>
                          <a:spcPct val="100000"/>
                        </a:lnSpc>
                        <a:spcBef>
                          <a:spcPts val="1000"/>
                        </a:spcBef>
                        <a:spcAft>
                          <a:spcPts val="0"/>
                        </a:spcAft>
                      </a:pPr>
                      <a:r>
                        <a:rPr lang="en-US" sz="1050" b="1" i="0" u="none" strike="noStrike" cap="none" dirty="0">
                          <a:solidFill>
                            <a:srgbClr val="FFFFFF"/>
                          </a:solidFill>
                          <a:effectLst/>
                        </a:rPr>
                        <a:t>Pricing</a:t>
                      </a:r>
                      <a:endParaRPr lang="en-US" sz="1050" b="1" i="0" u="none" strike="noStrike" cap="none" dirty="0">
                        <a:solidFill>
                          <a:srgbClr val="FFFFFF"/>
                        </a:solidFill>
                        <a:effectLst/>
                        <a:latin typeface="Arial" panose="020B0604020202020204" pitchFamily="34" charset="0"/>
                      </a:endParaRPr>
                    </a:p>
                  </a:txBody>
                  <a:tcPr marL="54000" marR="54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45356349"/>
                  </a:ext>
                </a:extLst>
              </a:tr>
              <a:tr h="228600">
                <a:tc>
                  <a:txBody>
                    <a:bodyPr/>
                    <a:lstStyle/>
                    <a:p>
                      <a:pPr algn="l" rtl="0" fontAlgn="ctr">
                        <a:lnSpc>
                          <a:spcPct val="100000"/>
                        </a:lnSpc>
                        <a:spcBef>
                          <a:spcPts val="1000"/>
                        </a:spcBef>
                        <a:spcAft>
                          <a:spcPts val="0"/>
                        </a:spcAft>
                      </a:pPr>
                      <a:endParaRPr lang="en-US" sz="1100" b="0" i="0" u="none" strike="noStrike" cap="none" dirty="0">
                        <a:solidFill>
                          <a:schemeClr val="tx1"/>
                        </a:solidFill>
                        <a:effectLst/>
                        <a:latin typeface="Arial" panose="020B0604020202020204" pitchFamily="34" charset="0"/>
                      </a:endParaRPr>
                    </a:p>
                  </a:txBody>
                  <a:tcPr marL="54000" marR="54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l" rtl="0" fontAlgn="ctr">
                        <a:lnSpc>
                          <a:spcPct val="100000"/>
                        </a:lnSpc>
                        <a:spcBef>
                          <a:spcPts val="1000"/>
                        </a:spcBef>
                        <a:spcAft>
                          <a:spcPts val="0"/>
                        </a:spcAft>
                      </a:pPr>
                      <a:r>
                        <a:rPr lang="en-US" sz="1100" b="0" i="0" u="none" strike="noStrike" cap="none" dirty="0">
                          <a:solidFill>
                            <a:schemeClr val="tx1"/>
                          </a:solidFill>
                          <a:effectLst/>
                        </a:rPr>
                        <a:t>Monthly</a:t>
                      </a:r>
                      <a:endParaRPr lang="en-US" sz="1100" b="0" i="0" u="none" strike="noStrike" cap="none" dirty="0">
                        <a:solidFill>
                          <a:schemeClr val="tx1"/>
                        </a:solidFill>
                        <a:effectLst/>
                        <a:latin typeface="Arial" panose="020B0604020202020204" pitchFamily="34" charset="0"/>
                      </a:endParaRPr>
                    </a:p>
                  </a:txBody>
                  <a:tcPr marL="54000" marR="54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lnSpc>
                          <a:spcPct val="100000"/>
                        </a:lnSpc>
                        <a:spcBef>
                          <a:spcPts val="1000"/>
                        </a:spcBef>
                        <a:spcAft>
                          <a:spcPts val="0"/>
                        </a:spcAft>
                      </a:pPr>
                      <a:r>
                        <a:rPr lang="en-US" sz="1100" b="0" i="0" u="none" strike="noStrike" cap="none" dirty="0">
                          <a:solidFill>
                            <a:schemeClr val="tx1"/>
                          </a:solidFill>
                          <a:effectLst/>
                        </a:rPr>
                        <a:t>One-Time</a:t>
                      </a:r>
                      <a:endParaRPr lang="en-US" sz="1100" b="0" i="0" u="none" strike="noStrike" cap="none" dirty="0">
                        <a:solidFill>
                          <a:schemeClr val="tx1"/>
                        </a:solidFill>
                        <a:effectLst/>
                        <a:latin typeface="Arial" panose="020B0604020202020204" pitchFamily="34" charset="0"/>
                      </a:endParaRPr>
                    </a:p>
                  </a:txBody>
                  <a:tcPr marL="54000" marR="54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lnSpc>
                          <a:spcPct val="100000"/>
                        </a:lnSpc>
                        <a:spcBef>
                          <a:spcPts val="1000"/>
                        </a:spcBef>
                        <a:spcAft>
                          <a:spcPts val="0"/>
                        </a:spcAft>
                      </a:pPr>
                      <a:r>
                        <a:rPr lang="en-US" sz="1100" b="0" i="0" u="none" strike="noStrike" cap="none" dirty="0">
                          <a:solidFill>
                            <a:schemeClr val="tx1"/>
                          </a:solidFill>
                          <a:effectLst/>
                        </a:rPr>
                        <a:t>Annual</a:t>
                      </a:r>
                      <a:endParaRPr lang="en-US" sz="1100" b="0" i="0" u="none" strike="noStrike" cap="none" dirty="0">
                        <a:solidFill>
                          <a:schemeClr val="tx1"/>
                        </a:solidFill>
                        <a:effectLst/>
                        <a:latin typeface="Arial" panose="020B0604020202020204" pitchFamily="34" charset="0"/>
                      </a:endParaRPr>
                    </a:p>
                  </a:txBody>
                  <a:tcPr marL="54000" marR="54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9537177"/>
                  </a:ext>
                </a:extLst>
              </a:tr>
              <a:tr h="228600">
                <a:tc>
                  <a:txBody>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100" b="0" i="0" u="none" strike="noStrike" kern="1200" cap="none" spc="0" normalizeH="0" baseline="0" dirty="0">
                          <a:ln>
                            <a:noFill/>
                          </a:ln>
                          <a:solidFill>
                            <a:schemeClr val="tx1"/>
                          </a:solidFill>
                          <a:effectLst/>
                          <a:uLnTx/>
                          <a:uFillTx/>
                        </a:rPr>
                        <a:t>Year 1 </a:t>
                      </a:r>
                      <a:endParaRPr kumimoji="0" lang="en-US" sz="1100" b="0" i="0" u="none" strike="noStrike" kern="1200" cap="none" spc="0" normalizeH="0" baseline="0" dirty="0">
                        <a:ln>
                          <a:noFill/>
                        </a:ln>
                        <a:solidFill>
                          <a:schemeClr val="tx1"/>
                        </a:solidFill>
                        <a:effectLst/>
                        <a:uLnTx/>
                        <a:uFillTx/>
                        <a:latin typeface="Calibri" panose="020F0502020204030204" pitchFamily="34" charset="0"/>
                        <a:ea typeface="+mn-ea"/>
                        <a:cs typeface="+mn-cs"/>
                      </a:endParaRPr>
                    </a:p>
                  </a:txBody>
                  <a:tcPr marL="54000" marR="54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100" b="0" i="0" u="none" strike="noStrike" kern="1200" cap="none" spc="0" normalizeH="0" baseline="0" dirty="0">
                          <a:ln>
                            <a:noFill/>
                          </a:ln>
                          <a:solidFill>
                            <a:schemeClr val="tx1"/>
                          </a:solidFill>
                          <a:effectLst/>
                          <a:uLnTx/>
                          <a:uFillTx/>
                        </a:rPr>
                        <a:t>$-</a:t>
                      </a:r>
                      <a:endParaRPr kumimoji="0" lang="en-US" sz="1100" b="0" i="0" u="none" strike="noStrike" kern="1200" cap="none" spc="0" normalizeH="0" baseline="0" dirty="0">
                        <a:ln>
                          <a:noFill/>
                        </a:ln>
                        <a:solidFill>
                          <a:schemeClr val="tx1"/>
                        </a:solidFill>
                        <a:effectLst/>
                        <a:uLnTx/>
                        <a:uFillTx/>
                        <a:latin typeface="Calibri" panose="020F0502020204030204" pitchFamily="34" charset="0"/>
                        <a:ea typeface="+mn-ea"/>
                        <a:cs typeface="+mn-cs"/>
                      </a:endParaRPr>
                    </a:p>
                  </a:txBody>
                  <a:tcPr marL="54000" marR="54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100" b="0" i="0" u="none" strike="noStrike" kern="1200" cap="none" spc="0" normalizeH="0" baseline="0" dirty="0">
                          <a:ln>
                            <a:noFill/>
                          </a:ln>
                          <a:solidFill>
                            <a:schemeClr val="tx1"/>
                          </a:solidFill>
                          <a:effectLst/>
                          <a:uLnTx/>
                          <a:uFillTx/>
                        </a:rPr>
                        <a:t> $-</a:t>
                      </a:r>
                      <a:endParaRPr kumimoji="0" lang="en-US" sz="1100" b="0" i="0" u="none" strike="noStrike" kern="1200" cap="none" spc="0" normalizeH="0" baseline="0" dirty="0">
                        <a:ln>
                          <a:noFill/>
                        </a:ln>
                        <a:solidFill>
                          <a:schemeClr val="tx1"/>
                        </a:solidFill>
                        <a:effectLst/>
                        <a:uLnTx/>
                        <a:uFillTx/>
                        <a:latin typeface="Calibri" panose="020F0502020204030204" pitchFamily="34" charset="0"/>
                        <a:ea typeface="+mn-ea"/>
                        <a:cs typeface="+mn-cs"/>
                      </a:endParaRPr>
                    </a:p>
                  </a:txBody>
                  <a:tcPr marL="54000" marR="54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100" b="0" i="0" u="none" strike="noStrike" kern="1200" cap="none" spc="0" normalizeH="0" baseline="0" dirty="0">
                          <a:ln>
                            <a:noFill/>
                          </a:ln>
                          <a:solidFill>
                            <a:schemeClr val="tx1"/>
                          </a:solidFill>
                          <a:effectLst/>
                          <a:uLnTx/>
                          <a:uFillTx/>
                        </a:rPr>
                        <a:t>$-</a:t>
                      </a:r>
                      <a:endParaRPr kumimoji="0" lang="en-US" sz="1100" b="0" i="0" u="none" strike="noStrike" kern="1200" cap="none" spc="0" normalizeH="0" baseline="0" dirty="0">
                        <a:ln>
                          <a:noFill/>
                        </a:ln>
                        <a:solidFill>
                          <a:schemeClr val="tx1"/>
                        </a:solidFill>
                        <a:effectLst/>
                        <a:uLnTx/>
                        <a:uFillTx/>
                        <a:latin typeface="Calibri" panose="020F0502020204030204" pitchFamily="34" charset="0"/>
                        <a:ea typeface="+mn-ea"/>
                        <a:cs typeface="+mn-cs"/>
                      </a:endParaRPr>
                    </a:p>
                  </a:txBody>
                  <a:tcPr marL="54000" marR="54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82086798"/>
                  </a:ext>
                </a:extLst>
              </a:tr>
            </a:tbl>
          </a:graphicData>
        </a:graphic>
      </p:graphicFrame>
      <p:cxnSp>
        <p:nvCxnSpPr>
          <p:cNvPr id="291" name="Straight Connector 290">
            <a:extLst>
              <a:ext uri="{FF2B5EF4-FFF2-40B4-BE49-F238E27FC236}">
                <a16:creationId xmlns:a16="http://schemas.microsoft.com/office/drawing/2014/main" id="{DE76FB77-BC4A-4456-6810-B7C3400577E3}"/>
              </a:ext>
            </a:extLst>
          </p:cNvPr>
          <p:cNvCxnSpPr>
            <a:cxnSpLocks/>
          </p:cNvCxnSpPr>
          <p:nvPr/>
        </p:nvCxnSpPr>
        <p:spPr>
          <a:xfrm>
            <a:off x="7190495" y="3957367"/>
            <a:ext cx="0" cy="1498618"/>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5220C0AF-EF91-423D-3882-933722BC2CB1}"/>
              </a:ext>
            </a:extLst>
          </p:cNvPr>
          <p:cNvSpPr txBox="1"/>
          <p:nvPr/>
        </p:nvSpPr>
        <p:spPr>
          <a:xfrm>
            <a:off x="7282300" y="5116153"/>
            <a:ext cx="442142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This proposal is subject to our client acceptance process and is in line with developing a formal contracting vehicle should RSM be awarded the work.</a:t>
            </a:r>
          </a:p>
        </p:txBody>
      </p:sp>
      <p:cxnSp>
        <p:nvCxnSpPr>
          <p:cNvPr id="299" name="Straight Connector 298">
            <a:extLst>
              <a:ext uri="{FF2B5EF4-FFF2-40B4-BE49-F238E27FC236}">
                <a16:creationId xmlns:a16="http://schemas.microsoft.com/office/drawing/2014/main" id="{4945AF34-3138-C5ED-1069-E8897E8C212F}"/>
              </a:ext>
            </a:extLst>
          </p:cNvPr>
          <p:cNvCxnSpPr>
            <a:cxnSpLocks/>
          </p:cNvCxnSpPr>
          <p:nvPr/>
        </p:nvCxnSpPr>
        <p:spPr>
          <a:xfrm flipH="1">
            <a:off x="7214839" y="5455985"/>
            <a:ext cx="4513948"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04" name="TextBox 303">
            <a:extLst>
              <a:ext uri="{FF2B5EF4-FFF2-40B4-BE49-F238E27FC236}">
                <a16:creationId xmlns:a16="http://schemas.microsoft.com/office/drawing/2014/main" id="{25C0A966-D116-8884-FD0D-81EB825D0530}"/>
              </a:ext>
            </a:extLst>
          </p:cNvPr>
          <p:cNvSpPr txBox="1"/>
          <p:nvPr/>
        </p:nvSpPr>
        <p:spPr>
          <a:xfrm>
            <a:off x="438469" y="487206"/>
            <a:ext cx="1173412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9CDE"/>
                </a:solidFill>
                <a:effectLst/>
                <a:uLnTx/>
                <a:uFillTx/>
                <a:latin typeface="Arial" panose="020B0604020202020204"/>
                <a:ea typeface="+mn-ea"/>
                <a:cs typeface="+mn-cs"/>
              </a:rPr>
              <a:t>RSM Defense: Extended Detection &amp; Response</a:t>
            </a:r>
          </a:p>
        </p:txBody>
      </p:sp>
      <p:grpSp>
        <p:nvGrpSpPr>
          <p:cNvPr id="317" name="Group 316">
            <a:extLst>
              <a:ext uri="{FF2B5EF4-FFF2-40B4-BE49-F238E27FC236}">
                <a16:creationId xmlns:a16="http://schemas.microsoft.com/office/drawing/2014/main" id="{63771188-665D-C379-3FFC-04A45FE1F007}"/>
              </a:ext>
            </a:extLst>
          </p:cNvPr>
          <p:cNvGrpSpPr/>
          <p:nvPr/>
        </p:nvGrpSpPr>
        <p:grpSpPr>
          <a:xfrm>
            <a:off x="3851845" y="3915698"/>
            <a:ext cx="2414107" cy="1528866"/>
            <a:chOff x="355326" y="4674616"/>
            <a:chExt cx="2414107" cy="1528866"/>
          </a:xfrm>
        </p:grpSpPr>
        <p:sp>
          <p:nvSpPr>
            <p:cNvPr id="293" name="Rectangle 292">
              <a:extLst>
                <a:ext uri="{FF2B5EF4-FFF2-40B4-BE49-F238E27FC236}">
                  <a16:creationId xmlns:a16="http://schemas.microsoft.com/office/drawing/2014/main" id="{14347C68-3798-5900-62EA-82458BA5BD27}"/>
                </a:ext>
              </a:extLst>
            </p:cNvPr>
            <p:cNvSpPr/>
            <p:nvPr/>
          </p:nvSpPr>
          <p:spPr>
            <a:xfrm>
              <a:off x="355327" y="5037834"/>
              <a:ext cx="2376584" cy="1165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200"/>
                </a:spcBef>
                <a:spcAft>
                  <a:spcPts val="200"/>
                </a:spcAft>
                <a:buClr>
                  <a:srgbClr val="009CDE"/>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CCCFCF"/>
                  </a:solidFill>
                  <a:effectLst/>
                  <a:uLnTx/>
                  <a:uFillTx/>
                  <a:latin typeface="Calibri" panose="020F0502020204030204" pitchFamily="34" charset="0"/>
                  <a:ea typeface="+mn-ea"/>
                  <a:cs typeface="+mn-cs"/>
                </a:rPr>
                <a:t>Tenable.IO / Nessus</a:t>
              </a:r>
            </a:p>
            <a:p>
              <a:pPr marL="171450" marR="0" lvl="0" indent="-171450" algn="l" defTabSz="914400" rtl="0" eaLnBrk="1" fontAlgn="auto" latinLnBrk="0" hangingPunct="1">
                <a:lnSpc>
                  <a:spcPct val="100000"/>
                </a:lnSpc>
                <a:spcBef>
                  <a:spcPts val="200"/>
                </a:spcBef>
                <a:spcAft>
                  <a:spcPts val="200"/>
                </a:spcAft>
                <a:buClr>
                  <a:srgbClr val="009CDE"/>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CCCFCF"/>
                  </a:solidFill>
                  <a:effectLst/>
                  <a:uLnTx/>
                  <a:uFillTx/>
                  <a:latin typeface="Calibri" panose="020F0502020204030204" pitchFamily="34" charset="0"/>
                  <a:ea typeface="+mn-ea"/>
                  <a:cs typeface="+mn-cs"/>
                </a:rPr>
                <a:t>Licensing Included</a:t>
              </a:r>
            </a:p>
            <a:p>
              <a:pPr marL="171450" marR="0" lvl="0" indent="-171450" algn="l" defTabSz="914400" rtl="0" eaLnBrk="1" fontAlgn="auto" latinLnBrk="0" hangingPunct="1">
                <a:lnSpc>
                  <a:spcPct val="100000"/>
                </a:lnSpc>
                <a:spcBef>
                  <a:spcPts val="200"/>
                </a:spcBef>
                <a:spcAft>
                  <a:spcPts val="200"/>
                </a:spcAft>
                <a:buClr>
                  <a:srgbClr val="009CDE"/>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CCCFCF"/>
                  </a:solidFill>
                  <a:effectLst/>
                  <a:uLnTx/>
                  <a:uFillTx/>
                  <a:latin typeface="Calibri" panose="020F0502020204030204" pitchFamily="34" charset="0"/>
                  <a:ea typeface="+mn-ea"/>
                  <a:cs typeface="+mn-cs"/>
                </a:rPr>
                <a:t>Weekly Scans / Monthly Reporting</a:t>
              </a:r>
            </a:p>
            <a:p>
              <a:pPr marL="171450" marR="0" lvl="0" indent="-171450" algn="l" defTabSz="914400" rtl="0" eaLnBrk="1" fontAlgn="auto" latinLnBrk="0" hangingPunct="1">
                <a:lnSpc>
                  <a:spcPct val="100000"/>
                </a:lnSpc>
                <a:spcBef>
                  <a:spcPts val="200"/>
                </a:spcBef>
                <a:spcAft>
                  <a:spcPts val="200"/>
                </a:spcAft>
                <a:buClr>
                  <a:srgbClr val="009CDE"/>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CCCFCF"/>
                  </a:solidFill>
                  <a:effectLst/>
                  <a:uLnTx/>
                  <a:uFillTx/>
                  <a:latin typeface="Calibri" panose="020F0502020204030204" pitchFamily="34" charset="0"/>
                  <a:ea typeface="+mn-ea"/>
                  <a:cs typeface="+mn-cs"/>
                </a:rPr>
                <a:t>Scheduled &amp; Realtime</a:t>
              </a:r>
            </a:p>
            <a:p>
              <a:pPr marL="171450" marR="0" lvl="0" indent="-171450" algn="l" defTabSz="914400" rtl="0" eaLnBrk="1" fontAlgn="auto" latinLnBrk="0" hangingPunct="1">
                <a:lnSpc>
                  <a:spcPct val="100000"/>
                </a:lnSpc>
                <a:spcBef>
                  <a:spcPts val="200"/>
                </a:spcBef>
                <a:spcAft>
                  <a:spcPts val="200"/>
                </a:spcAft>
                <a:buClr>
                  <a:srgbClr val="009CDE"/>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CCCFCF"/>
                  </a:solidFill>
                  <a:effectLst/>
                  <a:uLnTx/>
                  <a:uFillTx/>
                  <a:latin typeface="Calibri" panose="020F0502020204030204" pitchFamily="34" charset="0"/>
                  <a:ea typeface="+mn-ea"/>
                  <a:cs typeface="+mn-cs"/>
                </a:rPr>
                <a:t>Measurable Program Results</a:t>
              </a:r>
            </a:p>
          </p:txBody>
        </p:sp>
        <p:sp>
          <p:nvSpPr>
            <p:cNvPr id="305" name="TextBox 304">
              <a:extLst>
                <a:ext uri="{FF2B5EF4-FFF2-40B4-BE49-F238E27FC236}">
                  <a16:creationId xmlns:a16="http://schemas.microsoft.com/office/drawing/2014/main" id="{C2D4EC47-547E-E27E-BCBB-19FB6ED9D8CF}"/>
                </a:ext>
              </a:extLst>
            </p:cNvPr>
            <p:cNvSpPr txBox="1"/>
            <p:nvPr/>
          </p:nvSpPr>
          <p:spPr>
            <a:xfrm>
              <a:off x="355326" y="4674616"/>
              <a:ext cx="241410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F9C35"/>
                  </a:solidFill>
                  <a:effectLst/>
                  <a:uLnTx/>
                  <a:uFillTx/>
                  <a:latin typeface="Arial" panose="020B0604020202020204"/>
                  <a:ea typeface="+mn-ea"/>
                  <a:cs typeface="+mn-cs"/>
                </a:rPr>
                <a:t>Vulnerability Scanning</a:t>
              </a:r>
            </a:p>
          </p:txBody>
        </p:sp>
      </p:grpSp>
      <p:grpSp>
        <p:nvGrpSpPr>
          <p:cNvPr id="316" name="Group 315">
            <a:extLst>
              <a:ext uri="{FF2B5EF4-FFF2-40B4-BE49-F238E27FC236}">
                <a16:creationId xmlns:a16="http://schemas.microsoft.com/office/drawing/2014/main" id="{C9889654-90BC-154D-B03E-FF184F9B6904}"/>
              </a:ext>
            </a:extLst>
          </p:cNvPr>
          <p:cNvGrpSpPr/>
          <p:nvPr/>
        </p:nvGrpSpPr>
        <p:grpSpPr>
          <a:xfrm>
            <a:off x="3835802" y="1662780"/>
            <a:ext cx="3463495" cy="1553351"/>
            <a:chOff x="3218723" y="4699280"/>
            <a:chExt cx="3463495" cy="1553351"/>
          </a:xfrm>
        </p:grpSpPr>
        <p:sp>
          <p:nvSpPr>
            <p:cNvPr id="297" name="Rectangle 296">
              <a:extLst>
                <a:ext uri="{FF2B5EF4-FFF2-40B4-BE49-F238E27FC236}">
                  <a16:creationId xmlns:a16="http://schemas.microsoft.com/office/drawing/2014/main" id="{9B87AD13-303F-0546-C9D2-B3AD9587BB3A}"/>
                </a:ext>
              </a:extLst>
            </p:cNvPr>
            <p:cNvSpPr/>
            <p:nvPr/>
          </p:nvSpPr>
          <p:spPr>
            <a:xfrm>
              <a:off x="3218723" y="5086983"/>
              <a:ext cx="3463495" cy="1165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200"/>
                </a:spcBef>
                <a:spcAft>
                  <a:spcPts val="200"/>
                </a:spcAft>
                <a:buClr>
                  <a:srgbClr val="009CDE"/>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CCCFCF"/>
                  </a:solidFill>
                  <a:effectLst/>
                  <a:uLnTx/>
                  <a:uFillTx/>
                  <a:latin typeface="Calibri" panose="020F0502020204030204" pitchFamily="34" charset="0"/>
                  <a:ea typeface="+mn-ea"/>
                  <a:cs typeface="+mn-cs"/>
                </a:rPr>
                <a:t>SentinelOne Singularity &amp; Endpoint Licensing Included</a:t>
              </a:r>
            </a:p>
            <a:p>
              <a:pPr marL="171450" marR="0" lvl="0" indent="-171450" algn="l" defTabSz="914400" rtl="0" eaLnBrk="1" fontAlgn="auto" latinLnBrk="0" hangingPunct="1">
                <a:lnSpc>
                  <a:spcPct val="100000"/>
                </a:lnSpc>
                <a:spcBef>
                  <a:spcPts val="200"/>
                </a:spcBef>
                <a:spcAft>
                  <a:spcPts val="200"/>
                </a:spcAft>
                <a:buClr>
                  <a:srgbClr val="009CDE"/>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CCCFCF"/>
                  </a:solidFill>
                  <a:effectLst/>
                  <a:uLnTx/>
                  <a:uFillTx/>
                  <a:latin typeface="Calibri" panose="020F0502020204030204" pitchFamily="34" charset="0"/>
                  <a:ea typeface="+mn-ea"/>
                  <a:cs typeface="+mn-cs"/>
                </a:rPr>
                <a:t>Proven Ransomware Protection &amp; Recovery</a:t>
              </a:r>
            </a:p>
            <a:p>
              <a:pPr marL="171450" marR="0" lvl="0" indent="-171450" algn="l" defTabSz="914400" rtl="0" eaLnBrk="1" fontAlgn="auto" latinLnBrk="0" hangingPunct="1">
                <a:lnSpc>
                  <a:spcPct val="100000"/>
                </a:lnSpc>
                <a:spcBef>
                  <a:spcPts val="200"/>
                </a:spcBef>
                <a:spcAft>
                  <a:spcPts val="200"/>
                </a:spcAft>
                <a:buClr>
                  <a:srgbClr val="009CDE"/>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CCCFCF"/>
                  </a:solidFill>
                  <a:effectLst/>
                  <a:uLnTx/>
                  <a:uFillTx/>
                  <a:latin typeface="Calibri" panose="020F0502020204030204" pitchFamily="34" charset="0"/>
                  <a:ea typeface="+mn-ea"/>
                  <a:cs typeface="+mn-cs"/>
                </a:rPr>
                <a:t>One-Click Response, Remediation, and Rollback</a:t>
              </a:r>
            </a:p>
            <a:p>
              <a:pPr marL="171450" marR="0" lvl="0" indent="-171450" algn="l" defTabSz="914400" rtl="0" eaLnBrk="1" fontAlgn="auto" latinLnBrk="0" hangingPunct="1">
                <a:lnSpc>
                  <a:spcPct val="100000"/>
                </a:lnSpc>
                <a:spcBef>
                  <a:spcPts val="200"/>
                </a:spcBef>
                <a:spcAft>
                  <a:spcPts val="200"/>
                </a:spcAft>
                <a:buClr>
                  <a:srgbClr val="009CDE"/>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CCCFCF"/>
                  </a:solidFill>
                  <a:effectLst/>
                  <a:uLnTx/>
                  <a:uFillTx/>
                  <a:latin typeface="Calibri" panose="020F0502020204030204" pitchFamily="34" charset="0"/>
                  <a:ea typeface="+mn-ea"/>
                  <a:cs typeface="+mn-cs"/>
                </a:rPr>
                <a:t>SOAR Automation – Drop, Disable, Contain</a:t>
              </a:r>
            </a:p>
            <a:p>
              <a:pPr marL="171450" marR="0" lvl="0" indent="-171450" algn="l" defTabSz="914400" rtl="0" eaLnBrk="1" fontAlgn="auto" latinLnBrk="0" hangingPunct="1">
                <a:lnSpc>
                  <a:spcPct val="100000"/>
                </a:lnSpc>
                <a:spcBef>
                  <a:spcPts val="200"/>
                </a:spcBef>
                <a:spcAft>
                  <a:spcPts val="200"/>
                </a:spcAft>
                <a:buClr>
                  <a:srgbClr val="009CDE"/>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CCCFCF"/>
                  </a:solidFill>
                  <a:effectLst/>
                  <a:uLnTx/>
                  <a:uFillTx/>
                  <a:latin typeface="Calibri" panose="020F0502020204030204" pitchFamily="34" charset="0"/>
                  <a:ea typeface="+mn-ea"/>
                  <a:cs typeface="+mn-cs"/>
                </a:rPr>
                <a:t>HYAS DNS Protect – URL filtering / Web / Phish Protection</a:t>
              </a:r>
            </a:p>
          </p:txBody>
        </p:sp>
        <p:sp>
          <p:nvSpPr>
            <p:cNvPr id="306" name="TextBox 305">
              <a:extLst>
                <a:ext uri="{FF2B5EF4-FFF2-40B4-BE49-F238E27FC236}">
                  <a16:creationId xmlns:a16="http://schemas.microsoft.com/office/drawing/2014/main" id="{FA7F5BBA-A682-DEBA-4CB8-4D4309CBF946}"/>
                </a:ext>
              </a:extLst>
            </p:cNvPr>
            <p:cNvSpPr txBox="1"/>
            <p:nvPr/>
          </p:nvSpPr>
          <p:spPr>
            <a:xfrm>
              <a:off x="3218723" y="4699280"/>
              <a:ext cx="327483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1B434"/>
                  </a:solidFill>
                  <a:effectLst/>
                  <a:uLnTx/>
                  <a:uFillTx/>
                  <a:latin typeface="Arial" panose="020B0604020202020204"/>
                  <a:ea typeface="+mn-ea"/>
                  <a:cs typeface="+mn-cs"/>
                </a:rPr>
                <a:t>Endpoint Detection &amp; Response</a:t>
              </a:r>
            </a:p>
          </p:txBody>
        </p:sp>
      </p:grpSp>
      <p:grpSp>
        <p:nvGrpSpPr>
          <p:cNvPr id="315" name="Group 314">
            <a:extLst>
              <a:ext uri="{FF2B5EF4-FFF2-40B4-BE49-F238E27FC236}">
                <a16:creationId xmlns:a16="http://schemas.microsoft.com/office/drawing/2014/main" id="{3DDED13A-453F-43DC-A812-0BA6B2266792}"/>
              </a:ext>
            </a:extLst>
          </p:cNvPr>
          <p:cNvGrpSpPr/>
          <p:nvPr/>
        </p:nvGrpSpPr>
        <p:grpSpPr>
          <a:xfrm>
            <a:off x="8346737" y="1660945"/>
            <a:ext cx="3463495" cy="1551475"/>
            <a:chOff x="6942845" y="4701156"/>
            <a:chExt cx="3463495" cy="1551475"/>
          </a:xfrm>
        </p:grpSpPr>
        <p:sp>
          <p:nvSpPr>
            <p:cNvPr id="295" name="Rectangle 294">
              <a:extLst>
                <a:ext uri="{FF2B5EF4-FFF2-40B4-BE49-F238E27FC236}">
                  <a16:creationId xmlns:a16="http://schemas.microsoft.com/office/drawing/2014/main" id="{6679E5AE-2B9A-DA7A-0BEE-4B3008A26314}"/>
                </a:ext>
              </a:extLst>
            </p:cNvPr>
            <p:cNvSpPr/>
            <p:nvPr/>
          </p:nvSpPr>
          <p:spPr>
            <a:xfrm>
              <a:off x="6942845" y="5086983"/>
              <a:ext cx="3463495" cy="1165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200"/>
                </a:spcBef>
                <a:spcAft>
                  <a:spcPts val="200"/>
                </a:spcAft>
                <a:buClr>
                  <a:srgbClr val="009CDE"/>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CCCFCF"/>
                  </a:solidFill>
                  <a:effectLst/>
                  <a:uLnTx/>
                  <a:uFillTx/>
                  <a:latin typeface="Calibri" panose="020F0502020204030204" pitchFamily="34" charset="0"/>
                  <a:ea typeface="+mn-ea"/>
                  <a:cs typeface="+mn-cs"/>
                </a:rPr>
                <a:t>Any log from any device</a:t>
              </a:r>
            </a:p>
            <a:p>
              <a:pPr marL="171450" marR="0" lvl="0" indent="-171450" algn="l" defTabSz="914400" rtl="0" eaLnBrk="1" fontAlgn="auto" latinLnBrk="0" hangingPunct="1">
                <a:lnSpc>
                  <a:spcPct val="100000"/>
                </a:lnSpc>
                <a:spcBef>
                  <a:spcPts val="200"/>
                </a:spcBef>
                <a:spcAft>
                  <a:spcPts val="200"/>
                </a:spcAft>
                <a:buClr>
                  <a:srgbClr val="009CDE"/>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CCCFCF"/>
                  </a:solidFill>
                  <a:effectLst/>
                  <a:uLnTx/>
                  <a:uFillTx/>
                  <a:latin typeface="Calibri" panose="020F0502020204030204" pitchFamily="34" charset="0"/>
                  <a:ea typeface="+mn-ea"/>
                  <a:cs typeface="+mn-cs"/>
                </a:rPr>
                <a:t>Network Log Traffic Analyses</a:t>
              </a:r>
            </a:p>
            <a:p>
              <a:pPr marL="171450" marR="0" lvl="0" indent="-171450" algn="l" defTabSz="914400" rtl="0" eaLnBrk="1" fontAlgn="auto" latinLnBrk="0" hangingPunct="1">
                <a:lnSpc>
                  <a:spcPct val="100000"/>
                </a:lnSpc>
                <a:spcBef>
                  <a:spcPts val="200"/>
                </a:spcBef>
                <a:spcAft>
                  <a:spcPts val="200"/>
                </a:spcAft>
                <a:buClr>
                  <a:srgbClr val="009CDE"/>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CCCFCF"/>
                  </a:solidFill>
                  <a:effectLst/>
                  <a:uLnTx/>
                  <a:uFillTx/>
                  <a:latin typeface="Calibri" panose="020F0502020204030204" pitchFamily="34" charset="0"/>
                  <a:ea typeface="+mn-ea"/>
                  <a:cs typeface="+mn-cs"/>
                </a:rPr>
                <a:t>Behavior Analysis / Certificate Inspection</a:t>
              </a:r>
            </a:p>
            <a:p>
              <a:pPr marL="171450" marR="0" lvl="0" indent="-171450" algn="l" defTabSz="914400" rtl="0" eaLnBrk="1" fontAlgn="auto" latinLnBrk="0" hangingPunct="1">
                <a:lnSpc>
                  <a:spcPct val="100000"/>
                </a:lnSpc>
                <a:spcBef>
                  <a:spcPts val="200"/>
                </a:spcBef>
                <a:spcAft>
                  <a:spcPts val="200"/>
                </a:spcAft>
                <a:buClr>
                  <a:srgbClr val="009CDE"/>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CCCFCF"/>
                  </a:solidFill>
                  <a:effectLst/>
                  <a:uLnTx/>
                  <a:uFillTx/>
                  <a:latin typeface="Calibri" panose="020F0502020204030204" pitchFamily="34" charset="0"/>
                  <a:ea typeface="+mn-ea"/>
                  <a:cs typeface="+mn-cs"/>
                </a:rPr>
                <a:t>SOAR Automation – Drop, Disable, Contain</a:t>
              </a:r>
            </a:p>
          </p:txBody>
        </p:sp>
        <p:sp>
          <p:nvSpPr>
            <p:cNvPr id="307" name="TextBox 306">
              <a:extLst>
                <a:ext uri="{FF2B5EF4-FFF2-40B4-BE49-F238E27FC236}">
                  <a16:creationId xmlns:a16="http://schemas.microsoft.com/office/drawing/2014/main" id="{DEE11353-9DA2-1883-5CDF-B0F0BF68F08E}"/>
                </a:ext>
              </a:extLst>
            </p:cNvPr>
            <p:cNvSpPr txBox="1"/>
            <p:nvPr/>
          </p:nvSpPr>
          <p:spPr>
            <a:xfrm>
              <a:off x="6942845" y="4701156"/>
              <a:ext cx="325589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40046"/>
                  </a:solidFill>
                  <a:effectLst/>
                  <a:uLnTx/>
                  <a:uFillTx/>
                  <a:latin typeface="Arial" panose="020B0604020202020204"/>
                  <a:ea typeface="+mn-ea"/>
                  <a:cs typeface="+mn-cs"/>
                </a:rPr>
                <a:t>Network Detection &amp; Response</a:t>
              </a:r>
            </a:p>
          </p:txBody>
        </p:sp>
      </p:grpSp>
      <p:pic>
        <p:nvPicPr>
          <p:cNvPr id="314" name="Picture 313">
            <a:extLst>
              <a:ext uri="{FF2B5EF4-FFF2-40B4-BE49-F238E27FC236}">
                <a16:creationId xmlns:a16="http://schemas.microsoft.com/office/drawing/2014/main" id="{D1BA74F0-CC06-325B-42F7-F2013E8F924B}"/>
              </a:ext>
            </a:extLst>
          </p:cNvPr>
          <p:cNvPicPr>
            <a:picLocks noChangeAspect="1"/>
          </p:cNvPicPr>
          <p:nvPr/>
        </p:nvPicPr>
        <p:blipFill>
          <a:blip r:embed="rId11" cstate="email">
            <a:extLst>
              <a:ext uri="{28A0092B-C50C-407E-A947-70E740481C1C}">
                <a14:useLocalDpi xmlns:a14="http://schemas.microsoft.com/office/drawing/2010/main" val="0"/>
              </a:ext>
            </a:extLst>
          </a:blip>
          <a:srcRect/>
          <a:stretch/>
        </p:blipFill>
        <p:spPr>
          <a:xfrm>
            <a:off x="10225630" y="850026"/>
            <a:ext cx="1628664" cy="316232"/>
          </a:xfrm>
          <a:prstGeom prst="rect">
            <a:avLst/>
          </a:prstGeom>
        </p:spPr>
      </p:pic>
      <p:sp>
        <p:nvSpPr>
          <p:cNvPr id="318" name="TextBox 317">
            <a:extLst>
              <a:ext uri="{FF2B5EF4-FFF2-40B4-BE49-F238E27FC236}">
                <a16:creationId xmlns:a16="http://schemas.microsoft.com/office/drawing/2014/main" id="{5C5A0186-A601-887F-72D9-7A064C605612}"/>
              </a:ext>
            </a:extLst>
          </p:cNvPr>
          <p:cNvSpPr txBox="1"/>
          <p:nvPr/>
        </p:nvSpPr>
        <p:spPr>
          <a:xfrm>
            <a:off x="7235680" y="3954596"/>
            <a:ext cx="3221466" cy="236743"/>
          </a:xfrm>
          <a:prstGeom prst="rect">
            <a:avLst/>
          </a:prstGeom>
        </p:spPr>
        <p:txBody>
          <a:bodyPr vert="horz" lIns="91440" tIns="45720" rIns="91440" bIns="45720" rtlCol="0" anchor="t">
            <a:noAutofit/>
          </a:bodyPr>
          <a:lstStyle>
            <a:lvl1pPr marR="0" indent="0" algn="just">
              <a:lnSpc>
                <a:spcPts val="1400"/>
              </a:lnSpc>
              <a:spcBef>
                <a:spcPts val="0"/>
              </a:spcBef>
              <a:spcAft>
                <a:spcPts val="1000"/>
              </a:spcAft>
              <a:buFont typeface="Arial" panose="020B0604020202020204" pitchFamily="34" charset="0"/>
              <a:buNone/>
              <a:defRPr sz="1400">
                <a:effectLst/>
                <a:latin typeface="Arial" panose="020B0604020202020204" pitchFamily="34" charset="0"/>
                <a:ea typeface="Times New Roman" panose="02020603050405020304" pitchFamily="18" charset="0"/>
                <a:cs typeface="Times New Roman" panose="02020603050405020304" pitchFamily="18" charset="0"/>
              </a:defRPr>
            </a:lvl1pPr>
            <a:lvl2pPr marL="685800" indent="-228600">
              <a:lnSpc>
                <a:spcPct val="100000"/>
              </a:lnSpc>
              <a:spcBef>
                <a:spcPts val="500"/>
              </a:spcBef>
              <a:buFont typeface="Calibri" panose="020F0502020204030204" pitchFamily="34" charset="0"/>
              <a:buChar char="⁻"/>
              <a:defRPr sz="2400">
                <a:latin typeface="Arial" panose="020B0604020202020204" pitchFamily="34" charset="0"/>
                <a:cs typeface="Arial" panose="020B0604020202020204" pitchFamily="34" charset="0"/>
              </a:defRPr>
            </a:lvl2pPr>
            <a:lvl3pPr marL="1143000" indent="-228600">
              <a:lnSpc>
                <a:spcPct val="10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marL="1600200" indent="-228600">
              <a:lnSpc>
                <a:spcPct val="100000"/>
              </a:lnSpc>
              <a:spcBef>
                <a:spcPts val="500"/>
              </a:spcBef>
              <a:buFont typeface="Calibri" panose="020F0502020204030204" pitchFamily="34" charset="0"/>
              <a:buChar char="⁻"/>
              <a:defRPr>
                <a:latin typeface="Arial" panose="020B0604020202020204" pitchFamily="34" charset="0"/>
                <a:cs typeface="Arial" panose="020B0604020202020204" pitchFamily="34" charset="0"/>
              </a:defRPr>
            </a:lvl4pPr>
            <a:lvl5pPr marL="2057400" indent="-228600">
              <a:lnSpc>
                <a:spcPct val="10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just" defTabSz="914400" rtl="0" eaLnBrk="1" fontAlgn="auto" latinLnBrk="0" hangingPunct="1">
              <a:lnSpc>
                <a:spcPts val="1400"/>
              </a:lnSpc>
              <a:spcBef>
                <a:spcPts val="0"/>
              </a:spcBef>
              <a:spcAft>
                <a:spcPts val="100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pitchFamily="34" charset="0"/>
                <a:cs typeface="Times New Roman" panose="02020603050405020304" pitchFamily="18" charset="0"/>
              </a:rPr>
              <a:t>*Based on the provided scoping of 4088 devices</a:t>
            </a:r>
          </a:p>
        </p:txBody>
      </p:sp>
      <p:pic>
        <p:nvPicPr>
          <p:cNvPr id="322" name="Graphic 321" descr="Key outline">
            <a:extLst>
              <a:ext uri="{FF2B5EF4-FFF2-40B4-BE49-F238E27FC236}">
                <a16:creationId xmlns:a16="http://schemas.microsoft.com/office/drawing/2014/main" id="{C6F2F38D-E3D2-F488-B934-4BCBAC10958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92972" y="1670436"/>
            <a:ext cx="456903" cy="456903"/>
          </a:xfrm>
          <a:prstGeom prst="rect">
            <a:avLst/>
          </a:prstGeom>
        </p:spPr>
      </p:pic>
      <p:pic>
        <p:nvPicPr>
          <p:cNvPr id="324" name="Graphic 323" descr="Stopwatch outline">
            <a:extLst>
              <a:ext uri="{FF2B5EF4-FFF2-40B4-BE49-F238E27FC236}">
                <a16:creationId xmlns:a16="http://schemas.microsoft.com/office/drawing/2014/main" id="{D44BD268-0335-A88B-E707-93E12EA1D443}"/>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524856" y="2237971"/>
            <a:ext cx="456903" cy="456903"/>
          </a:xfrm>
          <a:prstGeom prst="rect">
            <a:avLst/>
          </a:prstGeom>
        </p:spPr>
      </p:pic>
      <p:pic>
        <p:nvPicPr>
          <p:cNvPr id="326" name="Graphic 325" descr="Questions outline">
            <a:extLst>
              <a:ext uri="{FF2B5EF4-FFF2-40B4-BE49-F238E27FC236}">
                <a16:creationId xmlns:a16="http://schemas.microsoft.com/office/drawing/2014/main" id="{DE6EA227-8D8E-2094-C7B6-A68D9A005D0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19415" y="2827641"/>
            <a:ext cx="427125" cy="427125"/>
          </a:xfrm>
          <a:prstGeom prst="rect">
            <a:avLst/>
          </a:prstGeom>
        </p:spPr>
      </p:pic>
      <p:pic>
        <p:nvPicPr>
          <p:cNvPr id="328" name="Graphic 327" descr="Research outline">
            <a:extLst>
              <a:ext uri="{FF2B5EF4-FFF2-40B4-BE49-F238E27FC236}">
                <a16:creationId xmlns:a16="http://schemas.microsoft.com/office/drawing/2014/main" id="{6ACDC975-2B69-363B-B5F8-8F8C367EAD1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68196" y="3370522"/>
            <a:ext cx="427125" cy="427125"/>
          </a:xfrm>
          <a:prstGeom prst="rect">
            <a:avLst/>
          </a:prstGeom>
        </p:spPr>
      </p:pic>
      <p:pic>
        <p:nvPicPr>
          <p:cNvPr id="330" name="Graphic 329" descr="Playbook outline">
            <a:extLst>
              <a:ext uri="{FF2B5EF4-FFF2-40B4-BE49-F238E27FC236}">
                <a16:creationId xmlns:a16="http://schemas.microsoft.com/office/drawing/2014/main" id="{5A8ABD8E-188D-5FEA-18B3-9CF00A2C54C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15298" y="3947277"/>
            <a:ext cx="438451" cy="438451"/>
          </a:xfrm>
          <a:prstGeom prst="rect">
            <a:avLst/>
          </a:prstGeom>
        </p:spPr>
      </p:pic>
      <p:pic>
        <p:nvPicPr>
          <p:cNvPr id="332" name="Graphic 331" descr="Cloud Computing outline">
            <a:extLst>
              <a:ext uri="{FF2B5EF4-FFF2-40B4-BE49-F238E27FC236}">
                <a16:creationId xmlns:a16="http://schemas.microsoft.com/office/drawing/2014/main" id="{7BAF449A-ECA9-2757-6119-234598585C8F}"/>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223392" y="5072442"/>
            <a:ext cx="426483" cy="426483"/>
          </a:xfrm>
          <a:prstGeom prst="rect">
            <a:avLst/>
          </a:prstGeom>
        </p:spPr>
      </p:pic>
      <p:pic>
        <p:nvPicPr>
          <p:cNvPr id="46" name="Graphic 45" descr="Eye Scan outline">
            <a:extLst>
              <a:ext uri="{FF2B5EF4-FFF2-40B4-BE49-F238E27FC236}">
                <a16:creationId xmlns:a16="http://schemas.microsoft.com/office/drawing/2014/main" id="{920CBE0E-0074-ECBF-FF04-786C5DF416FD}"/>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a:stretch/>
        </p:blipFill>
        <p:spPr>
          <a:xfrm>
            <a:off x="533417" y="4511965"/>
            <a:ext cx="438451" cy="438451"/>
          </a:xfrm>
          <a:prstGeom prst="rect">
            <a:avLst/>
          </a:prstGeom>
        </p:spPr>
      </p:pic>
    </p:spTree>
    <p:custDataLst>
      <p:tags r:id="rId1"/>
    </p:custDataLst>
    <p:extLst>
      <p:ext uri="{BB962C8B-B14F-4D97-AF65-F5344CB8AC3E}">
        <p14:creationId xmlns:p14="http://schemas.microsoft.com/office/powerpoint/2010/main" val="18625533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09600" y="418804"/>
            <a:ext cx="10010775" cy="554038"/>
          </a:xfrm>
          <a:noFill/>
          <a:ln>
            <a:noFill/>
          </a:ln>
        </p:spPr>
        <p:txBody>
          <a:bodyPr spcFirstLastPara="1" vert="horz" wrap="square" lIns="91440" tIns="45720" rIns="91440" bIns="45720" rtlCol="0" anchor="ctr" anchorCtr="0">
            <a:normAutofit fontScale="90000"/>
          </a:bodyPr>
          <a:lstStyle/>
          <a:p>
            <a:pPr>
              <a:buClr>
                <a:schemeClr val="dk1"/>
              </a:buClr>
              <a:buSzPts val="5800"/>
              <a:buFont typeface="Arial"/>
            </a:pPr>
            <a:r>
              <a:rPr lang="en-US" dirty="0"/>
              <a:t>RSM Defense Onboarding Process</a:t>
            </a:r>
          </a:p>
        </p:txBody>
      </p:sp>
      <p:sp>
        <p:nvSpPr>
          <p:cNvPr id="4" name="Slide Number Placeholder 3"/>
          <p:cNvSpPr>
            <a:spLocks noGrp="1"/>
          </p:cNvSpPr>
          <p:nvPr>
            <p:ph type="sldNum" sz="quarter" idx="4294967295"/>
          </p:nvPr>
        </p:nvSpPr>
        <p:spPr>
          <a:xfrm>
            <a:off x="9448800" y="6356350"/>
            <a:ext cx="2743200" cy="265113"/>
          </a:xfrm>
        </p:spPr>
        <p:txBody>
          <a:bodyPr/>
          <a:lstStyle/>
          <a:p>
            <a:fld id="{936A99BC-3C9D-4DF8-8B8C-E1FD2BDF0AD4}" type="slidenum">
              <a:rPr lang="en-US" smtClean="0"/>
              <a:pPr/>
              <a:t>12</a:t>
            </a:fld>
            <a:endParaRPr lang="en-US"/>
          </a:p>
        </p:txBody>
      </p:sp>
      <p:graphicFrame>
        <p:nvGraphicFramePr>
          <p:cNvPr id="14" name="Table 13">
            <a:extLst>
              <a:ext uri="{FF2B5EF4-FFF2-40B4-BE49-F238E27FC236}">
                <a16:creationId xmlns:a16="http://schemas.microsoft.com/office/drawing/2014/main" id="{AABE9DAE-B7DE-49D5-BDA4-2E7CDBFC21E2}"/>
              </a:ext>
            </a:extLst>
          </p:cNvPr>
          <p:cNvGraphicFramePr>
            <a:graphicFrameLocks noGrp="1"/>
          </p:cNvGraphicFramePr>
          <p:nvPr>
            <p:extLst>
              <p:ext uri="{D42A27DB-BD31-4B8C-83A1-F6EECF244321}">
                <p14:modId xmlns:p14="http://schemas.microsoft.com/office/powerpoint/2010/main" val="1096582116"/>
              </p:ext>
            </p:extLst>
          </p:nvPr>
        </p:nvGraphicFramePr>
        <p:xfrm>
          <a:off x="5504313" y="2470066"/>
          <a:ext cx="6310430" cy="3443794"/>
        </p:xfrm>
        <a:graphic>
          <a:graphicData uri="http://schemas.openxmlformats.org/drawingml/2006/table">
            <a:tbl>
              <a:tblPr firstRow="1" bandRow="1">
                <a:tableStyleId>{69012ECD-51FC-41F1-AA8D-1B2483CD663E}</a:tableStyleId>
              </a:tblPr>
              <a:tblGrid>
                <a:gridCol w="1346080">
                  <a:extLst>
                    <a:ext uri="{9D8B030D-6E8A-4147-A177-3AD203B41FA5}">
                      <a16:colId xmlns:a16="http://schemas.microsoft.com/office/drawing/2014/main" val="20000"/>
                    </a:ext>
                  </a:extLst>
                </a:gridCol>
                <a:gridCol w="1167450">
                  <a:extLst>
                    <a:ext uri="{9D8B030D-6E8A-4147-A177-3AD203B41FA5}">
                      <a16:colId xmlns:a16="http://schemas.microsoft.com/office/drawing/2014/main" val="20001"/>
                    </a:ext>
                  </a:extLst>
                </a:gridCol>
                <a:gridCol w="3796900">
                  <a:extLst>
                    <a:ext uri="{9D8B030D-6E8A-4147-A177-3AD203B41FA5}">
                      <a16:colId xmlns:a16="http://schemas.microsoft.com/office/drawing/2014/main" val="20002"/>
                    </a:ext>
                  </a:extLst>
                </a:gridCol>
              </a:tblGrid>
              <a:tr h="449245">
                <a:tc>
                  <a:txBody>
                    <a:bodyPr/>
                    <a:lstStyle/>
                    <a:p>
                      <a:pPr algn="ctr"/>
                      <a:r>
                        <a:rPr lang="en-US" sz="1100" dirty="0">
                          <a:solidFill>
                            <a:schemeClr val="accent4">
                              <a:lumMod val="20000"/>
                              <a:lumOff val="80000"/>
                            </a:schemeClr>
                          </a:solidFill>
                        </a:rPr>
                        <a:t>Activity</a:t>
                      </a:r>
                    </a:p>
                  </a:txBody>
                  <a:tcPr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pPr algn="ctr"/>
                      <a:r>
                        <a:rPr lang="en-US" sz="1100" dirty="0">
                          <a:solidFill>
                            <a:schemeClr val="accent4">
                              <a:lumMod val="20000"/>
                              <a:lumOff val="80000"/>
                            </a:schemeClr>
                          </a:solidFill>
                        </a:rPr>
                        <a:t>Time Commit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pPr algn="ctr"/>
                      <a:r>
                        <a:rPr lang="en-US" sz="1100" dirty="0">
                          <a:solidFill>
                            <a:schemeClr val="accent4">
                              <a:lumMod val="20000"/>
                              <a:lumOff val="80000"/>
                            </a:schemeClr>
                          </a:solidFill>
                        </a:rPr>
                        <a:t>Notes</a:t>
                      </a:r>
                    </a:p>
                  </a:txBody>
                  <a:tcPr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0000"/>
                  </a:ext>
                </a:extLst>
              </a:tr>
              <a:tr h="449245">
                <a:tc>
                  <a:txBody>
                    <a:bodyPr/>
                    <a:lstStyle/>
                    <a:p>
                      <a:pPr algn="l"/>
                      <a:r>
                        <a:rPr lang="en-US" sz="1100" b="0" kern="1200" baseline="0" dirty="0">
                          <a:solidFill>
                            <a:schemeClr val="tx1"/>
                          </a:solidFill>
                          <a:effectLst/>
                          <a:latin typeface="+mn-lt"/>
                          <a:ea typeface="+mn-ea"/>
                          <a:cs typeface="+mn-cs"/>
                        </a:rPr>
                        <a:t>Kickoff Call</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algn="ctr"/>
                      <a:r>
                        <a:rPr lang="en-US" sz="1100" b="0" dirty="0">
                          <a:solidFill>
                            <a:schemeClr val="tx1"/>
                          </a:solidFill>
                        </a:rPr>
                        <a:t>1 hour</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100" b="0" dirty="0">
                          <a:solidFill>
                            <a:schemeClr val="tx1"/>
                          </a:solidFill>
                        </a:rPr>
                        <a:t>Team intro; review scope, environment &amp; questionnaire; client background; schedule weekly touchpoint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933311436"/>
                  </a:ext>
                </a:extLst>
              </a:tr>
              <a:tr h="625734">
                <a:tc>
                  <a:txBody>
                    <a:bodyPr/>
                    <a:lstStyle/>
                    <a:p>
                      <a:pPr marL="0" algn="l" defTabSz="914400" rtl="0" eaLnBrk="1" latinLnBrk="0" hangingPunct="1"/>
                      <a:r>
                        <a:rPr lang="en-US" sz="1100" b="0" kern="1200" dirty="0">
                          <a:solidFill>
                            <a:schemeClr val="tx1"/>
                          </a:solidFill>
                          <a:latin typeface="+mn-lt"/>
                          <a:ea typeface="+mn-ea"/>
                          <a:cs typeface="+mn-cs"/>
                        </a:rPr>
                        <a:t>Device Lists and Questionnaire</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1 hour</a:t>
                      </a:r>
                      <a:endParaRPr lang="en-US" sz="1100" b="0" kern="1200" noProof="0" dirty="0">
                        <a:solidFill>
                          <a:schemeClr val="tx1"/>
                        </a:solidFill>
                        <a:latin typeface="+mn-lt"/>
                        <a:ea typeface="+mn-ea"/>
                        <a:cs typeface="+mn-cs"/>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algn="ctr" defTabSz="914400" rtl="0" eaLnBrk="1" latinLnBrk="0" hangingPunct="1"/>
                      <a:r>
                        <a:rPr lang="en-US" sz="1100" b="0" kern="1200" dirty="0">
                          <a:solidFill>
                            <a:schemeClr val="tx1"/>
                          </a:solidFill>
                          <a:latin typeface="+mn-lt"/>
                          <a:ea typeface="+mn-ea"/>
                          <a:cs typeface="+mn-cs"/>
                        </a:rPr>
                        <a:t>Whatever isn’t readily available at onboarding can be worked through post-go-live with your SDM. The critical pieces will be identified during kick-off call</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526636845"/>
                  </a:ext>
                </a:extLst>
              </a:tr>
              <a:tr h="449245">
                <a:tc>
                  <a:txBody>
                    <a:bodyPr/>
                    <a:lstStyle/>
                    <a:p>
                      <a:pPr marL="0" lvl="0" algn="l" defTabSz="914400" rtl="0" eaLnBrk="1" latinLnBrk="0" hangingPunct="1"/>
                      <a:r>
                        <a:rPr lang="en-US" sz="1100" b="0" kern="1200" dirty="0">
                          <a:solidFill>
                            <a:schemeClr val="tx1"/>
                          </a:solidFill>
                          <a:latin typeface="+mn-lt"/>
                          <a:ea typeface="+mn-ea"/>
                          <a:cs typeface="+mn-cs"/>
                        </a:rPr>
                        <a:t>Stellar Sensor Standup</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noProof="0" dirty="0">
                          <a:solidFill>
                            <a:schemeClr val="tx1"/>
                          </a:solidFill>
                          <a:latin typeface="+mn-lt"/>
                          <a:ea typeface="+mn-ea"/>
                          <a:cs typeface="+mn-cs"/>
                        </a:rPr>
                        <a:t>&lt;1 hour</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algn="ctr" defTabSz="914400" rtl="0" eaLnBrk="1" latinLnBrk="0" hangingPunct="1"/>
                      <a:r>
                        <a:rPr lang="en-US" sz="1100" b="0" kern="1200" dirty="0">
                          <a:solidFill>
                            <a:schemeClr val="tx1"/>
                          </a:solidFill>
                          <a:latin typeface="+mn-lt"/>
                          <a:ea typeface="+mn-ea"/>
                          <a:cs typeface="+mn-cs"/>
                        </a:rPr>
                        <a:t>Link and instructions will be provided tailored to where you will be hosting. Majority of this time will be downloading</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1156896332"/>
                  </a:ext>
                </a:extLst>
              </a:tr>
              <a:tr h="403936">
                <a:tc>
                  <a:txBody>
                    <a:bodyPr/>
                    <a:lstStyle/>
                    <a:p>
                      <a:pPr marL="0" lvl="0" algn="l" defTabSz="914400" rtl="0" eaLnBrk="1" latinLnBrk="0" hangingPunct="1"/>
                      <a:r>
                        <a:rPr lang="en-US" sz="1100" b="0" kern="1200" dirty="0">
                          <a:solidFill>
                            <a:schemeClr val="tx1"/>
                          </a:solidFill>
                          <a:latin typeface="+mn-lt"/>
                          <a:ea typeface="+mn-ea"/>
                          <a:cs typeface="+mn-cs"/>
                        </a:rPr>
                        <a:t>Agent Deployment</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noProof="0" dirty="0">
                          <a:solidFill>
                            <a:schemeClr val="tx1"/>
                          </a:solidFill>
                          <a:latin typeface="+mn-lt"/>
                          <a:ea typeface="+mn-ea"/>
                          <a:cs typeface="+mn-cs"/>
                        </a:rPr>
                        <a:t>varie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algn="ctr" defTabSz="914400" rtl="0" eaLnBrk="1" latinLnBrk="0" hangingPunct="1"/>
                      <a:r>
                        <a:rPr lang="en-US" sz="1100" b="0" kern="1200" dirty="0">
                          <a:solidFill>
                            <a:schemeClr val="tx1"/>
                          </a:solidFill>
                          <a:latin typeface="+mn-lt"/>
                          <a:ea typeface="+mn-ea"/>
                          <a:cs typeface="+mn-cs"/>
                        </a:rPr>
                        <a:t>Can be packaged and pushed via endpoint management solution</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4028624056"/>
                  </a:ext>
                </a:extLst>
              </a:tr>
              <a:tr h="4492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kern="1200" baseline="0" dirty="0">
                          <a:solidFill>
                            <a:schemeClr val="tx1"/>
                          </a:solidFill>
                          <a:effectLst/>
                          <a:latin typeface="+mn-lt"/>
                          <a:ea typeface="+mn-ea"/>
                          <a:cs typeface="+mn-cs"/>
                        </a:rPr>
                        <a:t>Weekly Touchpoint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algn="ctr" defTabSz="914400" rtl="0" eaLnBrk="1" latinLnBrk="0" hangingPunct="1"/>
                      <a:r>
                        <a:rPr lang="en-US" sz="1100" b="0" dirty="0">
                          <a:solidFill>
                            <a:schemeClr val="tx1"/>
                          </a:solidFill>
                        </a:rPr>
                        <a:t>30 min/week</a:t>
                      </a:r>
                      <a:endParaRPr lang="en-US" sz="1100" b="0" kern="1200" dirty="0">
                        <a:solidFill>
                          <a:schemeClr val="tx1"/>
                        </a:solidFill>
                        <a:latin typeface="+mn-lt"/>
                        <a:ea typeface="+mn-ea"/>
                        <a:cs typeface="+mn-cs"/>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algn="ctr" defTabSz="914400" rtl="0" eaLnBrk="1" latinLnBrk="0" hangingPunct="1"/>
                      <a:r>
                        <a:rPr lang="en-US" sz="1100" b="0" dirty="0">
                          <a:solidFill>
                            <a:schemeClr val="tx1"/>
                          </a:solidFill>
                        </a:rPr>
                        <a:t>Dashboard and status review. Opportunity to work through any issues with an engineer, if needed</a:t>
                      </a:r>
                      <a:endParaRPr lang="en-US" sz="1100" b="0" kern="1200" dirty="0">
                        <a:solidFill>
                          <a:schemeClr val="tx1"/>
                        </a:solidFill>
                        <a:latin typeface="+mn-lt"/>
                        <a:ea typeface="+mn-ea"/>
                        <a:cs typeface="+mn-cs"/>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2317996610"/>
                  </a:ext>
                </a:extLst>
              </a:tr>
              <a:tr h="5626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kern="1200" baseline="0" dirty="0">
                          <a:solidFill>
                            <a:schemeClr val="tx1"/>
                          </a:solidFill>
                          <a:effectLst/>
                          <a:latin typeface="+mn-lt"/>
                          <a:ea typeface="+mn-ea"/>
                          <a:cs typeface="+mn-cs"/>
                        </a:rPr>
                        <a:t>Handoff to SDM</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algn="ctr" defTabSz="914400" rtl="0" eaLnBrk="1" latinLnBrk="0" hangingPunct="1"/>
                      <a:r>
                        <a:rPr lang="en-US" sz="1100" b="0" kern="1200" dirty="0">
                          <a:solidFill>
                            <a:schemeClr val="tx1"/>
                          </a:solidFill>
                          <a:latin typeface="+mn-lt"/>
                          <a:ea typeface="+mn-ea"/>
                          <a:cs typeface="+mn-cs"/>
                        </a:rPr>
                        <a:t>30 min</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algn="ctr" defTabSz="914400" rtl="0" eaLnBrk="1" latinLnBrk="0" hangingPunct="1"/>
                      <a:r>
                        <a:rPr lang="en-US" sz="1100" b="0" kern="1200" dirty="0">
                          <a:solidFill>
                            <a:schemeClr val="tx1"/>
                          </a:solidFill>
                          <a:latin typeface="+mn-lt"/>
                          <a:ea typeface="+mn-ea"/>
                          <a:cs typeface="+mn-cs"/>
                        </a:rPr>
                        <a:t>After go-live, introduce the service delivery manager, review the scope completion, and schedule recurring reporting meeting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3374971395"/>
                  </a:ext>
                </a:extLst>
              </a:tr>
            </a:tbl>
          </a:graphicData>
        </a:graphic>
      </p:graphicFrame>
      <p:sp>
        <p:nvSpPr>
          <p:cNvPr id="5" name="TextBox 4">
            <a:extLst>
              <a:ext uri="{FF2B5EF4-FFF2-40B4-BE49-F238E27FC236}">
                <a16:creationId xmlns:a16="http://schemas.microsoft.com/office/drawing/2014/main" id="{0E68FD6B-CD8D-3597-A0CA-9EDD2A080A77}"/>
              </a:ext>
            </a:extLst>
          </p:cNvPr>
          <p:cNvSpPr txBox="1"/>
          <p:nvPr/>
        </p:nvSpPr>
        <p:spPr>
          <a:xfrm>
            <a:off x="508001" y="2083563"/>
            <a:ext cx="4610930" cy="369332"/>
          </a:xfrm>
          <a:prstGeom prst="rect">
            <a:avLst/>
          </a:prstGeom>
          <a:noFill/>
        </p:spPr>
        <p:txBody>
          <a:bodyPr wrap="square">
            <a:noAutofit/>
          </a:bodyPr>
          <a:lstStyle/>
          <a:p>
            <a:pPr rtl="0" fontAlgn="ctr">
              <a:spcBef>
                <a:spcPts val="0"/>
              </a:spcBef>
              <a:spcAft>
                <a:spcPts val="0"/>
              </a:spcAft>
            </a:pPr>
            <a:r>
              <a:rPr lang="en-US" b="1" dirty="0">
                <a:solidFill>
                  <a:srgbClr val="3F9C35"/>
                </a:solidFill>
                <a:effectLst/>
              </a:rPr>
              <a:t>Onboarding Process</a:t>
            </a:r>
            <a:endParaRPr lang="en-US" dirty="0">
              <a:solidFill>
                <a:srgbClr val="3F9C35"/>
              </a:solidFill>
              <a:effectLst/>
            </a:endParaRPr>
          </a:p>
        </p:txBody>
      </p:sp>
      <p:sp>
        <p:nvSpPr>
          <p:cNvPr id="7" name="TextBox 6">
            <a:extLst>
              <a:ext uri="{FF2B5EF4-FFF2-40B4-BE49-F238E27FC236}">
                <a16:creationId xmlns:a16="http://schemas.microsoft.com/office/drawing/2014/main" id="{4875955E-C2C3-0525-C195-5E439C6F0997}"/>
              </a:ext>
            </a:extLst>
          </p:cNvPr>
          <p:cNvSpPr txBox="1"/>
          <p:nvPr/>
        </p:nvSpPr>
        <p:spPr>
          <a:xfrm>
            <a:off x="507999" y="1277543"/>
            <a:ext cx="11306743" cy="584775"/>
          </a:xfrm>
          <a:prstGeom prst="rect">
            <a:avLst/>
          </a:prstGeom>
          <a:noFill/>
        </p:spPr>
        <p:txBody>
          <a:bodyPr wrap="square" rtlCol="0">
            <a:spAutoFit/>
          </a:bodyPr>
          <a:lstStyle/>
          <a:p>
            <a:pPr marL="285750" indent="-285750">
              <a:buFont typeface="Wingdings" panose="05000000000000000000" pitchFamily="2" charset="2"/>
              <a:buChar char="ü"/>
            </a:pPr>
            <a:r>
              <a:rPr lang="en-US" sz="1600" dirty="0"/>
              <a:t>Weekly onboarding touchpoints</a:t>
            </a:r>
          </a:p>
          <a:p>
            <a:pPr marL="285750" indent="-285750">
              <a:buFont typeface="Wingdings" panose="05000000000000000000" pitchFamily="2" charset="2"/>
              <a:buChar char="ü"/>
            </a:pPr>
            <a:r>
              <a:rPr lang="en-US" sz="1600" dirty="0"/>
              <a:t>Speed is at the client’s discretion – we can go as slow or fast as preferred</a:t>
            </a:r>
          </a:p>
        </p:txBody>
      </p:sp>
      <p:sp>
        <p:nvSpPr>
          <p:cNvPr id="10" name="TextBox 9">
            <a:extLst>
              <a:ext uri="{FF2B5EF4-FFF2-40B4-BE49-F238E27FC236}">
                <a16:creationId xmlns:a16="http://schemas.microsoft.com/office/drawing/2014/main" id="{C0EA6440-7157-356A-4A93-15FB0DA6BEA0}"/>
              </a:ext>
            </a:extLst>
          </p:cNvPr>
          <p:cNvSpPr txBox="1"/>
          <p:nvPr/>
        </p:nvSpPr>
        <p:spPr>
          <a:xfrm>
            <a:off x="5504313" y="2083563"/>
            <a:ext cx="6310430" cy="369332"/>
          </a:xfrm>
          <a:prstGeom prst="rect">
            <a:avLst/>
          </a:prstGeom>
          <a:noFill/>
        </p:spPr>
        <p:txBody>
          <a:bodyPr wrap="square" rtlCol="0">
            <a:noAutofit/>
          </a:bodyPr>
          <a:lstStyle/>
          <a:p>
            <a:r>
              <a:rPr lang="en-US" b="1" dirty="0">
                <a:solidFill>
                  <a:srgbClr val="3F9C35"/>
                </a:solidFill>
              </a:rPr>
              <a:t>Client Requirements / Level of Effort</a:t>
            </a:r>
          </a:p>
        </p:txBody>
      </p:sp>
      <p:sp>
        <p:nvSpPr>
          <p:cNvPr id="6" name="TextBox 5">
            <a:extLst>
              <a:ext uri="{FF2B5EF4-FFF2-40B4-BE49-F238E27FC236}">
                <a16:creationId xmlns:a16="http://schemas.microsoft.com/office/drawing/2014/main" id="{5D20177D-4D2E-9EBD-F1B4-D0502B234415}"/>
              </a:ext>
            </a:extLst>
          </p:cNvPr>
          <p:cNvSpPr txBox="1"/>
          <p:nvPr/>
        </p:nvSpPr>
        <p:spPr>
          <a:xfrm>
            <a:off x="512064" y="2459874"/>
            <a:ext cx="4610931" cy="3439478"/>
          </a:xfrm>
          <a:prstGeom prst="rect">
            <a:avLst/>
          </a:prstGeom>
          <a:noFill/>
          <a:ln>
            <a:solidFill>
              <a:schemeClr val="accent1"/>
            </a:solidFill>
          </a:ln>
        </p:spPr>
        <p:txBody>
          <a:bodyPr wrap="square" anchor="ctr">
            <a:noAutofit/>
          </a:bodyPr>
          <a:lstStyle/>
          <a:p>
            <a:pPr marL="58738" indent="-285750" fontAlgn="ctr">
              <a:buFont typeface="Arial" panose="020B0604020202020204" pitchFamily="34" charset="0"/>
              <a:buChar char="•"/>
            </a:pPr>
            <a:r>
              <a:rPr lang="en-US" sz="1200" b="1" dirty="0">
                <a:solidFill>
                  <a:schemeClr val="accent4">
                    <a:lumMod val="20000"/>
                    <a:lumOff val="80000"/>
                  </a:schemeClr>
                </a:solidFill>
                <a:effectLst/>
              </a:rPr>
              <a:t>Initiation / Kickoff Call</a:t>
            </a:r>
          </a:p>
          <a:p>
            <a:pPr marL="58738" indent="-285750" fontAlgn="ctr">
              <a:buFont typeface="Arial" panose="020B0604020202020204" pitchFamily="34" charset="0"/>
              <a:buChar char="•"/>
            </a:pPr>
            <a:r>
              <a:rPr lang="en-US" sz="1200" b="1" dirty="0">
                <a:solidFill>
                  <a:schemeClr val="accent4">
                    <a:lumMod val="20000"/>
                    <a:lumOff val="80000"/>
                  </a:schemeClr>
                </a:solidFill>
                <a:effectLst/>
              </a:rPr>
              <a:t>Requirements Gathering</a:t>
            </a:r>
          </a:p>
          <a:p>
            <a:pPr marL="742950" lvl="1" indent="-285750" fontAlgn="ctr">
              <a:buFont typeface="Calibri" panose="020F0502020204030204" pitchFamily="34" charset="0"/>
              <a:buChar char="‐"/>
            </a:pPr>
            <a:r>
              <a:rPr lang="en-US" sz="1100" dirty="0">
                <a:solidFill>
                  <a:schemeClr val="accent4">
                    <a:lumMod val="20000"/>
                    <a:lumOff val="80000"/>
                  </a:schemeClr>
                </a:solidFill>
                <a:effectLst/>
              </a:rPr>
              <a:t>Onboarding Questionnaire</a:t>
            </a:r>
          </a:p>
          <a:p>
            <a:pPr marL="742950" lvl="1" indent="-285750" fontAlgn="ctr">
              <a:buFont typeface="Calibri" panose="020F0502020204030204" pitchFamily="34" charset="0"/>
              <a:buChar char="‐"/>
            </a:pPr>
            <a:r>
              <a:rPr lang="en-US" sz="1100" dirty="0">
                <a:solidFill>
                  <a:schemeClr val="accent4">
                    <a:lumMod val="20000"/>
                    <a:lumOff val="80000"/>
                  </a:schemeClr>
                </a:solidFill>
                <a:effectLst/>
              </a:rPr>
              <a:t>Device Lists </a:t>
            </a:r>
          </a:p>
          <a:p>
            <a:pPr marL="742950" lvl="1" indent="-285750" fontAlgn="ctr">
              <a:buFont typeface="Calibri" panose="020F0502020204030204" pitchFamily="34" charset="0"/>
              <a:buChar char="‐"/>
            </a:pPr>
            <a:r>
              <a:rPr lang="en-US" sz="1100" dirty="0">
                <a:solidFill>
                  <a:schemeClr val="accent4">
                    <a:lumMod val="20000"/>
                    <a:lumOff val="80000"/>
                  </a:schemeClr>
                </a:solidFill>
              </a:rPr>
              <a:t>Critical applications</a:t>
            </a:r>
            <a:endParaRPr lang="en-US" sz="1100" dirty="0">
              <a:solidFill>
                <a:schemeClr val="accent4">
                  <a:lumMod val="20000"/>
                  <a:lumOff val="80000"/>
                </a:schemeClr>
              </a:solidFill>
              <a:effectLst/>
            </a:endParaRPr>
          </a:p>
          <a:p>
            <a:pPr marL="285750" indent="-285750" fontAlgn="ctr">
              <a:buFont typeface="Calibri" panose="020F0502020204030204" pitchFamily="34" charset="0"/>
              <a:buChar char="‐"/>
            </a:pPr>
            <a:r>
              <a:rPr lang="en-US" sz="1200" b="1" dirty="0">
                <a:solidFill>
                  <a:schemeClr val="accent4">
                    <a:lumMod val="20000"/>
                    <a:lumOff val="80000"/>
                  </a:schemeClr>
                </a:solidFill>
                <a:effectLst/>
              </a:rPr>
              <a:t>Onboarding</a:t>
            </a:r>
          </a:p>
          <a:p>
            <a:pPr marL="742950" lvl="1" indent="-285750" fontAlgn="ctr">
              <a:buFont typeface="Calibri" panose="020F0502020204030204" pitchFamily="34" charset="0"/>
              <a:buChar char="‐"/>
            </a:pPr>
            <a:r>
              <a:rPr lang="en-US" sz="1100" dirty="0">
                <a:solidFill>
                  <a:schemeClr val="accent4">
                    <a:lumMod val="20000"/>
                    <a:lumOff val="80000"/>
                  </a:schemeClr>
                </a:solidFill>
                <a:effectLst/>
              </a:rPr>
              <a:t>Pre-deployment doc with actionable step-by-step instructions (whitelisting, Stellar sensor standup, port forwarding instructions)</a:t>
            </a:r>
          </a:p>
          <a:p>
            <a:pPr marL="742950" lvl="1" indent="-285750" fontAlgn="ctr">
              <a:buFont typeface="Calibri" panose="020F0502020204030204" pitchFamily="34" charset="0"/>
              <a:buChar char="‐"/>
            </a:pPr>
            <a:r>
              <a:rPr lang="en-US" sz="1100" dirty="0">
                <a:solidFill>
                  <a:schemeClr val="accent4">
                    <a:lumMod val="20000"/>
                    <a:lumOff val="80000"/>
                  </a:schemeClr>
                </a:solidFill>
                <a:effectLst/>
              </a:rPr>
              <a:t>Pilot group</a:t>
            </a:r>
          </a:p>
          <a:p>
            <a:pPr marL="742950" lvl="1" indent="-285750" fontAlgn="ctr">
              <a:buFont typeface="Calibri" panose="020F0502020204030204" pitchFamily="34" charset="0"/>
              <a:buChar char="‐"/>
            </a:pPr>
            <a:r>
              <a:rPr lang="en-US" sz="1100" dirty="0">
                <a:solidFill>
                  <a:schemeClr val="accent4">
                    <a:lumMod val="20000"/>
                    <a:lumOff val="80000"/>
                  </a:schemeClr>
                </a:solidFill>
                <a:effectLst/>
              </a:rPr>
              <a:t>Review the pilot and continue deployment</a:t>
            </a:r>
          </a:p>
          <a:p>
            <a:pPr marL="742950" lvl="1" indent="-285750" fontAlgn="ctr">
              <a:buFont typeface="Calibri" panose="020F0502020204030204" pitchFamily="34" charset="0"/>
              <a:buChar char="‐"/>
            </a:pPr>
            <a:r>
              <a:rPr lang="en-US" sz="1100" dirty="0">
                <a:solidFill>
                  <a:schemeClr val="accent4">
                    <a:lumMod val="20000"/>
                    <a:lumOff val="80000"/>
                  </a:schemeClr>
                </a:solidFill>
                <a:effectLst/>
              </a:rPr>
              <a:t>Minimum Go-Live thresholds met: 100% servers &amp; Syslog; 85% endpoints </a:t>
            </a:r>
          </a:p>
          <a:p>
            <a:pPr marL="742950" lvl="1" indent="-285750" fontAlgn="ctr">
              <a:buFont typeface="Calibri" panose="020F0502020204030204" pitchFamily="34" charset="0"/>
              <a:buChar char="‐"/>
            </a:pPr>
            <a:r>
              <a:rPr lang="en-US" sz="1100" dirty="0">
                <a:solidFill>
                  <a:schemeClr val="accent4">
                    <a:lumMod val="20000"/>
                    <a:lumOff val="80000"/>
                  </a:schemeClr>
                </a:solidFill>
                <a:effectLst/>
              </a:rPr>
              <a:t>Handoff to SDM. </a:t>
            </a:r>
          </a:p>
          <a:p>
            <a:pPr marL="236538" indent="-236538" rtl="0" fontAlgn="ctr">
              <a:spcBef>
                <a:spcPts val="0"/>
              </a:spcBef>
              <a:spcAft>
                <a:spcPts val="0"/>
              </a:spcAft>
              <a:buFont typeface="Calibri" panose="020F0502020204030204" pitchFamily="34" charset="0"/>
              <a:buChar char="‐"/>
            </a:pPr>
            <a:r>
              <a:rPr lang="en-US" sz="1200" b="1" dirty="0">
                <a:solidFill>
                  <a:schemeClr val="accent4">
                    <a:lumMod val="20000"/>
                    <a:lumOff val="80000"/>
                  </a:schemeClr>
                </a:solidFill>
                <a:effectLst/>
              </a:rPr>
              <a:t>Typical challenges</a:t>
            </a:r>
            <a:endParaRPr lang="en-US" sz="1200" dirty="0">
              <a:solidFill>
                <a:schemeClr val="accent4">
                  <a:lumMod val="20000"/>
                  <a:lumOff val="80000"/>
                </a:schemeClr>
              </a:solidFill>
              <a:effectLst/>
            </a:endParaRPr>
          </a:p>
          <a:p>
            <a:pPr marL="742950" lvl="1" indent="-285750" rtl="0" fontAlgn="ctr">
              <a:spcBef>
                <a:spcPts val="0"/>
              </a:spcBef>
              <a:spcAft>
                <a:spcPts val="0"/>
              </a:spcAft>
              <a:buFont typeface="Calibri" panose="020F0502020204030204" pitchFamily="34" charset="0"/>
              <a:buChar char="‐"/>
            </a:pPr>
            <a:r>
              <a:rPr lang="en-US" sz="1100" dirty="0">
                <a:solidFill>
                  <a:schemeClr val="accent4">
                    <a:lumMod val="20000"/>
                    <a:lumOff val="80000"/>
                  </a:schemeClr>
                </a:solidFill>
                <a:effectLst/>
              </a:rPr>
              <a:t>Device lists and counts  - Needed to order licensing and provide keys for agent deployment</a:t>
            </a:r>
          </a:p>
          <a:p>
            <a:pPr marL="742950" lvl="1" indent="-285750" rtl="0" fontAlgn="ctr">
              <a:spcBef>
                <a:spcPts val="0"/>
              </a:spcBef>
              <a:spcAft>
                <a:spcPts val="0"/>
              </a:spcAft>
              <a:buFont typeface="Calibri" panose="020F0502020204030204" pitchFamily="34" charset="0"/>
              <a:buChar char="‐"/>
            </a:pPr>
            <a:r>
              <a:rPr lang="en-US" sz="1100" dirty="0">
                <a:solidFill>
                  <a:schemeClr val="accent4">
                    <a:lumMod val="20000"/>
                    <a:lumOff val="80000"/>
                  </a:schemeClr>
                </a:solidFill>
                <a:effectLst/>
              </a:rPr>
              <a:t>S1 has been known to cause slowness on older machines</a:t>
            </a:r>
          </a:p>
        </p:txBody>
      </p:sp>
    </p:spTree>
    <p:extLst>
      <p:ext uri="{BB962C8B-B14F-4D97-AF65-F5344CB8AC3E}">
        <p14:creationId xmlns:p14="http://schemas.microsoft.com/office/powerpoint/2010/main" val="29371682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03CCB-FC02-6A45-1014-A3F40E8EE82D}"/>
              </a:ext>
            </a:extLst>
          </p:cNvPr>
          <p:cNvSpPr>
            <a:spLocks noGrp="1"/>
          </p:cNvSpPr>
          <p:nvPr>
            <p:ph type="title"/>
          </p:nvPr>
        </p:nvSpPr>
        <p:spPr>
          <a:xfrm>
            <a:off x="2584800" y="2430000"/>
            <a:ext cx="5492400" cy="1594622"/>
          </a:xfrm>
        </p:spPr>
        <p:txBody>
          <a:bodyPr/>
          <a:lstStyle/>
          <a:p>
            <a:r>
              <a:rPr lang="en-US" dirty="0"/>
              <a:t>Individual Services &amp; Capabilities</a:t>
            </a:r>
          </a:p>
        </p:txBody>
      </p:sp>
    </p:spTree>
    <p:extLst>
      <p:ext uri="{BB962C8B-B14F-4D97-AF65-F5344CB8AC3E}">
        <p14:creationId xmlns:p14="http://schemas.microsoft.com/office/powerpoint/2010/main" val="14196935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110"/>
          <p:cNvSpPr/>
          <p:nvPr/>
        </p:nvSpPr>
        <p:spPr>
          <a:xfrm>
            <a:off x="559856" y="1173700"/>
            <a:ext cx="11453462" cy="830997"/>
          </a:xfrm>
          <a:prstGeom prst="rect">
            <a:avLst/>
          </a:prstGeom>
        </p:spPr>
        <p:txBody>
          <a:bodyPr wrap="square" lIns="91440" tIns="45720" rIns="91440" bIns="45720" anchor="t">
            <a:spAutoFit/>
          </a:bodyPr>
          <a:lstStyle/>
          <a:p>
            <a:pPr>
              <a:defRPr/>
            </a:pPr>
            <a:r>
              <a:rPr kumimoji="0" lang="en-US" sz="1600" b="0" i="0" u="none" strike="noStrike" kern="1200" cap="none" spc="0" normalizeH="0" baseline="0" noProof="0" dirty="0">
                <a:ln>
                  <a:noFill/>
                </a:ln>
                <a:solidFill>
                  <a:schemeClr val="tx2"/>
                </a:solidFill>
                <a:effectLst/>
                <a:uLnTx/>
                <a:uFillTx/>
                <a:latin typeface="Arial" panose="020B0604020202020204"/>
                <a:ea typeface="+mn-ea"/>
                <a:cs typeface="+mn-cs"/>
              </a:rPr>
              <a:t>Innovative</a:t>
            </a:r>
            <a:r>
              <a:rPr kumimoji="0" lang="en-US" sz="1600" b="0" i="0" u="none" strike="noStrike" kern="1200" cap="none" spc="0" normalizeH="0" baseline="0" noProof="0" dirty="0">
                <a:ln>
                  <a:noFill/>
                </a:ln>
                <a:solidFill>
                  <a:srgbClr val="595959"/>
                </a:solidFill>
                <a:effectLst/>
                <a:uLnTx/>
                <a:uFillTx/>
                <a:latin typeface="Arial" panose="020B0604020202020204"/>
                <a:ea typeface="+mn-ea"/>
                <a:cs typeface="+mn-cs"/>
              </a:rPr>
              <a:t> </a:t>
            </a:r>
            <a:r>
              <a:rPr kumimoji="0" lang="en-US" sz="1600" b="0" i="0" u="none" strike="noStrike" kern="1200" cap="none" spc="0" normalizeH="0" baseline="0" noProof="0" dirty="0">
                <a:ln>
                  <a:noFill/>
                </a:ln>
                <a:solidFill>
                  <a:srgbClr val="009CDE"/>
                </a:solidFill>
                <a:effectLst/>
                <a:uLnTx/>
                <a:uFillTx/>
                <a:latin typeface="Arial" panose="020B0604020202020204"/>
                <a:ea typeface="+mn-ea"/>
                <a:cs typeface="+mn-cs"/>
              </a:rPr>
              <a:t>security monitoring and response </a:t>
            </a:r>
            <a:r>
              <a:rPr kumimoji="0" lang="en-US" sz="1600" b="0" i="0" u="none" strike="noStrike" kern="1200" cap="none" spc="0" normalizeH="0" baseline="0" noProof="0" dirty="0">
                <a:ln>
                  <a:noFill/>
                </a:ln>
                <a:solidFill>
                  <a:schemeClr val="tx2"/>
                </a:solidFill>
                <a:effectLst/>
                <a:uLnTx/>
                <a:uFillTx/>
                <a:latin typeface="Arial" panose="020B0604020202020204"/>
                <a:ea typeface="+mn-ea"/>
                <a:cs typeface="+mn-cs"/>
              </a:rPr>
              <a:t>enables organizations to effectively and efficiently respond to incidents through orchestration and automation. It also allows the organization to transform reactive processes into proactive ones by integrating threat hunting and intelligence.</a:t>
            </a:r>
          </a:p>
        </p:txBody>
      </p:sp>
      <p:sp>
        <p:nvSpPr>
          <p:cNvPr id="112" name="Title 4"/>
          <p:cNvSpPr>
            <a:spLocks noGrp="1"/>
          </p:cNvSpPr>
          <p:nvPr>
            <p:ph type="title" idx="4294967295"/>
          </p:nvPr>
        </p:nvSpPr>
        <p:spPr>
          <a:xfrm>
            <a:off x="627726" y="236538"/>
            <a:ext cx="11564274" cy="553998"/>
          </a:xfrm>
        </p:spPr>
        <p:txBody>
          <a:bodyPr/>
          <a:lstStyle/>
          <a:p>
            <a:r>
              <a:rPr lang="en-US" dirty="0">
                <a:latin typeface="Arial"/>
                <a:cs typeface="Arial"/>
              </a:rPr>
              <a:t>Security monitoring and response</a:t>
            </a:r>
          </a:p>
        </p:txBody>
      </p:sp>
      <p:sp>
        <p:nvSpPr>
          <p:cNvPr id="215" name="Slide Number Placeholder 3"/>
          <p:cNvSpPr txBox="1">
            <a:spLocks/>
          </p:cNvSpPr>
          <p:nvPr/>
        </p:nvSpPr>
        <p:spPr>
          <a:xfrm>
            <a:off x="26570" y="6560370"/>
            <a:ext cx="2057400" cy="279664"/>
          </a:xfrm>
          <a:prstGeom prst="rect">
            <a:avLst/>
          </a:prstGeom>
        </p:spPr>
        <p:txBody>
          <a:bodyPr/>
          <a:lstStyle>
            <a:defPPr>
              <a:defRPr lang="en-US"/>
            </a:defPPr>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36A99BC-3C9D-4DF8-8B8C-E1FD2BDF0AD4}" type="slidenum">
              <a:rPr kumimoji="0" lang="en-US" sz="1000" b="0" i="0" u="none" strike="noStrike" kern="1200" cap="none" spc="0" normalizeH="0" baseline="0" noProof="0" smtClean="0">
                <a:ln>
                  <a:noFill/>
                </a:ln>
                <a:solidFill>
                  <a:srgbClr val="595959"/>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rgbClr val="595959"/>
              </a:solidFill>
              <a:effectLst/>
              <a:uLnTx/>
              <a:uFillTx/>
              <a:latin typeface="Arial" panose="020B0604020202020204" pitchFamily="34" charset="0"/>
              <a:ea typeface="+mn-ea"/>
              <a:cs typeface="Arial" panose="020B0604020202020204" pitchFamily="34" charset="0"/>
            </a:endParaRPr>
          </a:p>
        </p:txBody>
      </p:sp>
      <p:grpSp>
        <p:nvGrpSpPr>
          <p:cNvPr id="2" name="Group 1">
            <a:extLst>
              <a:ext uri="{FF2B5EF4-FFF2-40B4-BE49-F238E27FC236}">
                <a16:creationId xmlns:a16="http://schemas.microsoft.com/office/drawing/2014/main" id="{F4C02FF1-8AFF-355C-19B9-F118E40A7F64}"/>
              </a:ext>
            </a:extLst>
          </p:cNvPr>
          <p:cNvGrpSpPr/>
          <p:nvPr/>
        </p:nvGrpSpPr>
        <p:grpSpPr>
          <a:xfrm>
            <a:off x="543331" y="2514600"/>
            <a:ext cx="10846795" cy="3937399"/>
            <a:chOff x="543331" y="2223751"/>
            <a:chExt cx="10846795" cy="3937399"/>
          </a:xfrm>
        </p:grpSpPr>
        <p:sp>
          <p:nvSpPr>
            <p:cNvPr id="12" name="Oval 11"/>
            <p:cNvSpPr>
              <a:spLocks noChangeAspect="1"/>
            </p:cNvSpPr>
            <p:nvPr/>
          </p:nvSpPr>
          <p:spPr>
            <a:xfrm>
              <a:off x="2836319" y="3726239"/>
              <a:ext cx="567771" cy="5677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panose="020B0604020202020204"/>
                <a:ea typeface="+mn-ea"/>
                <a:cs typeface="+mn-cs"/>
              </a:endParaRPr>
            </a:p>
          </p:txBody>
        </p:sp>
        <p:grpSp>
          <p:nvGrpSpPr>
            <p:cNvPr id="27" name="Group 26"/>
            <p:cNvGrpSpPr/>
            <p:nvPr/>
          </p:nvGrpSpPr>
          <p:grpSpPr>
            <a:xfrm rot="10800000" flipH="1">
              <a:off x="2762078" y="3668067"/>
              <a:ext cx="2148126" cy="2107691"/>
              <a:chOff x="1751189" y="1829227"/>
              <a:chExt cx="2148126" cy="2107691"/>
            </a:xfrm>
          </p:grpSpPr>
          <p:sp>
            <p:nvSpPr>
              <p:cNvPr id="28" name="Arc 27"/>
              <p:cNvSpPr/>
              <p:nvPr/>
            </p:nvSpPr>
            <p:spPr>
              <a:xfrm>
                <a:off x="1751189" y="3216918"/>
                <a:ext cx="720000" cy="720000"/>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9" name="Arc 28"/>
              <p:cNvSpPr/>
              <p:nvPr/>
            </p:nvSpPr>
            <p:spPr>
              <a:xfrm rot="16200000">
                <a:off x="3179315" y="3216918"/>
                <a:ext cx="720000" cy="720000"/>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cxnSp>
            <p:nvCxnSpPr>
              <p:cNvPr id="30" name="Straight Connector 29"/>
              <p:cNvCxnSpPr>
                <a:endCxn id="29" idx="0"/>
              </p:cNvCxnSpPr>
              <p:nvPr/>
            </p:nvCxnSpPr>
            <p:spPr>
              <a:xfrm>
                <a:off x="2471189" y="3576918"/>
                <a:ext cx="70812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Oval 30"/>
              <p:cNvSpPr>
                <a:spLocks noChangeAspect="1"/>
              </p:cNvSpPr>
              <p:nvPr/>
            </p:nvSpPr>
            <p:spPr>
              <a:xfrm>
                <a:off x="3128963" y="3521273"/>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2" name="Oval 31"/>
              <p:cNvSpPr>
                <a:spLocks noChangeAspect="1"/>
              </p:cNvSpPr>
              <p:nvPr/>
            </p:nvSpPr>
            <p:spPr>
              <a:xfrm>
                <a:off x="3495243" y="3174719"/>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3" name="Oval 32"/>
              <p:cNvSpPr>
                <a:spLocks noChangeAspect="1"/>
              </p:cNvSpPr>
              <p:nvPr/>
            </p:nvSpPr>
            <p:spPr>
              <a:xfrm>
                <a:off x="2068991" y="3170580"/>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4" name="Oval 33"/>
              <p:cNvSpPr>
                <a:spLocks noChangeAspect="1"/>
              </p:cNvSpPr>
              <p:nvPr/>
            </p:nvSpPr>
            <p:spPr>
              <a:xfrm>
                <a:off x="2434202" y="3521273"/>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cxnSp>
            <p:nvCxnSpPr>
              <p:cNvPr id="35" name="Straight Connector 34"/>
              <p:cNvCxnSpPr/>
              <p:nvPr/>
            </p:nvCxnSpPr>
            <p:spPr>
              <a:xfrm>
                <a:off x="3537440" y="1909482"/>
                <a:ext cx="0" cy="130143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Oval 35"/>
              <p:cNvSpPr>
                <a:spLocks noChangeAspect="1"/>
              </p:cNvSpPr>
              <p:nvPr/>
            </p:nvSpPr>
            <p:spPr>
              <a:xfrm>
                <a:off x="3495242" y="1829227"/>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grpSp>
        <p:grpSp>
          <p:nvGrpSpPr>
            <p:cNvPr id="37" name="Group 36"/>
            <p:cNvGrpSpPr/>
            <p:nvPr/>
          </p:nvGrpSpPr>
          <p:grpSpPr>
            <a:xfrm>
              <a:off x="4190139" y="2251960"/>
              <a:ext cx="2148126" cy="2107691"/>
              <a:chOff x="1751189" y="1829227"/>
              <a:chExt cx="2148126" cy="2107691"/>
            </a:xfrm>
          </p:grpSpPr>
          <p:sp>
            <p:nvSpPr>
              <p:cNvPr id="38" name="Arc 37"/>
              <p:cNvSpPr/>
              <p:nvPr/>
            </p:nvSpPr>
            <p:spPr>
              <a:xfrm>
                <a:off x="1751189" y="3216918"/>
                <a:ext cx="720000" cy="720000"/>
              </a:xfrm>
              <a:prstGeom prst="arc">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9" name="Arc 38"/>
              <p:cNvSpPr/>
              <p:nvPr/>
            </p:nvSpPr>
            <p:spPr>
              <a:xfrm rot="16200000">
                <a:off x="3179315" y="3216918"/>
                <a:ext cx="720000" cy="720000"/>
              </a:xfrm>
              <a:prstGeom prst="arc">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cxnSp>
            <p:nvCxnSpPr>
              <p:cNvPr id="40" name="Straight Connector 39"/>
              <p:cNvCxnSpPr>
                <a:endCxn id="39" idx="0"/>
              </p:cNvCxnSpPr>
              <p:nvPr/>
            </p:nvCxnSpPr>
            <p:spPr>
              <a:xfrm>
                <a:off x="2471189" y="3576918"/>
                <a:ext cx="708126"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Oval 40"/>
              <p:cNvSpPr>
                <a:spLocks noChangeAspect="1"/>
              </p:cNvSpPr>
              <p:nvPr/>
            </p:nvSpPr>
            <p:spPr>
              <a:xfrm>
                <a:off x="3128963" y="3521273"/>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42" name="Oval 41"/>
              <p:cNvSpPr>
                <a:spLocks noChangeAspect="1"/>
              </p:cNvSpPr>
              <p:nvPr/>
            </p:nvSpPr>
            <p:spPr>
              <a:xfrm>
                <a:off x="3495243" y="3174719"/>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43" name="Oval 42"/>
              <p:cNvSpPr>
                <a:spLocks noChangeAspect="1"/>
              </p:cNvSpPr>
              <p:nvPr/>
            </p:nvSpPr>
            <p:spPr>
              <a:xfrm>
                <a:off x="2068991" y="3170580"/>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44" name="Oval 43"/>
              <p:cNvSpPr>
                <a:spLocks noChangeAspect="1"/>
              </p:cNvSpPr>
              <p:nvPr/>
            </p:nvSpPr>
            <p:spPr>
              <a:xfrm>
                <a:off x="2434202" y="3521273"/>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cxnSp>
            <p:nvCxnSpPr>
              <p:cNvPr id="45" name="Straight Connector 44"/>
              <p:cNvCxnSpPr/>
              <p:nvPr/>
            </p:nvCxnSpPr>
            <p:spPr>
              <a:xfrm>
                <a:off x="3537440" y="1909482"/>
                <a:ext cx="0" cy="1301439"/>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Oval 45"/>
              <p:cNvSpPr>
                <a:spLocks noChangeAspect="1"/>
              </p:cNvSpPr>
              <p:nvPr/>
            </p:nvSpPr>
            <p:spPr>
              <a:xfrm>
                <a:off x="3495242" y="1829227"/>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grpSp>
        <p:grpSp>
          <p:nvGrpSpPr>
            <p:cNvPr id="47" name="Group 46"/>
            <p:cNvGrpSpPr/>
            <p:nvPr/>
          </p:nvGrpSpPr>
          <p:grpSpPr>
            <a:xfrm rot="10800000" flipH="1">
              <a:off x="5610110" y="3668067"/>
              <a:ext cx="2148126" cy="2107691"/>
              <a:chOff x="1751189" y="1829227"/>
              <a:chExt cx="2148126" cy="2107691"/>
            </a:xfrm>
          </p:grpSpPr>
          <p:sp>
            <p:nvSpPr>
              <p:cNvPr id="48" name="Arc 47"/>
              <p:cNvSpPr/>
              <p:nvPr/>
            </p:nvSpPr>
            <p:spPr>
              <a:xfrm>
                <a:off x="1751189" y="3216918"/>
                <a:ext cx="720000" cy="720000"/>
              </a:xfrm>
              <a:prstGeom prst="arc">
                <a:avLst/>
              </a:prstGeom>
              <a:ln w="28575">
                <a:solidFill>
                  <a:srgbClr val="888B8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49" name="Arc 48"/>
              <p:cNvSpPr/>
              <p:nvPr/>
            </p:nvSpPr>
            <p:spPr>
              <a:xfrm rot="16200000">
                <a:off x="3179315" y="3216918"/>
                <a:ext cx="720000" cy="720000"/>
              </a:xfrm>
              <a:prstGeom prst="arc">
                <a:avLst/>
              </a:prstGeom>
              <a:ln w="28575">
                <a:solidFill>
                  <a:srgbClr val="888B8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cxnSp>
            <p:nvCxnSpPr>
              <p:cNvPr id="50" name="Straight Connector 49"/>
              <p:cNvCxnSpPr>
                <a:endCxn id="49" idx="0"/>
              </p:cNvCxnSpPr>
              <p:nvPr/>
            </p:nvCxnSpPr>
            <p:spPr>
              <a:xfrm>
                <a:off x="2471189" y="3576918"/>
                <a:ext cx="708126" cy="0"/>
              </a:xfrm>
              <a:prstGeom prst="line">
                <a:avLst/>
              </a:prstGeom>
              <a:ln w="28575">
                <a:solidFill>
                  <a:srgbClr val="888B8D"/>
                </a:solidFill>
              </a:ln>
            </p:spPr>
            <p:style>
              <a:lnRef idx="1">
                <a:schemeClr val="accent1"/>
              </a:lnRef>
              <a:fillRef idx="0">
                <a:schemeClr val="accent1"/>
              </a:fillRef>
              <a:effectRef idx="0">
                <a:schemeClr val="accent1"/>
              </a:effectRef>
              <a:fontRef idx="minor">
                <a:schemeClr val="tx1"/>
              </a:fontRef>
            </p:style>
          </p:cxnSp>
          <p:sp>
            <p:nvSpPr>
              <p:cNvPr id="51" name="Oval 50"/>
              <p:cNvSpPr>
                <a:spLocks noChangeAspect="1"/>
              </p:cNvSpPr>
              <p:nvPr/>
            </p:nvSpPr>
            <p:spPr>
              <a:xfrm>
                <a:off x="3128963" y="3521273"/>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2" name="Oval 51"/>
              <p:cNvSpPr>
                <a:spLocks noChangeAspect="1"/>
              </p:cNvSpPr>
              <p:nvPr/>
            </p:nvSpPr>
            <p:spPr>
              <a:xfrm>
                <a:off x="3495243" y="3174719"/>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3" name="Oval 52"/>
              <p:cNvSpPr>
                <a:spLocks noChangeAspect="1"/>
              </p:cNvSpPr>
              <p:nvPr/>
            </p:nvSpPr>
            <p:spPr>
              <a:xfrm>
                <a:off x="2068991" y="3170580"/>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4" name="Oval 53"/>
              <p:cNvSpPr>
                <a:spLocks noChangeAspect="1"/>
              </p:cNvSpPr>
              <p:nvPr/>
            </p:nvSpPr>
            <p:spPr>
              <a:xfrm>
                <a:off x="2434202" y="3521273"/>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cxnSp>
            <p:nvCxnSpPr>
              <p:cNvPr id="55" name="Straight Connector 54"/>
              <p:cNvCxnSpPr/>
              <p:nvPr/>
            </p:nvCxnSpPr>
            <p:spPr>
              <a:xfrm>
                <a:off x="3537440" y="1909482"/>
                <a:ext cx="0" cy="1301439"/>
              </a:xfrm>
              <a:prstGeom prst="line">
                <a:avLst/>
              </a:prstGeom>
              <a:ln w="28575">
                <a:solidFill>
                  <a:srgbClr val="888B8D"/>
                </a:solidFill>
              </a:ln>
            </p:spPr>
            <p:style>
              <a:lnRef idx="1">
                <a:schemeClr val="accent1"/>
              </a:lnRef>
              <a:fillRef idx="0">
                <a:schemeClr val="accent1"/>
              </a:fillRef>
              <a:effectRef idx="0">
                <a:schemeClr val="accent1"/>
              </a:effectRef>
              <a:fontRef idx="minor">
                <a:schemeClr val="tx1"/>
              </a:fontRef>
            </p:style>
          </p:cxnSp>
          <p:sp>
            <p:nvSpPr>
              <p:cNvPr id="56" name="Oval 55"/>
              <p:cNvSpPr>
                <a:spLocks noChangeAspect="1"/>
              </p:cNvSpPr>
              <p:nvPr/>
            </p:nvSpPr>
            <p:spPr>
              <a:xfrm>
                <a:off x="3495242" y="1829227"/>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grpSp>
        <p:sp>
          <p:nvSpPr>
            <p:cNvPr id="57" name="Oval 56"/>
            <p:cNvSpPr>
              <a:spLocks noChangeAspect="1"/>
            </p:cNvSpPr>
            <p:nvPr/>
          </p:nvSpPr>
          <p:spPr>
            <a:xfrm>
              <a:off x="4262411" y="3726239"/>
              <a:ext cx="567771" cy="5677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58" name="Oval 57"/>
            <p:cNvSpPr>
              <a:spLocks noChangeAspect="1"/>
            </p:cNvSpPr>
            <p:nvPr/>
          </p:nvSpPr>
          <p:spPr>
            <a:xfrm>
              <a:off x="5686351" y="3726239"/>
              <a:ext cx="567771" cy="56777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60" name="Oval 59"/>
            <p:cNvSpPr>
              <a:spLocks noChangeAspect="1"/>
            </p:cNvSpPr>
            <p:nvPr/>
          </p:nvSpPr>
          <p:spPr>
            <a:xfrm>
              <a:off x="7100783" y="3715766"/>
              <a:ext cx="567771" cy="567771"/>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56" name="TextBox 155"/>
            <p:cNvSpPr txBox="1"/>
            <p:nvPr/>
          </p:nvSpPr>
          <p:spPr>
            <a:xfrm>
              <a:off x="559856" y="2223751"/>
              <a:ext cx="2595512" cy="153888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effectLst/>
                  <a:uLnTx/>
                  <a:uFillTx/>
                  <a:latin typeface="Arial" panose="020B0604020202020204"/>
                  <a:ea typeface="+mn-ea"/>
                  <a:cs typeface="+mn-cs"/>
                </a:rPr>
                <a:t>Logging and monitoring</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effectLst/>
                  <a:uLnTx/>
                  <a:uFillTx/>
                  <a:latin typeface="Arial" panose="020B0604020202020204"/>
                  <a:ea typeface="+mn-ea"/>
                  <a:cs typeface="+mn-cs"/>
                </a:rPr>
                <a:t>All key logs are ingested into a SIEM with appropriate context to allow informed actioning of alerts.</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effectLst/>
                  <a:uLnTx/>
                  <a:uFillTx/>
                  <a:latin typeface="Arial" panose="020B0604020202020204"/>
                  <a:ea typeface="+mn-ea"/>
                  <a:cs typeface="+mn-cs"/>
                </a:rPr>
                <a:t>Asset criticality and CMDB are properly identified because you cannot protect what you do not know.</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effectLst/>
                  <a:uLnTx/>
                  <a:uFillTx/>
                  <a:latin typeface="Arial" panose="020B0604020202020204"/>
                  <a:ea typeface="+mn-ea"/>
                  <a:cs typeface="+mn-cs"/>
                </a:rPr>
                <a:t>Logging policy is in effect and properly enforced.</a:t>
              </a:r>
            </a:p>
          </p:txBody>
        </p:sp>
        <p:sp>
          <p:nvSpPr>
            <p:cNvPr id="157" name="TextBox 156"/>
            <p:cNvSpPr txBox="1"/>
            <p:nvPr/>
          </p:nvSpPr>
          <p:spPr>
            <a:xfrm>
              <a:off x="1895614" y="4468379"/>
              <a:ext cx="2595512" cy="12311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effectLst/>
                  <a:uLnTx/>
                  <a:uFillTx/>
                  <a:latin typeface="Arial" panose="020B0604020202020204"/>
                  <a:ea typeface="+mn-ea"/>
                  <a:cs typeface="+mn-cs"/>
                </a:rPr>
                <a:t>Threat intelligence</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effectLst/>
                  <a:uLnTx/>
                  <a:uFillTx/>
                  <a:latin typeface="Arial" panose="020B0604020202020204"/>
                  <a:ea typeface="+mn-ea"/>
                  <a:cs typeface="+mn-cs"/>
                </a:rPr>
                <a:t>External and internal threats are identified to the organization via structured research process.</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effectLst/>
                  <a:uLnTx/>
                  <a:uFillTx/>
                  <a:latin typeface="Arial" panose="020B0604020202020204"/>
                  <a:ea typeface="+mn-ea"/>
                  <a:cs typeface="+mn-cs"/>
                </a:rPr>
                <a:t>PIRs (priority intelligence requirements) are built to drive the threat intel plan/program.</a:t>
              </a:r>
            </a:p>
          </p:txBody>
        </p:sp>
        <p:grpSp>
          <p:nvGrpSpPr>
            <p:cNvPr id="113" name="Group 112"/>
            <p:cNvGrpSpPr/>
            <p:nvPr/>
          </p:nvGrpSpPr>
          <p:grpSpPr>
            <a:xfrm>
              <a:off x="7025026" y="2251960"/>
              <a:ext cx="2148126" cy="2107691"/>
              <a:chOff x="1751189" y="1829227"/>
              <a:chExt cx="2148126" cy="2107691"/>
            </a:xfrm>
          </p:grpSpPr>
          <p:sp>
            <p:nvSpPr>
              <p:cNvPr id="114" name="Arc 113"/>
              <p:cNvSpPr/>
              <p:nvPr/>
            </p:nvSpPr>
            <p:spPr>
              <a:xfrm>
                <a:off x="1751189" y="3216918"/>
                <a:ext cx="720000" cy="720000"/>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5" name="Arc 114"/>
              <p:cNvSpPr/>
              <p:nvPr/>
            </p:nvSpPr>
            <p:spPr>
              <a:xfrm rot="16200000">
                <a:off x="3179315" y="3216918"/>
                <a:ext cx="720000" cy="720000"/>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cxnSp>
            <p:nvCxnSpPr>
              <p:cNvPr id="116" name="Straight Connector 115"/>
              <p:cNvCxnSpPr>
                <a:endCxn id="115" idx="0"/>
              </p:cNvCxnSpPr>
              <p:nvPr/>
            </p:nvCxnSpPr>
            <p:spPr>
              <a:xfrm>
                <a:off x="2471189" y="3576918"/>
                <a:ext cx="70812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7" name="Oval 116"/>
              <p:cNvSpPr>
                <a:spLocks noChangeAspect="1"/>
              </p:cNvSpPr>
              <p:nvPr/>
            </p:nvSpPr>
            <p:spPr>
              <a:xfrm>
                <a:off x="3128963" y="3521273"/>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8" name="Oval 117"/>
              <p:cNvSpPr>
                <a:spLocks noChangeAspect="1"/>
              </p:cNvSpPr>
              <p:nvPr/>
            </p:nvSpPr>
            <p:spPr>
              <a:xfrm>
                <a:off x="3495243" y="3174719"/>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9" name="Oval 118"/>
              <p:cNvSpPr>
                <a:spLocks noChangeAspect="1"/>
              </p:cNvSpPr>
              <p:nvPr/>
            </p:nvSpPr>
            <p:spPr>
              <a:xfrm>
                <a:off x="2068991" y="3170580"/>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0" name="Oval 119"/>
              <p:cNvSpPr>
                <a:spLocks noChangeAspect="1"/>
              </p:cNvSpPr>
              <p:nvPr/>
            </p:nvSpPr>
            <p:spPr>
              <a:xfrm>
                <a:off x="2434202" y="3521273"/>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cxnSp>
            <p:nvCxnSpPr>
              <p:cNvPr id="121" name="Straight Connector 120"/>
              <p:cNvCxnSpPr/>
              <p:nvPr/>
            </p:nvCxnSpPr>
            <p:spPr>
              <a:xfrm>
                <a:off x="3537440" y="1909482"/>
                <a:ext cx="0" cy="130143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2" name="Oval 121"/>
              <p:cNvSpPr>
                <a:spLocks noChangeAspect="1"/>
              </p:cNvSpPr>
              <p:nvPr/>
            </p:nvSpPr>
            <p:spPr>
              <a:xfrm>
                <a:off x="3495242" y="1829227"/>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grpSp>
        <p:grpSp>
          <p:nvGrpSpPr>
            <p:cNvPr id="123" name="Group 122"/>
            <p:cNvGrpSpPr/>
            <p:nvPr/>
          </p:nvGrpSpPr>
          <p:grpSpPr>
            <a:xfrm rot="10800000" flipH="1">
              <a:off x="8472953" y="3668066"/>
              <a:ext cx="2148126" cy="2107691"/>
              <a:chOff x="1751189" y="1829227"/>
              <a:chExt cx="2148126" cy="2107691"/>
            </a:xfrm>
          </p:grpSpPr>
          <p:sp>
            <p:nvSpPr>
              <p:cNvPr id="124" name="Arc 123"/>
              <p:cNvSpPr/>
              <p:nvPr/>
            </p:nvSpPr>
            <p:spPr>
              <a:xfrm>
                <a:off x="1751189" y="3216918"/>
                <a:ext cx="720000" cy="720000"/>
              </a:xfrm>
              <a:prstGeom prst="arc">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5" name="Arc 124"/>
              <p:cNvSpPr/>
              <p:nvPr/>
            </p:nvSpPr>
            <p:spPr>
              <a:xfrm rot="16200000">
                <a:off x="3179315" y="3216918"/>
                <a:ext cx="720000" cy="720000"/>
              </a:xfrm>
              <a:prstGeom prst="arc">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cxnSp>
            <p:nvCxnSpPr>
              <p:cNvPr id="126" name="Straight Connector 125"/>
              <p:cNvCxnSpPr>
                <a:endCxn id="125" idx="0"/>
              </p:cNvCxnSpPr>
              <p:nvPr/>
            </p:nvCxnSpPr>
            <p:spPr>
              <a:xfrm>
                <a:off x="2471189" y="3576918"/>
                <a:ext cx="708126"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7" name="Oval 126"/>
              <p:cNvSpPr>
                <a:spLocks noChangeAspect="1"/>
              </p:cNvSpPr>
              <p:nvPr/>
            </p:nvSpPr>
            <p:spPr>
              <a:xfrm>
                <a:off x="3128963" y="3521273"/>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8" name="Oval 127"/>
              <p:cNvSpPr>
                <a:spLocks noChangeAspect="1"/>
              </p:cNvSpPr>
              <p:nvPr/>
            </p:nvSpPr>
            <p:spPr>
              <a:xfrm>
                <a:off x="3495243" y="3174719"/>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9" name="Oval 128"/>
              <p:cNvSpPr>
                <a:spLocks noChangeAspect="1"/>
              </p:cNvSpPr>
              <p:nvPr/>
            </p:nvSpPr>
            <p:spPr>
              <a:xfrm>
                <a:off x="2068991" y="3170580"/>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0" name="Oval 129"/>
              <p:cNvSpPr>
                <a:spLocks noChangeAspect="1"/>
              </p:cNvSpPr>
              <p:nvPr/>
            </p:nvSpPr>
            <p:spPr>
              <a:xfrm>
                <a:off x="2434202" y="3521273"/>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cxnSp>
            <p:nvCxnSpPr>
              <p:cNvPr id="131" name="Straight Connector 130"/>
              <p:cNvCxnSpPr/>
              <p:nvPr/>
            </p:nvCxnSpPr>
            <p:spPr>
              <a:xfrm>
                <a:off x="3537440" y="1909482"/>
                <a:ext cx="0" cy="1301439"/>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2" name="Oval 131"/>
              <p:cNvSpPr>
                <a:spLocks noChangeAspect="1"/>
              </p:cNvSpPr>
              <p:nvPr/>
            </p:nvSpPr>
            <p:spPr>
              <a:xfrm>
                <a:off x="3495242" y="1829227"/>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grpSp>
        <p:sp>
          <p:nvSpPr>
            <p:cNvPr id="133" name="Oval 132"/>
            <p:cNvSpPr>
              <a:spLocks noChangeAspect="1"/>
            </p:cNvSpPr>
            <p:nvPr/>
          </p:nvSpPr>
          <p:spPr>
            <a:xfrm flipH="1">
              <a:off x="8533665" y="3731373"/>
              <a:ext cx="567771" cy="5677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34" name="Oval 133"/>
            <p:cNvSpPr>
              <a:spLocks noChangeAspect="1"/>
            </p:cNvSpPr>
            <p:nvPr/>
          </p:nvSpPr>
          <p:spPr>
            <a:xfrm>
              <a:off x="9983067" y="3734688"/>
              <a:ext cx="567771" cy="56777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panose="020B0604020202020204"/>
                <a:ea typeface="+mn-ea"/>
                <a:cs typeface="+mn-cs"/>
              </a:endParaRPr>
            </a:p>
          </p:txBody>
        </p:sp>
        <p:grpSp>
          <p:nvGrpSpPr>
            <p:cNvPr id="178" name="Group 177"/>
            <p:cNvGrpSpPr/>
            <p:nvPr/>
          </p:nvGrpSpPr>
          <p:grpSpPr>
            <a:xfrm rot="10800000" flipH="1" flipV="1">
              <a:off x="9899295" y="3609852"/>
              <a:ext cx="1462169" cy="766338"/>
              <a:chOff x="1751189" y="3170580"/>
              <a:chExt cx="1462169" cy="766338"/>
            </a:xfrm>
          </p:grpSpPr>
          <p:sp>
            <p:nvSpPr>
              <p:cNvPr id="179" name="Arc 178"/>
              <p:cNvSpPr/>
              <p:nvPr/>
            </p:nvSpPr>
            <p:spPr>
              <a:xfrm>
                <a:off x="1751189" y="3216918"/>
                <a:ext cx="720000" cy="720000"/>
              </a:xfrm>
              <a:prstGeom prst="arc">
                <a:avLst/>
              </a:prstGeom>
              <a:ln w="28575">
                <a:solidFill>
                  <a:srgbClr val="888B8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cxnSp>
            <p:nvCxnSpPr>
              <p:cNvPr id="181" name="Straight Connector 180"/>
              <p:cNvCxnSpPr/>
              <p:nvPr/>
            </p:nvCxnSpPr>
            <p:spPr>
              <a:xfrm>
                <a:off x="2471189" y="3576918"/>
                <a:ext cx="708126" cy="0"/>
              </a:xfrm>
              <a:prstGeom prst="line">
                <a:avLst/>
              </a:prstGeom>
              <a:ln w="28575">
                <a:solidFill>
                  <a:srgbClr val="888B8D"/>
                </a:solidFill>
              </a:ln>
            </p:spPr>
            <p:style>
              <a:lnRef idx="1">
                <a:schemeClr val="accent1"/>
              </a:lnRef>
              <a:fillRef idx="0">
                <a:schemeClr val="accent1"/>
              </a:fillRef>
              <a:effectRef idx="0">
                <a:schemeClr val="accent1"/>
              </a:effectRef>
              <a:fontRef idx="minor">
                <a:schemeClr val="tx1"/>
              </a:fontRef>
            </p:style>
          </p:cxnSp>
          <p:sp>
            <p:nvSpPr>
              <p:cNvPr id="182" name="Oval 181"/>
              <p:cNvSpPr>
                <a:spLocks noChangeAspect="1"/>
              </p:cNvSpPr>
              <p:nvPr/>
            </p:nvSpPr>
            <p:spPr>
              <a:xfrm>
                <a:off x="3128963" y="3521273"/>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84" name="Oval 183"/>
              <p:cNvSpPr>
                <a:spLocks noChangeAspect="1"/>
              </p:cNvSpPr>
              <p:nvPr/>
            </p:nvSpPr>
            <p:spPr>
              <a:xfrm>
                <a:off x="2068991" y="3170580"/>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85" name="Oval 184"/>
              <p:cNvSpPr>
                <a:spLocks noChangeAspect="1"/>
              </p:cNvSpPr>
              <p:nvPr/>
            </p:nvSpPr>
            <p:spPr>
              <a:xfrm>
                <a:off x="2434202" y="3521273"/>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grpSp>
        <p:sp>
          <p:nvSpPr>
            <p:cNvPr id="209" name="TextBox 208"/>
            <p:cNvSpPr txBox="1"/>
            <p:nvPr/>
          </p:nvSpPr>
          <p:spPr>
            <a:xfrm>
              <a:off x="3392256" y="2223751"/>
              <a:ext cx="2595512"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effectLst/>
                  <a:uLnTx/>
                  <a:uFillTx/>
                  <a:latin typeface="Arial" panose="020B0604020202020204"/>
                  <a:ea typeface="+mn-ea"/>
                  <a:cs typeface="+mn-cs"/>
                </a:rPr>
                <a:t>Orchestration and automation</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effectLst/>
                  <a:uLnTx/>
                  <a:uFillTx/>
                  <a:latin typeface="Arial" panose="020B0604020202020204"/>
                  <a:ea typeface="+mn-ea"/>
                  <a:cs typeface="+mn-cs"/>
                </a:rPr>
                <a:t>Low-risk repeatable tasks are automated with minimal analyst oversight.</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effectLst/>
                  <a:uLnTx/>
                  <a:uFillTx/>
                  <a:latin typeface="Arial" panose="020B0604020202020204"/>
                  <a:ea typeface="+mn-ea"/>
                  <a:cs typeface="+mn-cs"/>
                </a:rPr>
                <a:t>Alerts are logged in by IT service management for workflow and reporting.</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effectLst/>
                  <a:uLnTx/>
                  <a:uFillTx/>
                  <a:latin typeface="Arial" panose="020B0604020202020204"/>
                  <a:ea typeface="+mn-ea"/>
                  <a:cs typeface="+mn-cs"/>
                </a:rPr>
                <a:t>Alerts are enhanced automatically with threat intelligence and other contextual information.</a:t>
              </a:r>
              <a:endParaRPr kumimoji="0" lang="en-US" sz="1200" b="0" i="0" u="none" strike="noStrike" kern="0" cap="none" spc="0" normalizeH="0" baseline="0" noProof="0">
                <a:ln>
                  <a:noFill/>
                </a:ln>
                <a:effectLst/>
                <a:uLnTx/>
                <a:uFillTx/>
                <a:latin typeface="Arial" panose="020B0604020202020204"/>
                <a:ea typeface="+mn-ea"/>
                <a:cs typeface="+mn-cs"/>
              </a:endParaRPr>
            </a:p>
          </p:txBody>
        </p:sp>
        <p:sp>
          <p:nvSpPr>
            <p:cNvPr id="210" name="TextBox 209"/>
            <p:cNvSpPr txBox="1"/>
            <p:nvPr/>
          </p:nvSpPr>
          <p:spPr>
            <a:xfrm>
              <a:off x="4783671" y="4468379"/>
              <a:ext cx="2595512" cy="12311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effectLst/>
                  <a:uLnTx/>
                  <a:uFillTx/>
                  <a:latin typeface="Arial" panose="020B0604020202020204"/>
                  <a:ea typeface="+mn-ea"/>
                  <a:cs typeface="+mn-cs"/>
                </a:rPr>
                <a:t>Triage and remediation</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effectLst/>
                  <a:uLnTx/>
                  <a:uFillTx/>
                  <a:latin typeface="Arial" panose="020B0604020202020204"/>
                  <a:ea typeface="+mn-ea"/>
                  <a:cs typeface="+mn-cs"/>
                </a:rPr>
                <a:t>Lower risk activities for triaging and remediation is automated.</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effectLst/>
                  <a:uLnTx/>
                  <a:uFillTx/>
                  <a:latin typeface="Arial" panose="020B0604020202020204"/>
                  <a:ea typeface="+mn-ea"/>
                  <a:cs typeface="+mn-cs"/>
                </a:rPr>
                <a:t>Security analysts review and investigate escalated alerts while periodically spot-checking automated remediation to ensure proper actions are taken. </a:t>
              </a:r>
            </a:p>
          </p:txBody>
        </p:sp>
        <p:sp>
          <p:nvSpPr>
            <p:cNvPr id="211" name="TextBox 210"/>
            <p:cNvSpPr txBox="1"/>
            <p:nvPr/>
          </p:nvSpPr>
          <p:spPr>
            <a:xfrm>
              <a:off x="6067155" y="2223751"/>
              <a:ext cx="2775203" cy="153888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effectLst/>
                  <a:uLnTx/>
                  <a:uFillTx/>
                  <a:latin typeface="Arial" panose="020B0604020202020204"/>
                  <a:ea typeface="+mn-ea"/>
                  <a:cs typeface="+mn-cs"/>
                </a:rPr>
                <a:t>Digital forensics</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effectLst/>
                  <a:uLnTx/>
                  <a:uFillTx/>
                  <a:latin typeface="Arial" panose="020B0604020202020204"/>
                  <a:ea typeface="+mn-ea"/>
                  <a:cs typeface="+mn-cs"/>
                </a:rPr>
                <a:t>Proper investigative tools are used to digitally identify threat actors.</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effectLst/>
                  <a:uLnTx/>
                  <a:uFillTx/>
                  <a:latin typeface="Arial" panose="020B0604020202020204"/>
                  <a:ea typeface="+mn-ea"/>
                  <a:cs typeface="+mn-cs"/>
                </a:rPr>
                <a:t>Continuous training plans to ensure IR staff are current on latest threats.</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effectLst/>
                  <a:uLnTx/>
                  <a:uFillTx/>
                  <a:latin typeface="Arial" panose="020B0604020202020204"/>
                  <a:ea typeface="+mn-ea"/>
                  <a:cs typeface="+mn-cs"/>
                </a:rPr>
                <a:t>Forensics information for criminal, legal, or security matters are properly collected and maintained in accordance with corporate policies.</a:t>
              </a:r>
            </a:p>
          </p:txBody>
        </p:sp>
        <p:sp>
          <p:nvSpPr>
            <p:cNvPr id="212" name="TextBox 211"/>
            <p:cNvSpPr txBox="1"/>
            <p:nvPr/>
          </p:nvSpPr>
          <p:spPr>
            <a:xfrm>
              <a:off x="7638261" y="4468379"/>
              <a:ext cx="2620942" cy="16927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effectLst/>
                  <a:uLnTx/>
                  <a:uFillTx/>
                  <a:latin typeface="Arial" panose="020B0604020202020204"/>
                  <a:ea typeface="+mn-ea"/>
                  <a:cs typeface="+mn-cs"/>
                </a:rPr>
                <a:t>Threat hunting</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effectLst/>
                  <a:uLnTx/>
                  <a:uFillTx/>
                  <a:latin typeface="Arial" panose="020B0604020202020204"/>
                  <a:ea typeface="+mn-ea"/>
                  <a:cs typeface="+mn-cs"/>
                </a:rPr>
                <a:t>Uncorrelated security threats are properly investigated.</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effectLst/>
                  <a:uLnTx/>
                  <a:uFillTx/>
                  <a:latin typeface="Arial" panose="020B0604020202020204"/>
                  <a:ea typeface="+mn-ea"/>
                  <a:cs typeface="+mn-cs"/>
                </a:rPr>
                <a:t>Commercial and internally generated intelligence to focus investigation efforts are accessible.</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effectLst/>
                  <a:uLnTx/>
                  <a:uFillTx/>
                  <a:latin typeface="Arial" panose="020B0604020202020204"/>
                  <a:ea typeface="+mn-ea"/>
                  <a:cs typeface="+mn-cs"/>
                </a:rPr>
                <a:t>Findings are reviewed during each campaign to inform automation/monitoring teams for continuous improvement.</a:t>
              </a:r>
            </a:p>
          </p:txBody>
        </p:sp>
        <p:sp>
          <p:nvSpPr>
            <p:cNvPr id="93" name="TextBox 92"/>
            <p:cNvSpPr txBox="1"/>
            <p:nvPr/>
          </p:nvSpPr>
          <p:spPr>
            <a:xfrm>
              <a:off x="8872046" y="2223751"/>
              <a:ext cx="2518080"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effectLst/>
                  <a:uLnTx/>
                  <a:uFillTx/>
                  <a:latin typeface="Arial" panose="020B0604020202020204"/>
                  <a:ea typeface="+mn-ea"/>
                  <a:cs typeface="+mn-cs"/>
                </a:rPr>
                <a:t>Incident response</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effectLst/>
                  <a:uLnTx/>
                  <a:uFillTx/>
                  <a:latin typeface="Arial" panose="020B0604020202020204"/>
                  <a:ea typeface="+mn-ea"/>
                  <a:cs typeface="+mn-cs"/>
                </a:rPr>
                <a:t>Procedures are written, followed and tested regularly.</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effectLst/>
                  <a:uLnTx/>
                  <a:uFillTx/>
                  <a:latin typeface="Arial" panose="020B0604020202020204"/>
                  <a:ea typeface="+mn-ea"/>
                  <a:cs typeface="+mn-cs"/>
                </a:rPr>
                <a:t>Communication plans are developed, verified and tested regularly.</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effectLst/>
                  <a:uLnTx/>
                  <a:uFillTx/>
                  <a:latin typeface="Arial" panose="020B0604020202020204"/>
                  <a:ea typeface="+mn-ea"/>
                  <a:cs typeface="+mn-cs"/>
                </a:rPr>
                <a:t>Tabletop exercises are executed at least annually to verify the response activities.</a:t>
              </a:r>
              <a:endParaRPr kumimoji="0" lang="en-US" sz="1200" b="0" i="0" u="none" strike="noStrike" kern="0" cap="none" spc="0" normalizeH="0" baseline="0" noProof="0">
                <a:ln>
                  <a:noFill/>
                </a:ln>
                <a:effectLst/>
                <a:uLnTx/>
                <a:uFillTx/>
                <a:latin typeface="Arial" panose="020B0604020202020204"/>
                <a:ea typeface="+mn-ea"/>
                <a:cs typeface="+mn-cs"/>
              </a:endParaRPr>
            </a:p>
          </p:txBody>
        </p:sp>
        <p:sp>
          <p:nvSpPr>
            <p:cNvPr id="94" name="Oval 93"/>
            <p:cNvSpPr/>
            <p:nvPr/>
          </p:nvSpPr>
          <p:spPr>
            <a:xfrm>
              <a:off x="2926911" y="3825117"/>
              <a:ext cx="365760" cy="367990"/>
            </a:xfrm>
            <a:prstGeom prst="ellipse">
              <a:avLst/>
            </a:prstGeom>
            <a:solidFill>
              <a:srgbClr val="FFFFFF">
                <a:alpha val="6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5" name="Oval 94"/>
            <p:cNvSpPr/>
            <p:nvPr/>
          </p:nvSpPr>
          <p:spPr>
            <a:xfrm>
              <a:off x="4361855" y="3825117"/>
              <a:ext cx="365760" cy="367990"/>
            </a:xfrm>
            <a:prstGeom prst="ellipse">
              <a:avLst/>
            </a:prstGeom>
            <a:solidFill>
              <a:srgbClr val="FFFFFF">
                <a:alpha val="6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6" name="Oval 95"/>
            <p:cNvSpPr/>
            <p:nvPr/>
          </p:nvSpPr>
          <p:spPr>
            <a:xfrm>
              <a:off x="5777171" y="3825117"/>
              <a:ext cx="365760" cy="367990"/>
            </a:xfrm>
            <a:prstGeom prst="ellipse">
              <a:avLst/>
            </a:prstGeom>
            <a:solidFill>
              <a:srgbClr val="FFFFFF">
                <a:alpha val="6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7" name="Oval 96"/>
            <p:cNvSpPr/>
            <p:nvPr/>
          </p:nvSpPr>
          <p:spPr>
            <a:xfrm>
              <a:off x="7199415" y="3809749"/>
              <a:ext cx="365760" cy="367990"/>
            </a:xfrm>
            <a:prstGeom prst="ellipse">
              <a:avLst/>
            </a:prstGeom>
            <a:solidFill>
              <a:srgbClr val="FFFFFF">
                <a:alpha val="6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8" name="Oval 97"/>
            <p:cNvSpPr/>
            <p:nvPr/>
          </p:nvSpPr>
          <p:spPr>
            <a:xfrm>
              <a:off x="8642043" y="3825117"/>
              <a:ext cx="365760" cy="367990"/>
            </a:xfrm>
            <a:prstGeom prst="ellipse">
              <a:avLst/>
            </a:prstGeom>
            <a:solidFill>
              <a:srgbClr val="FFFFFF">
                <a:alpha val="6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9" name="Oval 98"/>
            <p:cNvSpPr/>
            <p:nvPr/>
          </p:nvSpPr>
          <p:spPr>
            <a:xfrm>
              <a:off x="10086595" y="3825117"/>
              <a:ext cx="365760" cy="367990"/>
            </a:xfrm>
            <a:prstGeom prst="ellipse">
              <a:avLst/>
            </a:prstGeom>
            <a:solidFill>
              <a:srgbClr val="FFFFFF">
                <a:alpha val="6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01" name="Group 100"/>
            <p:cNvGrpSpPr/>
            <p:nvPr/>
          </p:nvGrpSpPr>
          <p:grpSpPr>
            <a:xfrm>
              <a:off x="543331" y="2252208"/>
              <a:ext cx="2917389" cy="2107691"/>
              <a:chOff x="981926" y="1829227"/>
              <a:chExt cx="2917389" cy="2107691"/>
            </a:xfrm>
          </p:grpSpPr>
          <p:sp>
            <p:nvSpPr>
              <p:cNvPr id="102" name="Arc 101"/>
              <p:cNvSpPr/>
              <p:nvPr/>
            </p:nvSpPr>
            <p:spPr>
              <a:xfrm rot="16200000">
                <a:off x="3179315" y="3216918"/>
                <a:ext cx="720000" cy="720000"/>
              </a:xfrm>
              <a:prstGeom prst="arc">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cxnSp>
            <p:nvCxnSpPr>
              <p:cNvPr id="103" name="Straight Connector 102"/>
              <p:cNvCxnSpPr>
                <a:endCxn id="102" idx="0"/>
              </p:cNvCxnSpPr>
              <p:nvPr/>
            </p:nvCxnSpPr>
            <p:spPr>
              <a:xfrm>
                <a:off x="1015083" y="3576584"/>
                <a:ext cx="2164232" cy="33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04" name="Oval 103"/>
              <p:cNvSpPr>
                <a:spLocks noChangeAspect="1"/>
              </p:cNvSpPr>
              <p:nvPr/>
            </p:nvSpPr>
            <p:spPr>
              <a:xfrm>
                <a:off x="3128963" y="3521273"/>
                <a:ext cx="84395" cy="843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5" name="Oval 104"/>
              <p:cNvSpPr>
                <a:spLocks noChangeAspect="1"/>
              </p:cNvSpPr>
              <p:nvPr/>
            </p:nvSpPr>
            <p:spPr>
              <a:xfrm>
                <a:off x="3495243" y="3174719"/>
                <a:ext cx="84395" cy="843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6" name="Oval 105"/>
              <p:cNvSpPr>
                <a:spLocks noChangeAspect="1"/>
              </p:cNvSpPr>
              <p:nvPr/>
            </p:nvSpPr>
            <p:spPr>
              <a:xfrm>
                <a:off x="981926" y="3528957"/>
                <a:ext cx="84395" cy="843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cxnSp>
            <p:nvCxnSpPr>
              <p:cNvPr id="107" name="Straight Connector 106"/>
              <p:cNvCxnSpPr/>
              <p:nvPr/>
            </p:nvCxnSpPr>
            <p:spPr>
              <a:xfrm>
                <a:off x="3537440" y="1909482"/>
                <a:ext cx="0" cy="1301439"/>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08" name="Oval 107"/>
              <p:cNvSpPr>
                <a:spLocks noChangeAspect="1"/>
              </p:cNvSpPr>
              <p:nvPr/>
            </p:nvSpPr>
            <p:spPr>
              <a:xfrm>
                <a:off x="3495242" y="1829227"/>
                <a:ext cx="84395" cy="843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grpSp>
      </p:grpSp>
    </p:spTree>
    <p:custDataLst>
      <p:tags r:id="rId1"/>
    </p:custDataLst>
    <p:extLst>
      <p:ext uri="{BB962C8B-B14F-4D97-AF65-F5344CB8AC3E}">
        <p14:creationId xmlns:p14="http://schemas.microsoft.com/office/powerpoint/2010/main" val="2968966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09600" y="344488"/>
            <a:ext cx="11582400" cy="553998"/>
          </a:xfrm>
        </p:spPr>
        <p:txBody>
          <a:bodyPr vert="horz" wrap="square" lIns="0" tIns="0" rIns="0" bIns="0" rtlCol="0" anchor="t" anchorCtr="0">
            <a:spAutoFit/>
          </a:bodyPr>
          <a:lstStyle/>
          <a:p>
            <a:r>
              <a:rPr lang="en-US">
                <a:latin typeface="Arial"/>
                <a:cs typeface="Arial"/>
              </a:rPr>
              <a:t>Service Matrix</a:t>
            </a:r>
          </a:p>
        </p:txBody>
      </p:sp>
      <p:sp>
        <p:nvSpPr>
          <p:cNvPr id="6" name="Right Arrow 63">
            <a:extLst>
              <a:ext uri="{FF2B5EF4-FFF2-40B4-BE49-F238E27FC236}">
                <a16:creationId xmlns:a16="http://schemas.microsoft.com/office/drawing/2014/main" id="{AD1BAD1F-03A9-8EBC-7744-11DCB3B78D37}"/>
              </a:ext>
            </a:extLst>
          </p:cNvPr>
          <p:cNvSpPr/>
          <p:nvPr/>
        </p:nvSpPr>
        <p:spPr>
          <a:xfrm>
            <a:off x="4648200" y="838200"/>
            <a:ext cx="6486525" cy="423061"/>
          </a:xfrm>
          <a:prstGeom prst="rightArrow">
            <a:avLst>
              <a:gd name="adj1" fmla="val 50000"/>
              <a:gd name="adj2" fmla="val 80145"/>
            </a:avLst>
          </a:prstGeom>
          <a:solidFill>
            <a:srgbClr val="3F9C35"/>
          </a:solidFill>
          <a:ln>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30B7707A-C7E0-298B-060C-4E750A1A444C}"/>
              </a:ext>
            </a:extLst>
          </p:cNvPr>
          <p:cNvSpPr txBox="1"/>
          <p:nvPr/>
        </p:nvSpPr>
        <p:spPr>
          <a:xfrm>
            <a:off x="4681295" y="495542"/>
            <a:ext cx="6046339" cy="338554"/>
          </a:xfrm>
          <a:prstGeom prst="rect">
            <a:avLst/>
          </a:prstGeom>
          <a:noFill/>
        </p:spPr>
        <p:txBody>
          <a:bodyPr wrap="square">
            <a:spAutoFit/>
          </a:bodyPr>
          <a:lstStyle/>
          <a:p>
            <a:pPr marL="0" marR="0" lvl="0" indent="0" algn="ctr" defTabSz="603504"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Level of Protection</a:t>
            </a:r>
            <a:endParaRPr kumimoji="0" lang="en-US" sz="2800" b="1"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3" name="Table 3">
            <a:extLst>
              <a:ext uri="{FF2B5EF4-FFF2-40B4-BE49-F238E27FC236}">
                <a16:creationId xmlns:a16="http://schemas.microsoft.com/office/drawing/2014/main" id="{7F13B690-C591-20CC-DF3D-105EB11BAFAD}"/>
              </a:ext>
            </a:extLst>
          </p:cNvPr>
          <p:cNvGraphicFramePr>
            <a:graphicFrameLocks noGrp="1"/>
          </p:cNvGraphicFramePr>
          <p:nvPr/>
        </p:nvGraphicFramePr>
        <p:xfrm>
          <a:off x="666304" y="1219200"/>
          <a:ext cx="10083325" cy="4815840"/>
        </p:xfrm>
        <a:graphic>
          <a:graphicData uri="http://schemas.openxmlformats.org/drawingml/2006/table">
            <a:tbl>
              <a:tblPr firstRow="1" bandRow="1">
                <a:tableStyleId>{5C22544A-7EE6-4342-B048-85BDC9FD1C3A}</a:tableStyleId>
              </a:tblPr>
              <a:tblGrid>
                <a:gridCol w="3975869">
                  <a:extLst>
                    <a:ext uri="{9D8B030D-6E8A-4147-A177-3AD203B41FA5}">
                      <a16:colId xmlns:a16="http://schemas.microsoft.com/office/drawing/2014/main" val="3675447604"/>
                    </a:ext>
                  </a:extLst>
                </a:gridCol>
                <a:gridCol w="1526864">
                  <a:extLst>
                    <a:ext uri="{9D8B030D-6E8A-4147-A177-3AD203B41FA5}">
                      <a16:colId xmlns:a16="http://schemas.microsoft.com/office/drawing/2014/main" val="4109271770"/>
                    </a:ext>
                  </a:extLst>
                </a:gridCol>
                <a:gridCol w="1526864">
                  <a:extLst>
                    <a:ext uri="{9D8B030D-6E8A-4147-A177-3AD203B41FA5}">
                      <a16:colId xmlns:a16="http://schemas.microsoft.com/office/drawing/2014/main" val="3342588712"/>
                    </a:ext>
                  </a:extLst>
                </a:gridCol>
                <a:gridCol w="1526864">
                  <a:extLst>
                    <a:ext uri="{9D8B030D-6E8A-4147-A177-3AD203B41FA5}">
                      <a16:colId xmlns:a16="http://schemas.microsoft.com/office/drawing/2014/main" val="2156290040"/>
                    </a:ext>
                  </a:extLst>
                </a:gridCol>
                <a:gridCol w="1526864">
                  <a:extLst>
                    <a:ext uri="{9D8B030D-6E8A-4147-A177-3AD203B41FA5}">
                      <a16:colId xmlns:a16="http://schemas.microsoft.com/office/drawing/2014/main" val="882841945"/>
                    </a:ext>
                  </a:extLst>
                </a:gridCol>
              </a:tblGrid>
              <a:tr h="392198">
                <a:tc>
                  <a:txBody>
                    <a:bodyPr/>
                    <a:lstStyle/>
                    <a:p>
                      <a:endParaRPr lang="en-US" sz="1900"/>
                    </a:p>
                  </a:txBody>
                  <a:tcPr>
                    <a:lnL w="12700" cmpd="sng">
                      <a:noFill/>
                    </a:lnL>
                    <a:lnR w="571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mn-lt"/>
                          <a:ea typeface="+mn-ea"/>
                          <a:cs typeface="+mn-cs"/>
                        </a:rPr>
                        <a:t>Vulnerab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mn-lt"/>
                          <a:ea typeface="+mn-ea"/>
                          <a:cs typeface="+mn-cs"/>
                        </a:rPr>
                        <a:t>Scanning</a:t>
                      </a:r>
                    </a:p>
                  </a:txBody>
                  <a:tcPr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Endpoint Detection &amp; Response</a:t>
                      </a:r>
                    </a:p>
                  </a:txBody>
                  <a:tcPr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rgbClr val="009CD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RSM Defense Foundations</a:t>
                      </a:r>
                    </a:p>
                  </a:txBody>
                  <a:tcPr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RSM Defens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XDR</a:t>
                      </a:r>
                    </a:p>
                  </a:txBody>
                  <a:tcPr anchor="ctr">
                    <a:lnL w="57150" cap="flat" cmpd="sng" algn="ctr">
                      <a:noFill/>
                      <a:prstDash val="solid"/>
                      <a:round/>
                      <a:headEnd type="none" w="med" len="med"/>
                      <a:tailEnd type="none" w="med" len="med"/>
                    </a:lnL>
                    <a:lnR w="12700" cmpd="sng">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87512186"/>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24x7x365 SOC</a:t>
                      </a:r>
                    </a:p>
                  </a:txBody>
                  <a:tcPr anchor="ctr">
                    <a:lnL w="12700" cmpd="sng">
                      <a:noFill/>
                    </a:lnL>
                    <a:lnR w="57150" cap="flat" cmpd="sng" algn="ctr">
                      <a:noFill/>
                      <a:prstDash val="solid"/>
                      <a:round/>
                      <a:headEnd type="none" w="med" len="med"/>
                      <a:tailEnd type="none" w="med" len="med"/>
                    </a:lnR>
                    <a:lnT w="381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5715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5715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5715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5715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9247268"/>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Asset Risk Identification</a:t>
                      </a:r>
                      <a:endParaRPr kumimoji="0" lang="en-US" sz="1100" b="0" i="0" u="none" strike="noStrike" kern="1200" cap="small" spc="5" normalizeH="0" baseline="0" noProof="0" dirty="0">
                        <a:ln>
                          <a:noFill/>
                        </a:ln>
                        <a:solidFill>
                          <a:schemeClr val="tx2"/>
                        </a:solidFill>
                        <a:effectLst/>
                        <a:uLnTx/>
                        <a:uFillTx/>
                        <a:latin typeface="+mn-lt"/>
                        <a:ea typeface="+mn-ea"/>
                        <a:cs typeface="+mn-cs"/>
                      </a:endParaRP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accent1"/>
                          </a:solidFill>
                          <a:latin typeface="+mn-lt"/>
                          <a:ea typeface="+mn-ea"/>
                          <a:cs typeface="+mn-cs"/>
                          <a:sym typeface="Wingdings" panose="05000000000000000000" pitchFamily="2" charset="2"/>
                        </a:rPr>
                        <a:t></a:t>
                      </a:r>
                      <a:endParaRPr lang="en-US" sz="1200" kern="120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4432740"/>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Endpoint &amp; Network Vulnerability Scanning</a:t>
                      </a:r>
                      <a:endParaRPr kumimoji="0" lang="en-US" sz="1100" b="0" i="0" u="none" strike="noStrike" kern="1200" cap="small" spc="5" normalizeH="0" baseline="0" noProof="0" dirty="0">
                        <a:ln>
                          <a:noFill/>
                        </a:ln>
                        <a:solidFill>
                          <a:schemeClr val="tx2"/>
                        </a:solidFill>
                        <a:effectLst/>
                        <a:uLnTx/>
                        <a:uFillTx/>
                        <a:latin typeface="+mn-lt"/>
                        <a:ea typeface="+mn-ea"/>
                        <a:cs typeface="+mn-cs"/>
                      </a:endParaRP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1310419"/>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2"/>
                          </a:solidFill>
                          <a:effectLst/>
                          <a:uLnTx/>
                          <a:uFillTx/>
                          <a:latin typeface="+mn-lt"/>
                          <a:ea typeface="+mn-ea"/>
                          <a:cs typeface="+mn-cs"/>
                        </a:rPr>
                        <a:t>Threat Intelligence Enrichment</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accent1"/>
                          </a:solidFill>
                          <a:latin typeface="+mn-lt"/>
                          <a:ea typeface="+mn-ea"/>
                          <a:cs typeface="+mn-cs"/>
                          <a:sym typeface="Wingdings" panose="05000000000000000000" pitchFamily="2" charset="2"/>
                        </a:rPr>
                        <a:t></a:t>
                      </a:r>
                      <a:endParaRPr lang="en-US" sz="1200" kern="120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accent1"/>
                          </a:solidFill>
                          <a:latin typeface="+mn-lt"/>
                          <a:ea typeface="+mn-ea"/>
                          <a:cs typeface="+mn-cs"/>
                          <a:sym typeface="Wingdings" panose="05000000000000000000" pitchFamily="2" charset="2"/>
                        </a:rPr>
                        <a:t></a:t>
                      </a:r>
                      <a:endParaRPr lang="en-US" sz="1200" kern="120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0868736"/>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Monthly Industry Focused Threat Intelligence Newsletter</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5427799"/>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Realtime DNS Threat Protection</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sym typeface="Wingdings" panose="05000000000000000000" pitchFamily="2" charset="2"/>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00B0F0"/>
                          </a:solidFill>
                          <a:latin typeface="+mn-lt"/>
                          <a:ea typeface="+mn-ea"/>
                          <a:cs typeface="+mn-cs"/>
                          <a:sym typeface="Wingdings" panose="05000000000000000000" pitchFamily="2" charset="2"/>
                        </a:rPr>
                        <a:t></a:t>
                      </a:r>
                      <a:r>
                        <a:rPr kumimoji="0" lang="en-US" sz="1200" b="0" i="0" u="none" strike="noStrike" kern="1200" cap="none" spc="0" normalizeH="0" baseline="30000" noProof="0" dirty="0">
                          <a:ln>
                            <a:noFill/>
                          </a:ln>
                          <a:solidFill>
                            <a:srgbClr val="00B0F0"/>
                          </a:solidFill>
                          <a:effectLst/>
                          <a:uLnTx/>
                          <a:uFillTx/>
                          <a:latin typeface="+mn-lt"/>
                          <a:ea typeface="+mn-ea"/>
                          <a:cs typeface="+mn-cs"/>
                        </a:rPr>
                        <a:t>1</a:t>
                      </a:r>
                      <a:endParaRPr lang="en-US" sz="1200" kern="1200" dirty="0">
                        <a:solidFill>
                          <a:srgbClr val="00B0F0"/>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00B0F0"/>
                          </a:solidFill>
                          <a:latin typeface="+mn-lt"/>
                          <a:ea typeface="+mn-ea"/>
                          <a:cs typeface="+mn-cs"/>
                          <a:sym typeface="Wingdings" panose="05000000000000000000" pitchFamily="2" charset="2"/>
                        </a:rPr>
                        <a:t></a:t>
                      </a:r>
                      <a:r>
                        <a:rPr kumimoji="0" lang="en-US" sz="1200" b="0" i="0" u="none" strike="noStrike" kern="1200" cap="none" spc="0" normalizeH="0" baseline="30000" noProof="0" dirty="0">
                          <a:ln>
                            <a:noFill/>
                          </a:ln>
                          <a:solidFill>
                            <a:srgbClr val="00B0F0"/>
                          </a:solidFill>
                          <a:effectLst/>
                          <a:uLnTx/>
                          <a:uFillTx/>
                          <a:latin typeface="+mn-lt"/>
                          <a:ea typeface="+mn-ea"/>
                          <a:cs typeface="+mn-cs"/>
                        </a:rPr>
                        <a:t>1</a:t>
                      </a:r>
                      <a:endParaRPr lang="en-US" sz="1200" kern="1200" dirty="0">
                        <a:solidFill>
                          <a:srgbClr val="00B0F0"/>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2895461"/>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Full Function EDR Agent Included</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r>
                        <a:rPr lang="en-US" sz="1200" kern="1200" baseline="30000" dirty="0">
                          <a:solidFill>
                            <a:schemeClr val="accent1"/>
                          </a:solidFill>
                          <a:latin typeface="+mn-lt"/>
                          <a:ea typeface="+mn-ea"/>
                          <a:cs typeface="+mn-cs"/>
                          <a:sym typeface="Wingdings" panose="05000000000000000000" pitchFamily="2" charset="2"/>
                        </a:rPr>
                        <a:t>2</a:t>
                      </a:r>
                      <a:endParaRPr lang="en-US" sz="1200" kern="1200" dirty="0">
                        <a:solidFill>
                          <a:schemeClr val="accent1"/>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r>
                        <a:rPr lang="en-US" sz="1200" kern="1200" baseline="30000" dirty="0">
                          <a:solidFill>
                            <a:schemeClr val="accent1"/>
                          </a:solidFill>
                          <a:latin typeface="+mn-lt"/>
                          <a:ea typeface="+mn-ea"/>
                          <a:cs typeface="+mn-cs"/>
                          <a:sym typeface="Wingdings" panose="05000000000000000000" pitchFamily="2" charset="2"/>
                        </a:rPr>
                        <a:t>2</a:t>
                      </a:r>
                      <a:endParaRPr lang="en-US" sz="1200" kern="1200" dirty="0">
                        <a:solidFill>
                          <a:schemeClr val="accent1"/>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1105009"/>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2"/>
                          </a:solidFill>
                          <a:effectLst/>
                          <a:uLnTx/>
                          <a:uFillTx/>
                          <a:latin typeface="+mn-lt"/>
                          <a:ea typeface="+mn-ea"/>
                          <a:cs typeface="+mn-cs"/>
                        </a:rPr>
                        <a:t>Email &amp; Identity Protection</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r>
                        <a:rPr lang="en-US" sz="1200" kern="1200" baseline="30000" dirty="0">
                          <a:solidFill>
                            <a:schemeClr val="accent1"/>
                          </a:solidFill>
                          <a:latin typeface="+mn-lt"/>
                          <a:ea typeface="+mn-ea"/>
                          <a:cs typeface="+mn-cs"/>
                          <a:sym typeface="Wingdings" panose="05000000000000000000" pitchFamily="2" charset="2"/>
                        </a:rPr>
                        <a:t>3</a:t>
                      </a:r>
                      <a:endParaRPr lang="en-US" sz="1200" kern="1200" dirty="0">
                        <a:solidFill>
                          <a:schemeClr val="accent1"/>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7420974"/>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Signature and Behavior Detection</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7057420"/>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Autonomous Response</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1079367"/>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Threat Hunting Automation by Senior Analysts</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1555964"/>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Incident/Case Handling</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1816795"/>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Client Portal Access</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noProof="0">
                        <a:solidFill>
                          <a:schemeClr val="accent1"/>
                        </a:solidFill>
                        <a:highlight>
                          <a:srgbClr val="FFFF00"/>
                        </a:highlight>
                        <a:latin typeface="+mn-lt"/>
                        <a:ea typeface="+mn-ea"/>
                        <a:cs typeface="+mn-cs"/>
                        <a:sym typeface="Wingdings" panose="05000000000000000000" pitchFamily="2" charset="2"/>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0320605"/>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Access to 24/7/365 SOC Hotline</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4489282"/>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Static Log Collection(Sensor and API Integrations)</a:t>
                      </a:r>
                      <a:r>
                        <a:rPr kumimoji="0" lang="en-US" sz="1100" b="0" i="0" u="none" strike="noStrike" kern="1200" cap="none" spc="0" normalizeH="0" baseline="30000" noProof="0" dirty="0">
                          <a:ln>
                            <a:noFill/>
                          </a:ln>
                          <a:solidFill>
                            <a:schemeClr val="tx2"/>
                          </a:solidFill>
                          <a:effectLst/>
                          <a:uLnTx/>
                          <a:uFillTx/>
                          <a:latin typeface="+mn-lt"/>
                          <a:ea typeface="+mn-ea"/>
                          <a:cs typeface="+mn-cs"/>
                        </a:rPr>
                        <a:t>4</a:t>
                      </a:r>
                      <a:endParaRPr kumimoji="0" lang="en-US" sz="1100" b="0" i="0" u="none" strike="noStrike" kern="1200" cap="none" spc="0" normalizeH="0" baseline="0" noProof="0" dirty="0">
                        <a:ln>
                          <a:noFill/>
                        </a:ln>
                        <a:solidFill>
                          <a:schemeClr val="tx2"/>
                        </a:solidFill>
                        <a:effectLst/>
                        <a:uLnTx/>
                        <a:uFillTx/>
                        <a:latin typeface="+mn-lt"/>
                        <a:ea typeface="+mn-ea"/>
                        <a:cs typeface="+mn-cs"/>
                      </a:endParaRP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noProof="0">
                        <a:solidFill>
                          <a:schemeClr val="accent1"/>
                        </a:solidFill>
                        <a:latin typeface="+mn-lt"/>
                        <a:ea typeface="+mn-ea"/>
                        <a:cs typeface="+mn-cs"/>
                        <a:sym typeface="Wingdings" panose="05000000000000000000" pitchFamily="2" charset="2"/>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noProof="0">
                        <a:solidFill>
                          <a:schemeClr val="accent1"/>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6175638"/>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RSM Defense Monthly Newsletter</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accent1"/>
                          </a:solidFill>
                          <a:latin typeface="+mn-lt"/>
                          <a:ea typeface="+mn-ea"/>
                          <a:cs typeface="+mn-cs"/>
                          <a:sym typeface="Wingdings" panose="05000000000000000000" pitchFamily="2" charset="2"/>
                        </a:rPr>
                        <a:t></a:t>
                      </a: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3987760"/>
                  </a:ext>
                </a:extLst>
              </a:tr>
            </a:tbl>
          </a:graphicData>
        </a:graphic>
      </p:graphicFrame>
      <p:sp>
        <p:nvSpPr>
          <p:cNvPr id="8" name="TextBox 7">
            <a:extLst>
              <a:ext uri="{FF2B5EF4-FFF2-40B4-BE49-F238E27FC236}">
                <a16:creationId xmlns:a16="http://schemas.microsoft.com/office/drawing/2014/main" id="{432452D1-399B-0DF1-F812-ACB21ABD082D}"/>
              </a:ext>
            </a:extLst>
          </p:cNvPr>
          <p:cNvSpPr txBox="1"/>
          <p:nvPr/>
        </p:nvSpPr>
        <p:spPr>
          <a:xfrm>
            <a:off x="609600" y="6079048"/>
            <a:ext cx="1014002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rgbClr val="00B0F0"/>
                </a:solidFill>
                <a:effectLst/>
                <a:uLnTx/>
                <a:uFillTx/>
                <a:latin typeface="Calibri" panose="020F0502020204030204"/>
                <a:ea typeface="+mn-ea"/>
                <a:cs typeface="+mn-cs"/>
              </a:rPr>
              <a:t>1 </a:t>
            </a:r>
            <a:r>
              <a:rPr kumimoji="0" lang="en-US" sz="900" b="0" i="0" u="none" strike="noStrike" kern="1200" cap="none" spc="0" normalizeH="0" baseline="0" noProof="0" dirty="0">
                <a:ln>
                  <a:noFill/>
                </a:ln>
                <a:solidFill>
                  <a:srgbClr val="00B0F0"/>
                </a:solidFill>
                <a:effectLst/>
                <a:uLnTx/>
                <a:uFillTx/>
                <a:latin typeface="Calibri" panose="020F0502020204030204"/>
                <a:ea typeface="+mn-ea"/>
                <a:cs typeface="+mn-cs"/>
              </a:rPr>
              <a:t>RSM defense-provided agent or client-provid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rgbClr val="00B0F0"/>
                </a:solidFill>
                <a:effectLst/>
                <a:uLnTx/>
                <a:uFillTx/>
                <a:latin typeface="Calibri" panose="020F0502020204030204"/>
                <a:ea typeface="+mn-ea"/>
                <a:cs typeface="+mn-cs"/>
              </a:rPr>
              <a:t>2 </a:t>
            </a:r>
            <a:r>
              <a:rPr kumimoji="0" lang="en-US" sz="900" b="0" i="0" u="none" strike="noStrike" kern="1200" cap="none" spc="0" normalizeH="0" baseline="0" noProof="0" dirty="0">
                <a:ln>
                  <a:noFill/>
                </a:ln>
                <a:solidFill>
                  <a:srgbClr val="00B0F0"/>
                </a:solidFill>
                <a:effectLst/>
                <a:uLnTx/>
                <a:uFillTx/>
                <a:latin typeface="Calibri" panose="020F0502020204030204"/>
                <a:ea typeface="+mn-ea"/>
                <a:cs typeface="+mn-cs"/>
              </a:rPr>
              <a:t>Eligible for BYOEDR or RSM Defense provided ag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rgbClr val="00B0F0"/>
                </a:solidFill>
                <a:effectLst/>
                <a:uLnTx/>
                <a:uFillTx/>
                <a:latin typeface="Calibri" panose="020F0502020204030204"/>
                <a:ea typeface="+mn-ea"/>
                <a:cs typeface="+mn-cs"/>
              </a:rPr>
              <a:t>3</a:t>
            </a:r>
            <a:r>
              <a:rPr kumimoji="0" lang="en-US" sz="900" b="0" i="0" u="none" strike="noStrike" kern="1200" cap="none" spc="0" normalizeH="0" baseline="0" noProof="0" dirty="0">
                <a:ln>
                  <a:noFill/>
                </a:ln>
                <a:solidFill>
                  <a:srgbClr val="00B0F0"/>
                </a:solidFill>
                <a:effectLst/>
                <a:uLnTx/>
                <a:uFillTx/>
                <a:latin typeface="Calibri" panose="020F0502020204030204"/>
                <a:ea typeface="+mn-ea"/>
                <a:cs typeface="+mn-cs"/>
              </a:rPr>
              <a:t>Domain Controllers will receive a Log Collection sensor in hybrid environments</a:t>
            </a:r>
            <a:endParaRPr kumimoji="0" lang="en-US" sz="900" b="0" i="0" u="none" strike="noStrike" kern="1200" cap="none" spc="0" normalizeH="0" baseline="30000" noProof="0" dirty="0">
              <a:ln>
                <a:noFill/>
              </a:ln>
              <a:solidFill>
                <a:srgbClr val="00B0F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rgbClr val="00B0F0"/>
                </a:solidFill>
                <a:effectLst/>
                <a:uLnTx/>
                <a:uFillTx/>
                <a:latin typeface="Calibri" panose="020F0502020204030204"/>
                <a:ea typeface="+mn-ea"/>
                <a:cs typeface="+mn-cs"/>
              </a:rPr>
              <a:t> 4</a:t>
            </a:r>
            <a:r>
              <a:rPr kumimoji="0" lang="en-US" sz="900" b="0" i="0" u="none" strike="noStrike" kern="1200" cap="none" spc="0" normalizeH="0" baseline="0" noProof="0" dirty="0">
                <a:ln>
                  <a:noFill/>
                </a:ln>
                <a:solidFill>
                  <a:srgbClr val="00B0F0"/>
                </a:solidFill>
                <a:effectLst/>
                <a:uLnTx/>
                <a:uFillTx/>
                <a:latin typeface="Calibri" panose="020F0502020204030204"/>
                <a:ea typeface="+mn-ea"/>
                <a:cs typeface="+mn-cs"/>
              </a:rPr>
              <a:t>Log sources (API, syslog, custom) are all ingestion based. Fees may vary on a month-to-month basis</a:t>
            </a:r>
          </a:p>
        </p:txBody>
      </p:sp>
    </p:spTree>
    <p:extLst>
      <p:ext uri="{BB962C8B-B14F-4D97-AF65-F5344CB8AC3E}">
        <p14:creationId xmlns:p14="http://schemas.microsoft.com/office/powerpoint/2010/main" val="21667445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608"/>
        <p:cNvGrpSpPr/>
        <p:nvPr/>
      </p:nvGrpSpPr>
      <p:grpSpPr>
        <a:xfrm>
          <a:off x="0" y="0"/>
          <a:ext cx="0" cy="0"/>
          <a:chOff x="0" y="0"/>
          <a:chExt cx="0" cy="0"/>
        </a:xfrm>
      </p:grpSpPr>
      <p:sp>
        <p:nvSpPr>
          <p:cNvPr id="1638" name="Google Shape;1638;p15"/>
          <p:cNvSpPr txBox="1">
            <a:spLocks noGrp="1"/>
          </p:cNvSpPr>
          <p:nvPr>
            <p:ph type="sldNum" idx="4294967295"/>
          </p:nvPr>
        </p:nvSpPr>
        <p:spPr>
          <a:xfrm>
            <a:off x="11425238" y="6519863"/>
            <a:ext cx="766762" cy="222250"/>
          </a:xfrm>
          <a:prstGeom prst="rect">
            <a:avLst/>
          </a:prstGeom>
          <a:noFill/>
          <a:ln>
            <a:noFill/>
          </a:ln>
        </p:spPr>
        <p:txBody>
          <a:bodyPr spcFirstLastPara="1"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nl-NL" sz="800" b="0" i="0" u="none" strike="noStrike" kern="1200" cap="none" spc="0" normalizeH="0" baseline="0" noProof="0">
                <a:ln>
                  <a:noFill/>
                </a:ln>
                <a:solidFill>
                  <a:srgbClr val="7F7F7F"/>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6</a:t>
            </a:fld>
            <a:endParaRPr kumimoji="0" sz="800" b="0" i="0" u="none" strike="noStrike" kern="1200" cap="none" spc="0" normalizeH="0" baseline="0" noProof="0">
              <a:ln>
                <a:noFill/>
              </a:ln>
              <a:solidFill>
                <a:srgbClr val="7F7F7F"/>
              </a:solidFill>
              <a:effectLst/>
              <a:uLnTx/>
              <a:uFillTx/>
              <a:latin typeface="Arial"/>
              <a:ea typeface="+mn-ea"/>
              <a:cs typeface="Arial"/>
              <a:sym typeface="Arial"/>
            </a:endParaRPr>
          </a:p>
        </p:txBody>
      </p:sp>
      <p:sp>
        <p:nvSpPr>
          <p:cNvPr id="1639" name="Google Shape;1639;p15"/>
          <p:cNvSpPr txBox="1">
            <a:spLocks noGrp="1"/>
          </p:cNvSpPr>
          <p:nvPr>
            <p:ph type="body" idx="4294967295"/>
          </p:nvPr>
        </p:nvSpPr>
        <p:spPr>
          <a:xfrm>
            <a:off x="685800" y="1492250"/>
            <a:ext cx="5410199" cy="1598613"/>
          </a:xfrm>
          <a:prstGeom prst="rect">
            <a:avLst/>
          </a:prstGeom>
          <a:noFill/>
          <a:ln>
            <a:noFill/>
          </a:ln>
        </p:spPr>
        <p:txBody>
          <a:bodyPr spcFirstLastPara="1" vert="horz" wrap="square" lIns="0" tIns="30467" rIns="0" bIns="30467" rtlCol="0" anchor="t" anchorCtr="0">
            <a:noAutofit/>
          </a:bodyPr>
          <a:lstStyle/>
          <a:p>
            <a:pPr marL="0" indent="0">
              <a:lnSpc>
                <a:spcPct val="100000"/>
              </a:lnSpc>
              <a:spcBef>
                <a:spcPts val="400"/>
              </a:spcBef>
              <a:buClr>
                <a:srgbClr val="000000"/>
              </a:buClr>
              <a:buSzPts val="1100"/>
              <a:buNone/>
            </a:pPr>
            <a:r>
              <a:rPr lang="nl-NL" sz="1600" b="1" dirty="0">
                <a:solidFill>
                  <a:schemeClr val="accent1"/>
                </a:solidFill>
              </a:rPr>
              <a:t>Vulnerability Management(VM), </a:t>
            </a:r>
            <a:r>
              <a:rPr lang="nl-NL" sz="1600" dirty="0">
                <a:solidFill>
                  <a:schemeClr val="accent4">
                    <a:lumMod val="20000"/>
                    <a:lumOff val="80000"/>
                  </a:schemeClr>
                </a:solidFill>
              </a:rPr>
              <a:t>a component of RSM Defense NG-XDR, enables rapid attack vector identification and proactive security.  Vulnerability identification and prioritization build resiliency for the continuity of operations.  Basic scan and report services or higher touch vulnerability management options are available.</a:t>
            </a:r>
          </a:p>
        </p:txBody>
      </p:sp>
      <p:grpSp>
        <p:nvGrpSpPr>
          <p:cNvPr id="1640" name="Google Shape;1640;p15"/>
          <p:cNvGrpSpPr/>
          <p:nvPr/>
        </p:nvGrpSpPr>
        <p:grpSpPr>
          <a:xfrm>
            <a:off x="685800" y="3178000"/>
            <a:ext cx="5059039" cy="427400"/>
            <a:chOff x="840350" y="3158750"/>
            <a:chExt cx="7694100" cy="641100"/>
          </a:xfrm>
        </p:grpSpPr>
        <p:sp>
          <p:nvSpPr>
            <p:cNvPr id="1641" name="Google Shape;1641;p15"/>
            <p:cNvSpPr txBox="1"/>
            <p:nvPr/>
          </p:nvSpPr>
          <p:spPr>
            <a:xfrm>
              <a:off x="840350" y="3158750"/>
              <a:ext cx="1712400" cy="641100"/>
            </a:xfrm>
            <a:prstGeom prst="rect">
              <a:avLst/>
            </a:prstGeom>
            <a:noFill/>
            <a:ln>
              <a:noFill/>
            </a:ln>
          </p:spPr>
          <p:txBody>
            <a:bodyPr spcFirstLastPara="1" wrap="square" lIns="0" tIns="30467" rIns="0" bIns="30467" anchor="t" anchorCtr="0">
              <a:noAutofit/>
            </a:bodyPr>
            <a:lstStyle/>
            <a:p>
              <a:pPr marL="0" marR="0" lvl="0" indent="0" algn="l" defTabSz="914400" rtl="0" eaLnBrk="1" fontAlgn="auto" latinLnBrk="0" hangingPunct="1">
                <a:lnSpc>
                  <a:spcPct val="100000"/>
                </a:lnSpc>
                <a:spcBef>
                  <a:spcPts val="400"/>
                </a:spcBef>
                <a:spcAft>
                  <a:spcPts val="0"/>
                </a:spcAft>
                <a:buClr>
                  <a:srgbClr val="595959"/>
                </a:buClr>
                <a:buSzPts val="1100"/>
                <a:buFontTx/>
                <a:buNone/>
                <a:tabLst/>
                <a:defRPr/>
              </a:pPr>
              <a:r>
                <a:rPr kumimoji="0" lang="nl-NL" sz="1600" b="1" i="0" u="none" strike="noStrike" kern="1200" cap="none" spc="0" normalizeH="0" baseline="0" noProof="0" dirty="0">
                  <a:ln>
                    <a:noFill/>
                  </a:ln>
                  <a:solidFill>
                    <a:srgbClr val="009CDE"/>
                  </a:solidFill>
                  <a:effectLst/>
                  <a:uLnTx/>
                  <a:uFillTx/>
                  <a:latin typeface="Arial"/>
                  <a:ea typeface="Arial"/>
                  <a:cs typeface="Arial"/>
                  <a:sym typeface="Arial"/>
                </a:rPr>
                <a:t>Outcomes</a:t>
              </a:r>
              <a:endParaRPr kumimoji="0" sz="1600" b="0" i="0" u="none" strike="noStrike" kern="1200" cap="none" spc="0" normalizeH="0" baseline="0" noProof="0" dirty="0">
                <a:ln>
                  <a:noFill/>
                </a:ln>
                <a:solidFill>
                  <a:srgbClr val="595959"/>
                </a:solidFill>
                <a:effectLst/>
                <a:uLnTx/>
                <a:uFillTx/>
                <a:latin typeface="Arial"/>
                <a:ea typeface="Arial"/>
                <a:cs typeface="Arial"/>
                <a:sym typeface="Arial"/>
              </a:endParaRPr>
            </a:p>
          </p:txBody>
        </p:sp>
        <p:cxnSp>
          <p:nvCxnSpPr>
            <p:cNvPr id="1642" name="Google Shape;1642;p15"/>
            <p:cNvCxnSpPr>
              <a:stCxn id="1641" idx="3"/>
            </p:cNvCxnSpPr>
            <p:nvPr/>
          </p:nvCxnSpPr>
          <p:spPr>
            <a:xfrm>
              <a:off x="2552750" y="3479300"/>
              <a:ext cx="5981700" cy="0"/>
            </a:xfrm>
            <a:prstGeom prst="straightConnector1">
              <a:avLst/>
            </a:prstGeom>
            <a:noFill/>
            <a:ln w="19050" cap="flat" cmpd="sng">
              <a:solidFill>
                <a:srgbClr val="6703E9"/>
              </a:solidFill>
              <a:prstDash val="solid"/>
              <a:round/>
              <a:headEnd type="none" w="sm" len="sm"/>
              <a:tailEnd type="none" w="sm" len="sm"/>
            </a:ln>
          </p:spPr>
        </p:cxnSp>
      </p:grpSp>
      <p:sp>
        <p:nvSpPr>
          <p:cNvPr id="1643" name="Google Shape;1643;p15"/>
          <p:cNvSpPr/>
          <p:nvPr/>
        </p:nvSpPr>
        <p:spPr>
          <a:xfrm>
            <a:off x="667996" y="3633541"/>
            <a:ext cx="6647204" cy="892719"/>
          </a:xfrm>
          <a:prstGeom prst="rect">
            <a:avLst/>
          </a:prstGeom>
          <a:noFill/>
          <a:ln>
            <a:noFill/>
          </a:ln>
        </p:spPr>
        <p:txBody>
          <a:bodyPr spcFirstLastPara="1" wrap="square" lIns="0" tIns="30467" rIns="0" bIns="30467" anchor="t" anchorCtr="0">
            <a:spAutoFit/>
          </a:bodyPr>
          <a:lstStyle/>
          <a:p>
            <a:pPr marL="304815" marR="0" lvl="0" indent="-304815" algn="l" defTabSz="914400" rtl="0" eaLnBrk="1" fontAlgn="auto" latinLnBrk="0" hangingPunct="1">
              <a:lnSpc>
                <a:spcPct val="100000"/>
              </a:lnSpc>
              <a:spcBef>
                <a:spcPts val="0"/>
              </a:spcBef>
              <a:spcAft>
                <a:spcPts val="0"/>
              </a:spcAft>
              <a:buClr>
                <a:srgbClr val="009CDE"/>
              </a:buClr>
              <a:buSzPts val="2200"/>
              <a:buFont typeface="Noto Sans Symbols"/>
              <a:buChar char="▪"/>
              <a:tabLst/>
              <a:defRPr/>
            </a:pPr>
            <a:r>
              <a:rPr kumimoji="0" lang="en-US" sz="1467" b="0" i="0" u="none" strike="noStrike" kern="1200" cap="none" spc="0" normalizeH="0" baseline="0" noProof="0" dirty="0">
                <a:ln>
                  <a:noFill/>
                </a:ln>
                <a:solidFill>
                  <a:schemeClr val="accent2"/>
                </a:solidFill>
                <a:effectLst/>
                <a:uLnTx/>
                <a:uFillTx/>
                <a:latin typeface="Arial"/>
                <a:ea typeface="Arial"/>
                <a:cs typeface="Arial"/>
                <a:sym typeface="Arial"/>
              </a:rPr>
              <a:t>100% Cloud / Network / Asset Visibility</a:t>
            </a:r>
            <a:endParaRPr kumimoji="0" sz="933" b="0" i="0" u="none" strike="noStrike" kern="1200" cap="none" spc="0" normalizeH="0" baseline="0" noProof="0" dirty="0">
              <a:ln>
                <a:noFill/>
              </a:ln>
              <a:solidFill>
                <a:schemeClr val="accent2"/>
              </a:solidFill>
              <a:effectLst/>
              <a:uLnTx/>
              <a:uFillTx/>
              <a:latin typeface="Arial"/>
              <a:ea typeface="Arial"/>
              <a:cs typeface="Arial"/>
              <a:sym typeface="Arial"/>
            </a:endParaRPr>
          </a:p>
          <a:p>
            <a:pPr marL="304815" marR="0" lvl="0" indent="-304815" algn="l" defTabSz="914400" rtl="0" eaLnBrk="1" fontAlgn="auto" latinLnBrk="0" hangingPunct="1">
              <a:lnSpc>
                <a:spcPct val="100000"/>
              </a:lnSpc>
              <a:spcBef>
                <a:spcPts val="400"/>
              </a:spcBef>
              <a:spcAft>
                <a:spcPts val="0"/>
              </a:spcAft>
              <a:buClr>
                <a:srgbClr val="009CDE"/>
              </a:buClr>
              <a:buSzPts val="2200"/>
              <a:buFont typeface="Noto Sans Symbols"/>
              <a:buChar char="▪"/>
              <a:tabLst/>
              <a:defRPr/>
            </a:pPr>
            <a:r>
              <a:rPr kumimoji="0" lang="en-US" sz="1467" b="0" i="0" u="none" strike="noStrike" kern="1200" cap="none" spc="0" normalizeH="0" baseline="0" noProof="0" dirty="0">
                <a:ln>
                  <a:noFill/>
                </a:ln>
                <a:solidFill>
                  <a:schemeClr val="accent2"/>
                </a:solidFill>
                <a:effectLst/>
                <a:uLnTx/>
                <a:uFillTx/>
                <a:latin typeface="Arial"/>
                <a:ea typeface="Arial"/>
                <a:cs typeface="Arial"/>
                <a:sym typeface="Arial"/>
              </a:rPr>
              <a:t>Proactive cyber risk management</a:t>
            </a:r>
            <a:endParaRPr kumimoji="0" sz="933" b="0" i="0" u="none" strike="noStrike" kern="1200" cap="none" spc="0" normalizeH="0" baseline="0" noProof="0" dirty="0">
              <a:ln>
                <a:noFill/>
              </a:ln>
              <a:solidFill>
                <a:schemeClr val="accent2"/>
              </a:solidFill>
              <a:effectLst/>
              <a:uLnTx/>
              <a:uFillTx/>
              <a:latin typeface="Arial"/>
              <a:ea typeface="Arial"/>
              <a:cs typeface="Arial"/>
              <a:sym typeface="Arial"/>
            </a:endParaRPr>
          </a:p>
          <a:p>
            <a:pPr marL="304815" marR="0" lvl="0" indent="-304815" algn="l" defTabSz="914400" rtl="0" eaLnBrk="1" fontAlgn="auto" latinLnBrk="0" hangingPunct="1">
              <a:lnSpc>
                <a:spcPct val="100000"/>
              </a:lnSpc>
              <a:spcBef>
                <a:spcPts val="400"/>
              </a:spcBef>
              <a:spcAft>
                <a:spcPts val="400"/>
              </a:spcAft>
              <a:buClr>
                <a:srgbClr val="009CDE"/>
              </a:buClr>
              <a:buSzPts val="2200"/>
              <a:buFont typeface="Noto Sans Symbols"/>
              <a:buChar char="▪"/>
              <a:tabLst/>
              <a:defRPr/>
            </a:pPr>
            <a:r>
              <a:rPr kumimoji="0" lang="nl-NL" sz="1467" b="0" i="0" u="none" strike="noStrike" kern="1200" cap="none" spc="0" normalizeH="0" baseline="0" noProof="0" dirty="0">
                <a:ln>
                  <a:noFill/>
                </a:ln>
                <a:solidFill>
                  <a:schemeClr val="accent2"/>
                </a:solidFill>
                <a:effectLst/>
                <a:uLnTx/>
                <a:uFillTx/>
                <a:latin typeface="Arial"/>
                <a:ea typeface="Arial"/>
                <a:cs typeface="Arial"/>
                <a:sym typeface="Arial"/>
              </a:rPr>
              <a:t>Prioritize risks based on exposure and enable targeted remediation</a:t>
            </a:r>
            <a:endParaRPr kumimoji="0" sz="933" b="0" i="0" u="none" strike="noStrike" kern="1200" cap="none" spc="0" normalizeH="0" baseline="0" noProof="0" dirty="0">
              <a:ln>
                <a:noFill/>
              </a:ln>
              <a:solidFill>
                <a:schemeClr val="accent2"/>
              </a:solidFill>
              <a:effectLst/>
              <a:uLnTx/>
              <a:uFillTx/>
              <a:latin typeface="Arial"/>
              <a:ea typeface="Arial"/>
              <a:cs typeface="Arial"/>
              <a:sym typeface="Arial"/>
            </a:endParaRPr>
          </a:p>
        </p:txBody>
      </p:sp>
      <p:grpSp>
        <p:nvGrpSpPr>
          <p:cNvPr id="1668" name="Group 1667">
            <a:extLst>
              <a:ext uri="{FF2B5EF4-FFF2-40B4-BE49-F238E27FC236}">
                <a16:creationId xmlns:a16="http://schemas.microsoft.com/office/drawing/2014/main" id="{FB0CE48D-ED9E-20BA-AB95-EF15510C1E73}"/>
              </a:ext>
            </a:extLst>
          </p:cNvPr>
          <p:cNvGrpSpPr/>
          <p:nvPr/>
        </p:nvGrpSpPr>
        <p:grpSpPr>
          <a:xfrm>
            <a:off x="6540705" y="1270490"/>
            <a:ext cx="5267914" cy="2328000"/>
            <a:chOff x="6096000" y="2269937"/>
            <a:chExt cx="5772008" cy="2731143"/>
          </a:xfrm>
        </p:grpSpPr>
        <p:sp>
          <p:nvSpPr>
            <p:cNvPr id="1602" name="Rectangle: Rounded Corners 1601">
              <a:extLst>
                <a:ext uri="{FF2B5EF4-FFF2-40B4-BE49-F238E27FC236}">
                  <a16:creationId xmlns:a16="http://schemas.microsoft.com/office/drawing/2014/main" id="{A473F481-F26D-48D2-275F-B57A29719761}"/>
                </a:ext>
              </a:extLst>
            </p:cNvPr>
            <p:cNvSpPr/>
            <p:nvPr/>
          </p:nvSpPr>
          <p:spPr>
            <a:xfrm>
              <a:off x="6096000" y="2269937"/>
              <a:ext cx="5737861" cy="2731143"/>
            </a:xfrm>
            <a:prstGeom prst="roundRect">
              <a:avLst/>
            </a:prstGeom>
            <a:solidFill>
              <a:srgbClr val="0A1B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24" name="Google Shape;393;p57" descr="Tenable-logo-white-2021.png">
              <a:extLst>
                <a:ext uri="{FF2B5EF4-FFF2-40B4-BE49-F238E27FC236}">
                  <a16:creationId xmlns:a16="http://schemas.microsoft.com/office/drawing/2014/main" id="{B6210EE7-683B-D798-FFDF-5A824E895288}"/>
                </a:ext>
              </a:extLst>
            </p:cNvPr>
            <p:cNvPicPr preferRelativeResize="0"/>
            <p:nvPr/>
          </p:nvPicPr>
          <p:blipFill rotWithShape="1">
            <a:blip r:embed="rId3">
              <a:alphaModFix/>
            </a:blip>
            <a:srcRect/>
            <a:stretch/>
          </p:blipFill>
          <p:spPr>
            <a:xfrm>
              <a:off x="6358714" y="4094824"/>
              <a:ext cx="2245198" cy="632398"/>
            </a:xfrm>
            <a:prstGeom prst="rect">
              <a:avLst/>
            </a:prstGeom>
            <a:noFill/>
            <a:ln>
              <a:noFill/>
            </a:ln>
          </p:spPr>
        </p:pic>
        <p:grpSp>
          <p:nvGrpSpPr>
            <p:cNvPr id="31" name="Group 30">
              <a:extLst>
                <a:ext uri="{FF2B5EF4-FFF2-40B4-BE49-F238E27FC236}">
                  <a16:creationId xmlns:a16="http://schemas.microsoft.com/office/drawing/2014/main" id="{DB2D632B-DB1C-E811-A4EE-E1BDB4B20BCA}"/>
                </a:ext>
              </a:extLst>
            </p:cNvPr>
            <p:cNvGrpSpPr/>
            <p:nvPr/>
          </p:nvGrpSpPr>
          <p:grpSpPr>
            <a:xfrm>
              <a:off x="9073593" y="4297454"/>
              <a:ext cx="2757944" cy="521270"/>
              <a:chOff x="8416462" y="1532162"/>
              <a:chExt cx="3089739" cy="583981"/>
            </a:xfrm>
          </p:grpSpPr>
          <p:sp>
            <p:nvSpPr>
              <p:cNvPr id="27" name="Google Shape;453;p61">
                <a:extLst>
                  <a:ext uri="{FF2B5EF4-FFF2-40B4-BE49-F238E27FC236}">
                    <a16:creationId xmlns:a16="http://schemas.microsoft.com/office/drawing/2014/main" id="{77E35F84-DE54-AA10-7735-1E450022B493}"/>
                  </a:ext>
                </a:extLst>
              </p:cNvPr>
              <p:cNvSpPr txBox="1"/>
              <p:nvPr/>
            </p:nvSpPr>
            <p:spPr>
              <a:xfrm>
                <a:off x="8967979" y="1555454"/>
                <a:ext cx="2538222" cy="436952"/>
              </a:xfrm>
              <a:prstGeom prst="rect">
                <a:avLst/>
              </a:prstGeom>
              <a:noFill/>
              <a:ln>
                <a:noFill/>
              </a:ln>
            </p:spPr>
            <p:txBody>
              <a:bodyPr spcFirstLastPara="1" wrap="square" lIns="45675" tIns="45675" rIns="45675" bIns="45675" anchor="ctr" anchorCtr="0">
                <a:spAutoFit/>
              </a:bodyPr>
              <a:lstStyle/>
              <a:p>
                <a:pPr marL="0" marR="0" lvl="0" indent="0" algn="l" defTabSz="914400" rtl="0" eaLnBrk="1" fontAlgn="auto" latinLnBrk="0" hangingPunct="1">
                  <a:lnSpc>
                    <a:spcPct val="80000"/>
                  </a:lnSpc>
                  <a:spcBef>
                    <a:spcPts val="0"/>
                  </a:spcBef>
                  <a:spcAft>
                    <a:spcPts val="0"/>
                  </a:spcAft>
                  <a:buClr>
                    <a:srgbClr val="FFFFFF"/>
                  </a:buClr>
                  <a:buSzPts val="3400"/>
                  <a:buFont typeface="Barlow Light"/>
                  <a:buNone/>
                  <a:tabLst/>
                  <a:defRPr/>
                </a:pPr>
                <a:r>
                  <a:rPr kumimoji="0" lang="en-US" sz="1400" b="0" i="0" u="none" strike="noStrike" kern="1200" cap="none" spc="0" normalizeH="0" baseline="0" noProof="0">
                    <a:ln>
                      <a:noFill/>
                    </a:ln>
                    <a:solidFill>
                      <a:srgbClr val="FFFFFF"/>
                    </a:solidFill>
                    <a:effectLst/>
                    <a:uLnTx/>
                    <a:uFillTx/>
                    <a:latin typeface="Barlow Light"/>
                    <a:ea typeface="Barlow Light"/>
                    <a:cs typeface="Barlow Light"/>
                    <a:sym typeface="Barlow Light"/>
                  </a:rPr>
                  <a:t>IN</a:t>
                </a:r>
                <a:r>
                  <a:rPr kumimoji="0" lang="en-US" sz="1400" b="0" i="0" u="none" strike="noStrike" kern="1200" cap="none" spc="0" normalizeH="0" baseline="0" noProof="0">
                    <a:ln>
                      <a:noFill/>
                    </a:ln>
                    <a:solidFill>
                      <a:srgbClr val="FFFFFF"/>
                    </a:solidFill>
                    <a:effectLst/>
                    <a:uLnTx/>
                    <a:uFillTx/>
                    <a:latin typeface="Barlow"/>
                    <a:ea typeface="Barlow"/>
                    <a:cs typeface="Barlow"/>
                    <a:sym typeface="Barlow"/>
                  </a:rPr>
                  <a:t> </a:t>
                </a:r>
                <a:r>
                  <a:rPr kumimoji="0" lang="en-US" sz="1400" b="1" i="0" u="none" strike="noStrike" kern="1200" cap="none" spc="0" normalizeH="0" baseline="0" noProof="0">
                    <a:ln>
                      <a:noFill/>
                    </a:ln>
                    <a:solidFill>
                      <a:srgbClr val="FFFFFF"/>
                    </a:solidFill>
                    <a:effectLst/>
                    <a:uLnTx/>
                    <a:uFillTx/>
                    <a:latin typeface="Barlow"/>
                    <a:ea typeface="Barlow"/>
                    <a:cs typeface="Barlow"/>
                    <a:sym typeface="Barlow"/>
                  </a:rPr>
                  <a:t>COVERAGE</a:t>
                </a:r>
                <a:r>
                  <a:rPr kumimoji="0" lang="en-US" sz="1400" b="0" i="0" u="none" strike="noStrike" kern="1200" cap="none" spc="0" normalizeH="0" baseline="0" noProof="0">
                    <a:ln>
                      <a:noFill/>
                    </a:ln>
                    <a:solidFill>
                      <a:srgbClr val="FFFFFF"/>
                    </a:solidFill>
                    <a:effectLst/>
                    <a:uLnTx/>
                    <a:uFillTx/>
                    <a:latin typeface="Barlow"/>
                    <a:ea typeface="Barlow"/>
                    <a:cs typeface="Barlow"/>
                    <a:sym typeface="Barlow"/>
                  </a:rPr>
                  <a:t>, </a:t>
                </a:r>
                <a:r>
                  <a:rPr kumimoji="0" lang="en-US" sz="1400" b="1" i="0" u="none" strike="noStrike" kern="1200" cap="none" spc="0" normalizeH="0" baseline="0" noProof="0">
                    <a:ln>
                      <a:noFill/>
                    </a:ln>
                    <a:solidFill>
                      <a:srgbClr val="FFFFFF"/>
                    </a:solidFill>
                    <a:effectLst/>
                    <a:uLnTx/>
                    <a:uFillTx/>
                    <a:latin typeface="Barlow"/>
                    <a:ea typeface="Barlow"/>
                    <a:cs typeface="Barlow"/>
                    <a:sym typeface="Barlow"/>
                  </a:rPr>
                  <a:t>ACCURACY</a:t>
                </a:r>
                <a:r>
                  <a:rPr kumimoji="0" lang="en-US" sz="1400" b="0" i="0" u="none" strike="noStrike" kern="1200" cap="none" spc="0" normalizeH="0" baseline="0" noProof="0">
                    <a:ln>
                      <a:noFill/>
                    </a:ln>
                    <a:solidFill>
                      <a:srgbClr val="FFFFFF"/>
                    </a:solidFill>
                    <a:effectLst/>
                    <a:uLnTx/>
                    <a:uFillTx/>
                    <a:latin typeface="Barlow"/>
                    <a:ea typeface="Barlow"/>
                    <a:cs typeface="Barlow"/>
                    <a:sym typeface="Barlow"/>
                  </a:rPr>
                  <a:t> </a:t>
                </a:r>
                <a:r>
                  <a:rPr kumimoji="0" lang="en-US" sz="1400" b="0" i="0" u="none" strike="noStrike" kern="1200" cap="none" spc="0" normalizeH="0" baseline="0" noProof="0">
                    <a:ln>
                      <a:noFill/>
                    </a:ln>
                    <a:solidFill>
                      <a:srgbClr val="FFFFFF"/>
                    </a:solidFill>
                    <a:effectLst/>
                    <a:uLnTx/>
                    <a:uFillTx/>
                    <a:latin typeface="Barlow Light"/>
                    <a:ea typeface="Barlow Light"/>
                    <a:cs typeface="Barlow Light"/>
                    <a:sym typeface="Barlow Light"/>
                  </a:rPr>
                  <a:t>AND </a:t>
                </a:r>
                <a:r>
                  <a:rPr kumimoji="0" lang="en-US" sz="1400" b="1" i="0" u="none" strike="noStrike" kern="1200" cap="none" spc="0" normalizeH="0" baseline="0" noProof="0">
                    <a:ln>
                      <a:noFill/>
                    </a:ln>
                    <a:solidFill>
                      <a:srgbClr val="FFFFFF"/>
                    </a:solidFill>
                    <a:effectLst/>
                    <a:uLnTx/>
                    <a:uFillTx/>
                    <a:latin typeface="Barlow"/>
                    <a:ea typeface="Barlow"/>
                    <a:cs typeface="Barlow"/>
                    <a:sym typeface="Barlow"/>
                  </a:rPr>
                  <a:t>ZERO DAY RESEARCH</a:t>
                </a:r>
                <a:endParaRPr kumimoji="0" sz="900" b="0" i="0" u="none" strike="noStrike" kern="1200" cap="none" spc="0" normalizeH="0" baseline="0" noProof="0">
                  <a:ln>
                    <a:noFill/>
                  </a:ln>
                  <a:solidFill>
                    <a:srgbClr val="595959"/>
                  </a:solidFill>
                  <a:effectLst/>
                  <a:uLnTx/>
                  <a:uFillTx/>
                  <a:latin typeface="Arial" panose="020B0604020202020204"/>
                  <a:ea typeface="+mn-ea"/>
                  <a:cs typeface="+mn-cs"/>
                </a:endParaRPr>
              </a:p>
            </p:txBody>
          </p:sp>
          <p:grpSp>
            <p:nvGrpSpPr>
              <p:cNvPr id="30" name="Group 29">
                <a:extLst>
                  <a:ext uri="{FF2B5EF4-FFF2-40B4-BE49-F238E27FC236}">
                    <a16:creationId xmlns:a16="http://schemas.microsoft.com/office/drawing/2014/main" id="{80504FCB-B18D-169D-C2E4-349BE82E7DD5}"/>
                  </a:ext>
                </a:extLst>
              </p:cNvPr>
              <p:cNvGrpSpPr/>
              <p:nvPr/>
            </p:nvGrpSpPr>
            <p:grpSpPr>
              <a:xfrm>
                <a:off x="8416462" y="1532162"/>
                <a:ext cx="551516" cy="583981"/>
                <a:chOff x="7666254" y="1364776"/>
                <a:chExt cx="726581" cy="769351"/>
              </a:xfrm>
            </p:grpSpPr>
            <p:sp>
              <p:nvSpPr>
                <p:cNvPr id="28" name="Google Shape;454;p61">
                  <a:extLst>
                    <a:ext uri="{FF2B5EF4-FFF2-40B4-BE49-F238E27FC236}">
                      <a16:creationId xmlns:a16="http://schemas.microsoft.com/office/drawing/2014/main" id="{886EFFA5-DF4D-4ADD-0683-3872E198BB3B}"/>
                    </a:ext>
                  </a:extLst>
                </p:cNvPr>
                <p:cNvSpPr txBox="1"/>
                <p:nvPr/>
              </p:nvSpPr>
              <p:spPr>
                <a:xfrm>
                  <a:off x="7891224" y="1364776"/>
                  <a:ext cx="501611" cy="769351"/>
                </a:xfrm>
                <a:prstGeom prst="rect">
                  <a:avLst/>
                </a:prstGeom>
                <a:noFill/>
                <a:ln>
                  <a:noFill/>
                </a:ln>
              </p:spPr>
              <p:txBody>
                <a:bodyPr spcFirstLastPara="1" wrap="square" lIns="45675" tIns="45675" rIns="45675" bIns="45675" anchor="b" anchorCtr="0">
                  <a:spAutoFit/>
                </a:bodyPr>
                <a:lstStyle/>
                <a:p>
                  <a:pPr marL="0" marR="0" lvl="0" indent="0" algn="ctr" defTabSz="914400" rtl="0" eaLnBrk="1" fontAlgn="auto" latinLnBrk="0" hangingPunct="1">
                    <a:lnSpc>
                      <a:spcPct val="100000"/>
                    </a:lnSpc>
                    <a:spcBef>
                      <a:spcPts val="0"/>
                    </a:spcBef>
                    <a:spcAft>
                      <a:spcPts val="0"/>
                    </a:spcAft>
                    <a:buClr>
                      <a:srgbClr val="FFFFFF"/>
                    </a:buClr>
                    <a:buSzPts val="29000"/>
                    <a:buFont typeface="Barlow Black"/>
                    <a:buNone/>
                    <a:tabLst/>
                    <a:defRPr/>
                  </a:pPr>
                  <a:r>
                    <a:rPr kumimoji="0" lang="en-US" sz="4400" b="0" i="0" u="none" strike="noStrike" kern="1200" cap="none" spc="0" normalizeH="0" baseline="0" noProof="0">
                      <a:ln>
                        <a:noFill/>
                      </a:ln>
                      <a:solidFill>
                        <a:srgbClr val="FFFFFF"/>
                      </a:solidFill>
                      <a:effectLst/>
                      <a:uLnTx/>
                      <a:uFillTx/>
                      <a:latin typeface="Barlow Black"/>
                      <a:ea typeface="Barlow Black"/>
                      <a:cs typeface="Barlow Black"/>
                      <a:sym typeface="Barlow Black"/>
                    </a:rPr>
                    <a:t>1</a:t>
                  </a:r>
                  <a:endParaRPr kumimoji="0" sz="1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29" name="Google Shape;455;p61">
                  <a:extLst>
                    <a:ext uri="{FF2B5EF4-FFF2-40B4-BE49-F238E27FC236}">
                      <a16:creationId xmlns:a16="http://schemas.microsoft.com/office/drawing/2014/main" id="{066E0740-62F8-4020-0514-41E39A074EDD}"/>
                    </a:ext>
                  </a:extLst>
                </p:cNvPr>
                <p:cNvSpPr txBox="1"/>
                <p:nvPr/>
              </p:nvSpPr>
              <p:spPr>
                <a:xfrm>
                  <a:off x="7666254" y="1475180"/>
                  <a:ext cx="404395" cy="400019"/>
                </a:xfrm>
                <a:prstGeom prst="rect">
                  <a:avLst/>
                </a:prstGeom>
                <a:noFill/>
                <a:ln>
                  <a:noFill/>
                </a:ln>
              </p:spPr>
              <p:txBody>
                <a:bodyPr spcFirstLastPara="1" wrap="square" lIns="45675" tIns="45675" rIns="45675" bIns="45675" anchor="b" anchorCtr="0">
                  <a:spAutoFit/>
                </a:bodyPr>
                <a:lstStyle/>
                <a:p>
                  <a:pPr marL="0" marR="0" lvl="0" indent="0" algn="ctr" defTabSz="914400" rtl="0" eaLnBrk="1" fontAlgn="auto" latinLnBrk="0" hangingPunct="1">
                    <a:lnSpc>
                      <a:spcPct val="100000"/>
                    </a:lnSpc>
                    <a:spcBef>
                      <a:spcPts val="0"/>
                    </a:spcBef>
                    <a:spcAft>
                      <a:spcPts val="0"/>
                    </a:spcAft>
                    <a:buClr>
                      <a:srgbClr val="FFFFFF"/>
                    </a:buClr>
                    <a:buSzPts val="12000"/>
                    <a:buFont typeface="Barlow"/>
                    <a:buNone/>
                    <a:tabLst/>
                    <a:defRPr/>
                  </a:pPr>
                  <a:r>
                    <a:rPr kumimoji="0" lang="en-US" sz="2000" b="1" i="0" u="none" strike="noStrike" kern="1200" cap="none" spc="0" normalizeH="0" baseline="0" noProof="0">
                      <a:ln>
                        <a:noFill/>
                      </a:ln>
                      <a:solidFill>
                        <a:srgbClr val="FFFFFF"/>
                      </a:solidFill>
                      <a:effectLst/>
                      <a:uLnTx/>
                      <a:uFillTx/>
                      <a:latin typeface="Barlow"/>
                      <a:ea typeface="Barlow"/>
                      <a:cs typeface="Barlow"/>
                      <a:sym typeface="Barlow"/>
                    </a:rPr>
                    <a:t>#</a:t>
                  </a:r>
                  <a:endParaRPr kumimoji="0" sz="100" b="0" i="0" u="none" strike="noStrike" kern="1200" cap="none" spc="0" normalizeH="0" baseline="0" noProof="0">
                    <a:ln>
                      <a:noFill/>
                    </a:ln>
                    <a:solidFill>
                      <a:srgbClr val="595959"/>
                    </a:solidFill>
                    <a:effectLst/>
                    <a:uLnTx/>
                    <a:uFillTx/>
                    <a:latin typeface="Arial" panose="020B0604020202020204"/>
                    <a:ea typeface="+mn-ea"/>
                    <a:cs typeface="+mn-cs"/>
                  </a:endParaRPr>
                </a:p>
              </p:txBody>
            </p:sp>
          </p:grpSp>
        </p:grpSp>
        <p:sp>
          <p:nvSpPr>
            <p:cNvPr id="1665" name="Google Shape;327;p55">
              <a:extLst>
                <a:ext uri="{FF2B5EF4-FFF2-40B4-BE49-F238E27FC236}">
                  <a16:creationId xmlns:a16="http://schemas.microsoft.com/office/drawing/2014/main" id="{B3252C9D-DECD-5B54-CC1A-09FE18B7EDD5}"/>
                </a:ext>
              </a:extLst>
            </p:cNvPr>
            <p:cNvSpPr txBox="1"/>
            <p:nvPr/>
          </p:nvSpPr>
          <p:spPr>
            <a:xfrm>
              <a:off x="6130148" y="2584494"/>
              <a:ext cx="5737860" cy="313892"/>
            </a:xfrm>
            <a:prstGeom prst="rect">
              <a:avLst/>
            </a:prstGeom>
            <a:noFill/>
            <a:ln>
              <a:noFill/>
            </a:ln>
          </p:spPr>
          <p:txBody>
            <a:bodyPr spcFirstLastPara="1" wrap="square" lIns="45700" tIns="45700" rIns="45700" bIns="45700" anchor="t" anchorCtr="0">
              <a:spAutoFit/>
            </a:bodyPr>
            <a:lstStyle/>
            <a:p>
              <a:pPr marL="0" marR="0" lvl="0" indent="0" algn="l" defTabSz="914400" rtl="0" eaLnBrk="1" fontAlgn="auto" latinLnBrk="0" hangingPunct="1">
                <a:lnSpc>
                  <a:spcPct val="80000"/>
                </a:lnSpc>
                <a:spcBef>
                  <a:spcPts val="0"/>
                </a:spcBef>
                <a:spcAft>
                  <a:spcPts val="0"/>
                </a:spcAft>
                <a:buClr>
                  <a:srgbClr val="FFFFFF"/>
                </a:buClr>
                <a:buSzPts val="5700"/>
                <a:buFont typeface="Barlow Thin"/>
                <a:buNone/>
                <a:tabLst/>
                <a:defRPr/>
              </a:pPr>
              <a:r>
                <a:rPr kumimoji="0" lang="en-US" sz="1800" b="0" i="0" u="none" strike="noStrike" kern="1200" cap="none" spc="0" normalizeH="0" baseline="0" noProof="0">
                  <a:ln>
                    <a:noFill/>
                  </a:ln>
                  <a:solidFill>
                    <a:srgbClr val="FFFFFF"/>
                  </a:solidFill>
                  <a:effectLst/>
                  <a:uLnTx/>
                  <a:uFillTx/>
                  <a:latin typeface="Barlow Thin"/>
                  <a:ea typeface="Barlow Thin"/>
                  <a:cs typeface="Barlow Thin"/>
                  <a:sym typeface="Barlow Thin"/>
                </a:rPr>
                <a:t>BEHIND EVERY </a:t>
              </a:r>
              <a:r>
                <a:rPr kumimoji="0" lang="en-US" sz="1800" b="1" i="0" u="none" strike="noStrike" kern="1200" cap="none" spc="0" normalizeH="0" baseline="0" noProof="0">
                  <a:ln>
                    <a:noFill/>
                  </a:ln>
                  <a:solidFill>
                    <a:srgbClr val="FFFFFF"/>
                  </a:solidFill>
                  <a:effectLst/>
                  <a:uLnTx/>
                  <a:uFillTx/>
                  <a:latin typeface="Barlow"/>
                  <a:ea typeface="Barlow"/>
                  <a:cs typeface="Barlow"/>
                  <a:sym typeface="Barlow"/>
                </a:rPr>
                <a:t>BREACH</a:t>
              </a:r>
              <a:r>
                <a:rPr kumimoji="0" lang="en-US" sz="1800" b="0" i="0" u="none" strike="noStrike" kern="1200" cap="none" spc="0" normalizeH="0" baseline="0" noProof="0">
                  <a:ln>
                    <a:noFill/>
                  </a:ln>
                  <a:solidFill>
                    <a:srgbClr val="FFFFFF"/>
                  </a:solidFill>
                  <a:effectLst/>
                  <a:uLnTx/>
                  <a:uFillTx/>
                  <a:latin typeface="Barlow Thin"/>
                  <a:ea typeface="Barlow Thin"/>
                  <a:cs typeface="Barlow Thin"/>
                  <a:sym typeface="Barlow Thin"/>
                </a:rPr>
                <a:t> HEADLINE</a:t>
              </a:r>
              <a:r>
                <a:rPr kumimoji="0" lang="en-US" sz="400" b="1" i="0" u="none" strike="noStrike" kern="1200" cap="none" spc="0" normalizeH="0" baseline="0" noProof="0">
                  <a:ln>
                    <a:noFill/>
                  </a:ln>
                  <a:solidFill>
                    <a:srgbClr val="3F9C35"/>
                  </a:solidFill>
                  <a:effectLst/>
                  <a:uLnTx/>
                  <a:uFillTx/>
                  <a:latin typeface="Barlow"/>
                  <a:ea typeface="Barlow Thin"/>
                  <a:cs typeface="Barlow Thin"/>
                  <a:sym typeface="Barlow"/>
                </a:rPr>
                <a:t> </a:t>
              </a:r>
              <a:r>
                <a:rPr kumimoji="0" lang="en-US" sz="1800" b="0" i="0" u="none" strike="noStrike" kern="1200" cap="none" spc="0" normalizeH="0" baseline="0" noProof="0">
                  <a:ln>
                    <a:noFill/>
                  </a:ln>
                  <a:solidFill>
                    <a:srgbClr val="FFFFFF"/>
                  </a:solidFill>
                  <a:effectLst/>
                  <a:uLnTx/>
                  <a:uFillTx/>
                  <a:latin typeface="Barlow Thin"/>
                  <a:ea typeface="Barlow Thin"/>
                  <a:cs typeface="Barlow Thin"/>
                  <a:sym typeface="Barlow Thin"/>
                </a:rPr>
                <a:t>ARE </a:t>
              </a:r>
              <a:r>
                <a:rPr kumimoji="0" lang="en-US" sz="1800" b="1" i="0" u="none" strike="noStrike" kern="1200" cap="none" spc="0" normalizeH="0" baseline="0" noProof="0">
                  <a:ln>
                    <a:noFill/>
                  </a:ln>
                  <a:solidFill>
                    <a:srgbClr val="FFFFFF"/>
                  </a:solidFill>
                  <a:effectLst/>
                  <a:uLnTx/>
                  <a:uFillTx/>
                  <a:latin typeface="Barlow"/>
                  <a:ea typeface="Barlow"/>
                  <a:cs typeface="Barlow"/>
                  <a:sym typeface="Barlow"/>
                </a:rPr>
                <a:t>KNOWN FLAWS</a:t>
              </a:r>
              <a:endParaRPr kumimoji="0" sz="6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1666" name="Google Shape;403;p58">
              <a:extLst>
                <a:ext uri="{FF2B5EF4-FFF2-40B4-BE49-F238E27FC236}">
                  <a16:creationId xmlns:a16="http://schemas.microsoft.com/office/drawing/2014/main" id="{9FB9E0D5-4188-7DD6-7FE3-47380403E268}"/>
                </a:ext>
              </a:extLst>
            </p:cNvPr>
            <p:cNvSpPr txBox="1"/>
            <p:nvPr/>
          </p:nvSpPr>
          <p:spPr>
            <a:xfrm>
              <a:off x="6157993" y="3177677"/>
              <a:ext cx="2361385" cy="695535"/>
            </a:xfrm>
            <a:prstGeom prst="rect">
              <a:avLst/>
            </a:prstGeom>
            <a:noFill/>
            <a:ln>
              <a:noFill/>
            </a:ln>
          </p:spPr>
          <p:txBody>
            <a:bodyPr spcFirstLastPara="1" wrap="square" lIns="45700" tIns="45700" rIns="45700" bIns="45700" anchor="t" anchorCtr="0">
              <a:spAutoFit/>
            </a:bodyPr>
            <a:lstStyle/>
            <a:p>
              <a:pPr marL="0" marR="0" lvl="0" indent="0" algn="l" defTabSz="914400" rtl="0" eaLnBrk="1" fontAlgn="auto" latinLnBrk="0" hangingPunct="1">
                <a:lnSpc>
                  <a:spcPct val="70000"/>
                </a:lnSpc>
                <a:spcBef>
                  <a:spcPts val="0"/>
                </a:spcBef>
                <a:spcAft>
                  <a:spcPts val="0"/>
                </a:spcAft>
                <a:buClr>
                  <a:srgbClr val="FFFFFF"/>
                </a:buClr>
                <a:buSzPts val="8200"/>
                <a:buFont typeface="Barlow Thin"/>
                <a:buNone/>
                <a:tabLst/>
                <a:defRPr/>
              </a:pPr>
              <a:r>
                <a:rPr kumimoji="0" lang="en-US" sz="2800" b="0" i="0" u="none" strike="noStrike" kern="1200" cap="none" spc="0" normalizeH="0" baseline="0" noProof="0" dirty="0">
                  <a:ln>
                    <a:noFill/>
                  </a:ln>
                  <a:solidFill>
                    <a:srgbClr val="FFFFFF"/>
                  </a:solidFill>
                  <a:effectLst/>
                  <a:uLnTx/>
                  <a:uFillTx/>
                  <a:latin typeface="Barlow Thin"/>
                  <a:ea typeface="Barlow Thin"/>
                  <a:cs typeface="Barlow Thin"/>
                  <a:sym typeface="Barlow Thin"/>
                </a:rPr>
                <a:t>SEE</a:t>
              </a:r>
              <a:r>
                <a:rPr kumimoji="0" lang="en-US" sz="500" b="0" i="0" u="none" strike="noStrike" kern="1200" cap="none" spc="0" normalizeH="0" baseline="0" noProof="0" dirty="0">
                  <a:ln>
                    <a:noFill/>
                  </a:ln>
                  <a:solidFill>
                    <a:srgbClr val="595959"/>
                  </a:solidFill>
                  <a:effectLst/>
                  <a:uLnTx/>
                  <a:uFillTx/>
                  <a:latin typeface="Arial" panose="020B0604020202020204"/>
                  <a:ea typeface="+mn-ea"/>
                  <a:cs typeface="+mn-cs"/>
                  <a:sym typeface="Barlow Thin"/>
                </a:rPr>
                <a:t> </a:t>
              </a:r>
            </a:p>
            <a:p>
              <a:pPr marL="0" marR="0" lvl="0" indent="0" algn="l" defTabSz="914400" rtl="0" eaLnBrk="1" fontAlgn="auto" latinLnBrk="0" hangingPunct="1">
                <a:lnSpc>
                  <a:spcPct val="70000"/>
                </a:lnSpc>
                <a:spcBef>
                  <a:spcPts val="0"/>
                </a:spcBef>
                <a:spcAft>
                  <a:spcPts val="0"/>
                </a:spcAft>
                <a:buClr>
                  <a:srgbClr val="FFFFFF"/>
                </a:buClr>
                <a:buSzPts val="8200"/>
                <a:buFont typeface="Barlow"/>
                <a:buNone/>
                <a:tabLst/>
                <a:defRPr/>
              </a:pPr>
              <a:r>
                <a:rPr kumimoji="0" lang="en-US" sz="2800" b="1" i="0" u="none" strike="noStrike" kern="1200" cap="none" spc="0" normalizeH="0" baseline="0" noProof="0" dirty="0">
                  <a:ln>
                    <a:noFill/>
                  </a:ln>
                  <a:solidFill>
                    <a:srgbClr val="FFFFFF"/>
                  </a:solidFill>
                  <a:effectLst/>
                  <a:uLnTx/>
                  <a:uFillTx/>
                  <a:latin typeface="Barlow"/>
                  <a:ea typeface="Barlow"/>
                  <a:cs typeface="Barlow"/>
                  <a:sym typeface="Barlow"/>
                </a:rPr>
                <a:t>Exposure</a:t>
              </a:r>
              <a:endParaRPr kumimoji="0" sz="500" b="0" i="0" u="none" strike="noStrike" kern="1200" cap="none" spc="0" normalizeH="0" baseline="0" noProof="0" dirty="0">
                <a:ln>
                  <a:noFill/>
                </a:ln>
                <a:solidFill>
                  <a:srgbClr val="595959"/>
                </a:solidFill>
                <a:effectLst/>
                <a:uLnTx/>
                <a:uFillTx/>
                <a:latin typeface="Arial" panose="020B0604020202020204"/>
                <a:ea typeface="+mn-ea"/>
                <a:cs typeface="+mn-cs"/>
              </a:endParaRPr>
            </a:p>
          </p:txBody>
        </p:sp>
        <p:sp>
          <p:nvSpPr>
            <p:cNvPr id="1667" name="Google Shape;335;p56">
              <a:extLst>
                <a:ext uri="{FF2B5EF4-FFF2-40B4-BE49-F238E27FC236}">
                  <a16:creationId xmlns:a16="http://schemas.microsoft.com/office/drawing/2014/main" id="{FE7B683A-92DC-8B04-854F-F167D74CEAD1}"/>
                </a:ext>
              </a:extLst>
            </p:cNvPr>
            <p:cNvSpPr txBox="1"/>
            <p:nvPr/>
          </p:nvSpPr>
          <p:spPr>
            <a:xfrm>
              <a:off x="7893328" y="3106143"/>
              <a:ext cx="3888162" cy="830956"/>
            </a:xfrm>
            <a:prstGeom prst="rect">
              <a:avLst/>
            </a:prstGeom>
            <a:noFill/>
            <a:ln>
              <a:noFill/>
            </a:ln>
          </p:spPr>
          <p:txBody>
            <a:bodyPr spcFirstLastPara="1" wrap="square" lIns="45700" tIns="45700" rIns="45700" bIns="45700" anchor="t" anchorCtr="0">
              <a:spAutoFit/>
            </a:bodyPr>
            <a:lstStyle/>
            <a:p>
              <a:pPr marL="0" marR="0" lvl="0" indent="0" algn="r" defTabSz="914400" rtl="0" eaLnBrk="1" fontAlgn="auto" latinLnBrk="0" hangingPunct="1">
                <a:lnSpc>
                  <a:spcPct val="80000"/>
                </a:lnSpc>
                <a:spcBef>
                  <a:spcPts val="0"/>
                </a:spcBef>
                <a:spcAft>
                  <a:spcPts val="0"/>
                </a:spcAft>
                <a:buClr>
                  <a:srgbClr val="FFFFFF"/>
                </a:buClr>
                <a:buSzPts val="4700"/>
                <a:buFont typeface="Barlow"/>
                <a:buNone/>
                <a:tabLst/>
                <a:defRPr/>
              </a:pPr>
              <a:r>
                <a:rPr kumimoji="0" lang="en-US" sz="2000" b="1" i="0" u="none" strike="noStrike" kern="1200" cap="none" spc="0" normalizeH="0" baseline="0" noProof="0">
                  <a:ln>
                    <a:noFill/>
                  </a:ln>
                  <a:solidFill>
                    <a:srgbClr val="FFFFFF"/>
                  </a:solidFill>
                  <a:effectLst/>
                  <a:uLnTx/>
                  <a:uFillTx/>
                  <a:latin typeface="Barlow"/>
                  <a:ea typeface="Barlow"/>
                  <a:cs typeface="Barlow"/>
                  <a:sym typeface="Barlow"/>
                </a:rPr>
                <a:t>RANSOMWARE IS </a:t>
              </a:r>
              <a:r>
                <a:rPr kumimoji="0" lang="en-US" sz="2000" b="0" i="0" u="none" strike="noStrike" kern="1200" cap="none" spc="0" normalizeH="0" baseline="0" noProof="0">
                  <a:ln>
                    <a:noFill/>
                  </a:ln>
                  <a:solidFill>
                    <a:srgbClr val="FFFFFF"/>
                  </a:solidFill>
                  <a:effectLst/>
                  <a:uLnTx/>
                  <a:uFillTx/>
                  <a:latin typeface="Barlow Thin"/>
                  <a:ea typeface="Barlow Thin"/>
                  <a:cs typeface="Barlow Thin"/>
                  <a:sym typeface="Barlow Thin"/>
                </a:rPr>
                <a:t>THE</a:t>
              </a:r>
              <a:r>
                <a:rPr kumimoji="0" lang="en-US" sz="2000" b="1" i="0" u="none" strike="noStrike" kern="1200" cap="none" spc="0" normalizeH="0" baseline="0" noProof="0">
                  <a:ln>
                    <a:noFill/>
                  </a:ln>
                  <a:solidFill>
                    <a:srgbClr val="FFFFFF"/>
                  </a:solidFill>
                  <a:effectLst/>
                  <a:uLnTx/>
                  <a:uFillTx/>
                  <a:latin typeface="Barlow"/>
                  <a:ea typeface="Barlow"/>
                  <a:cs typeface="Barlow"/>
                  <a:sym typeface="Barlow"/>
                </a:rPr>
                <a:t> MONETIZATION </a:t>
              </a:r>
              <a:r>
                <a:rPr kumimoji="0" lang="en-US" sz="2000" b="0" i="0" u="none" strike="noStrike" kern="1200" cap="none" spc="0" normalizeH="0" baseline="0" noProof="0">
                  <a:ln>
                    <a:noFill/>
                  </a:ln>
                  <a:solidFill>
                    <a:srgbClr val="FFFFFF"/>
                  </a:solidFill>
                  <a:effectLst/>
                  <a:uLnTx/>
                  <a:uFillTx/>
                  <a:latin typeface="Barlow Thin"/>
                  <a:ea typeface="Barlow Thin"/>
                  <a:cs typeface="Barlow Thin"/>
                  <a:sym typeface="Barlow Thin"/>
                </a:rPr>
                <a:t>OF</a:t>
              </a:r>
              <a:r>
                <a:rPr kumimoji="0" lang="en-US" sz="2000" b="0" i="0" u="none" strike="noStrike" kern="1200" cap="none" spc="0" normalizeH="0" baseline="0" noProof="0">
                  <a:ln>
                    <a:noFill/>
                  </a:ln>
                  <a:solidFill>
                    <a:srgbClr val="FFFFFF"/>
                  </a:solidFill>
                  <a:effectLst/>
                  <a:uLnTx/>
                  <a:uFillTx/>
                  <a:latin typeface="Barlow Light"/>
                  <a:ea typeface="Barlow Light"/>
                  <a:cs typeface="Barlow Light"/>
                  <a:sym typeface="Barlow Light"/>
                </a:rPr>
                <a:t> </a:t>
              </a:r>
              <a:r>
                <a:rPr kumimoji="0" lang="en-US" sz="2000" b="0" i="0" u="none" strike="noStrike" kern="1200" cap="none" spc="0" normalizeH="0" baseline="0" noProof="0">
                  <a:ln>
                    <a:noFill/>
                  </a:ln>
                  <a:solidFill>
                    <a:srgbClr val="FFFFFF"/>
                  </a:solidFill>
                  <a:effectLst/>
                  <a:uLnTx/>
                  <a:uFillTx/>
                  <a:latin typeface="Barlow Thin"/>
                  <a:ea typeface="Barlow Thin"/>
                  <a:cs typeface="Barlow Thin"/>
                  <a:sym typeface="Barlow Thin"/>
                </a:rPr>
                <a:t>POOR CYBER HYGIENE</a:t>
              </a:r>
              <a:endParaRPr kumimoji="0" sz="900" b="0" i="0" u="none" strike="noStrike" kern="1200" cap="none" spc="0" normalizeH="0" baseline="0" noProof="0">
                <a:ln>
                  <a:noFill/>
                </a:ln>
                <a:solidFill>
                  <a:srgbClr val="595959"/>
                </a:solidFill>
                <a:effectLst/>
                <a:uLnTx/>
                <a:uFillTx/>
                <a:latin typeface="Arial" panose="020B0604020202020204"/>
                <a:ea typeface="+mn-ea"/>
                <a:cs typeface="+mn-cs"/>
              </a:endParaRPr>
            </a:p>
          </p:txBody>
        </p:sp>
      </p:grpSp>
      <p:grpSp>
        <p:nvGrpSpPr>
          <p:cNvPr id="20" name="Group 19">
            <a:extLst>
              <a:ext uri="{FF2B5EF4-FFF2-40B4-BE49-F238E27FC236}">
                <a16:creationId xmlns:a16="http://schemas.microsoft.com/office/drawing/2014/main" id="{8BEFA26C-8ADD-E4FA-4EBF-5F7983C6ED23}"/>
              </a:ext>
            </a:extLst>
          </p:cNvPr>
          <p:cNvGrpSpPr/>
          <p:nvPr/>
        </p:nvGrpSpPr>
        <p:grpSpPr>
          <a:xfrm>
            <a:off x="1151869" y="4740161"/>
            <a:ext cx="9013350" cy="1477416"/>
            <a:chOff x="1151869" y="4671581"/>
            <a:chExt cx="9013350" cy="1477416"/>
          </a:xfrm>
        </p:grpSpPr>
        <p:grpSp>
          <p:nvGrpSpPr>
            <p:cNvPr id="3" name="Google Shape;457;p61">
              <a:extLst>
                <a:ext uri="{FF2B5EF4-FFF2-40B4-BE49-F238E27FC236}">
                  <a16:creationId xmlns:a16="http://schemas.microsoft.com/office/drawing/2014/main" id="{7264B782-2395-98B2-C16E-CE9DA70B8FFB}"/>
                </a:ext>
              </a:extLst>
            </p:cNvPr>
            <p:cNvGrpSpPr/>
            <p:nvPr/>
          </p:nvGrpSpPr>
          <p:grpSpPr>
            <a:xfrm>
              <a:off x="1206025" y="4755343"/>
              <a:ext cx="2032001" cy="1393654"/>
              <a:chOff x="0" y="0"/>
              <a:chExt cx="2032000" cy="1270000"/>
            </a:xfrm>
          </p:grpSpPr>
          <p:sp>
            <p:nvSpPr>
              <p:cNvPr id="17" name="Google Shape;458;p61">
                <a:extLst>
                  <a:ext uri="{FF2B5EF4-FFF2-40B4-BE49-F238E27FC236}">
                    <a16:creationId xmlns:a16="http://schemas.microsoft.com/office/drawing/2014/main" id="{44656007-73D6-B41E-0F0B-65BDB50C3226}"/>
                  </a:ext>
                </a:extLst>
              </p:cNvPr>
              <p:cNvSpPr/>
              <p:nvPr/>
            </p:nvSpPr>
            <p:spPr>
              <a:xfrm>
                <a:off x="0" y="0"/>
                <a:ext cx="2032000" cy="1270000"/>
              </a:xfrm>
              <a:prstGeom prst="roundRect">
                <a:avLst>
                  <a:gd name="adj" fmla="val 3135"/>
                </a:avLst>
              </a:prstGeom>
              <a:solidFill>
                <a:srgbClr val="5CB8AC">
                  <a:alpha val="50000"/>
                </a:srgbClr>
              </a:solidFill>
              <a:ln>
                <a:noFill/>
              </a:ln>
            </p:spPr>
            <p:style>
              <a:lnRef idx="0">
                <a:scrgbClr r="0" g="0" b="0"/>
              </a:lnRef>
              <a:fillRef idx="0">
                <a:scrgbClr r="0" g="0" b="0"/>
              </a:fillRef>
              <a:effectRef idx="0">
                <a:scrgbClr r="0" g="0" b="0"/>
              </a:effectRef>
              <a:fontRef idx="minor">
                <a:schemeClr val="lt1"/>
              </a:fontRef>
            </p:style>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
                    <a:srgbClr val="3F9C35"/>
                  </a:buClr>
                  <a:buSzPts val="1300"/>
                  <a:buFont typeface="Calibri"/>
                  <a:buNone/>
                  <a:tabLst/>
                  <a:defRPr/>
                </a:pPr>
                <a:endParaRPr kumimoji="0" sz="1300" b="0" i="0" u="none" strike="noStrike" kern="1200" cap="none" spc="0" normalizeH="0" baseline="0" noProof="0">
                  <a:ln>
                    <a:noFill/>
                  </a:ln>
                  <a:solidFill>
                    <a:srgbClr val="3F9C35"/>
                  </a:solidFill>
                  <a:effectLst/>
                  <a:uLnTx/>
                  <a:uFillTx/>
                  <a:latin typeface="Calibri"/>
                  <a:ea typeface="Calibri"/>
                  <a:cs typeface="Calibri"/>
                  <a:sym typeface="Calibri"/>
                </a:endParaRPr>
              </a:p>
            </p:txBody>
          </p:sp>
          <p:sp>
            <p:nvSpPr>
              <p:cNvPr id="18" name="Google Shape;459;p61">
                <a:extLst>
                  <a:ext uri="{FF2B5EF4-FFF2-40B4-BE49-F238E27FC236}">
                    <a16:creationId xmlns:a16="http://schemas.microsoft.com/office/drawing/2014/main" id="{1914482C-EFAF-1F6E-89F9-3EA41E5EED61}"/>
                  </a:ext>
                </a:extLst>
              </p:cNvPr>
              <p:cNvSpPr/>
              <p:nvPr/>
            </p:nvSpPr>
            <p:spPr>
              <a:xfrm>
                <a:off x="0" y="0"/>
                <a:ext cx="2032000" cy="1270000"/>
              </a:xfrm>
              <a:prstGeom prst="roundRect">
                <a:avLst>
                  <a:gd name="adj" fmla="val 3135"/>
                </a:avLst>
              </a:prstGeom>
              <a:solidFill>
                <a:srgbClr val="5CB8AC">
                  <a:alpha val="50000"/>
                </a:srgbClr>
              </a:solidFill>
              <a:ln>
                <a:noFill/>
              </a:ln>
            </p:spPr>
            <p:style>
              <a:lnRef idx="0">
                <a:scrgbClr r="0" g="0" b="0"/>
              </a:lnRef>
              <a:fillRef idx="0">
                <a:scrgbClr r="0" g="0" b="0"/>
              </a:fillRef>
              <a:effectRef idx="0">
                <a:scrgbClr r="0" g="0" b="0"/>
              </a:effectRef>
              <a:fontRef idx="minor">
                <a:schemeClr val="lt1"/>
              </a:fontRef>
            </p:style>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
                    <a:srgbClr val="3F9C35"/>
                  </a:buClr>
                  <a:buSzPts val="1300"/>
                  <a:buFont typeface="Calibri"/>
                  <a:buNone/>
                  <a:tabLst/>
                  <a:defRPr/>
                </a:pPr>
                <a:endParaRPr kumimoji="0" sz="1300" b="0" i="0" u="none" strike="noStrike" kern="1200" cap="none" spc="0" normalizeH="0" baseline="0" noProof="0">
                  <a:ln>
                    <a:noFill/>
                  </a:ln>
                  <a:solidFill>
                    <a:srgbClr val="3F9C35"/>
                  </a:solidFill>
                  <a:effectLst/>
                  <a:uLnTx/>
                  <a:uFillTx/>
                  <a:latin typeface="Calibri"/>
                  <a:ea typeface="Calibri"/>
                  <a:cs typeface="Calibri"/>
                  <a:sym typeface="Calibri"/>
                </a:endParaRPr>
              </a:p>
            </p:txBody>
          </p:sp>
        </p:grpSp>
        <p:sp>
          <p:nvSpPr>
            <p:cNvPr id="7" name="Google Shape;466;p61">
              <a:extLst>
                <a:ext uri="{FF2B5EF4-FFF2-40B4-BE49-F238E27FC236}">
                  <a16:creationId xmlns:a16="http://schemas.microsoft.com/office/drawing/2014/main" id="{E9F86622-4B8A-34BC-0ED1-AE5192AF2238}"/>
                </a:ext>
              </a:extLst>
            </p:cNvPr>
            <p:cNvSpPr txBox="1"/>
            <p:nvPr/>
          </p:nvSpPr>
          <p:spPr>
            <a:xfrm>
              <a:off x="1151869" y="4676536"/>
              <a:ext cx="2029963" cy="840651"/>
            </a:xfrm>
            <a:prstGeom prst="rect">
              <a:avLst/>
            </a:prstGeom>
            <a:noFill/>
            <a:ln>
              <a:noFill/>
            </a:ln>
            <a:extLst>
              <a:ext uri="{909E8E84-426E-40DD-AFC4-6F175D3DCCD1}">
                <a14:hiddenFill xmlns:a14="http://schemas.microsoft.com/office/drawing/2010/main">
                  <a:solidFill>
                    <a:srgbClr val="5CB8AC"/>
                  </a:solidFill>
                </a14:hiddenFill>
              </a:ext>
            </a:extLst>
          </p:spPr>
          <p:txBody>
            <a:bodyPr spcFirstLastPara="1" wrap="square" lIns="45675" tIns="45675" rIns="45675" bIns="45675" anchor="t" anchorCtr="0">
              <a:spAutoFit/>
            </a:bodyPr>
            <a:lstStyle/>
            <a:p>
              <a:pPr marL="0" marR="0" lvl="0" indent="0" algn="ctr" defTabSz="914400" rtl="0" eaLnBrk="1" fontAlgn="auto" latinLnBrk="0" hangingPunct="1">
                <a:lnSpc>
                  <a:spcPct val="100000"/>
                </a:lnSpc>
                <a:spcBef>
                  <a:spcPts val="0"/>
                </a:spcBef>
                <a:spcAft>
                  <a:spcPts val="0"/>
                </a:spcAft>
                <a:buClr>
                  <a:srgbClr val="FFFFFF"/>
                </a:buClr>
                <a:buSzPts val="4900"/>
                <a:buFont typeface="Barlow"/>
                <a:buNone/>
                <a:tabLst/>
                <a:defRPr/>
              </a:pPr>
              <a:r>
                <a:rPr kumimoji="0" lang="en-US" sz="4900" b="1" i="0" u="none" strike="noStrike" kern="1200" cap="none" spc="0" normalizeH="0" baseline="0" noProof="0">
                  <a:ln>
                    <a:noFill/>
                  </a:ln>
                  <a:solidFill>
                    <a:srgbClr val="002060"/>
                  </a:solidFill>
                  <a:effectLst/>
                  <a:uLnTx/>
                  <a:uFillTx/>
                  <a:latin typeface="Barlow"/>
                  <a:ea typeface="Barlow"/>
                  <a:cs typeface="Barlow"/>
                  <a:sym typeface="Barlow"/>
                </a:rPr>
                <a:t>&gt;350</a:t>
              </a:r>
              <a:endParaRPr kumimoji="0" sz="18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8" name="Google Shape;467;p61">
              <a:extLst>
                <a:ext uri="{FF2B5EF4-FFF2-40B4-BE49-F238E27FC236}">
                  <a16:creationId xmlns:a16="http://schemas.microsoft.com/office/drawing/2014/main" id="{5C3259FB-93FF-932F-5840-890C5C3B801D}"/>
                </a:ext>
              </a:extLst>
            </p:cNvPr>
            <p:cNvSpPr txBox="1"/>
            <p:nvPr/>
          </p:nvSpPr>
          <p:spPr>
            <a:xfrm>
              <a:off x="1206024" y="5373386"/>
              <a:ext cx="2032001" cy="774464"/>
            </a:xfrm>
            <a:prstGeom prst="rect">
              <a:avLst/>
            </a:prstGeom>
            <a:noFill/>
            <a:ln>
              <a:noFill/>
            </a:ln>
            <a:extLst>
              <a:ext uri="{909E8E84-426E-40DD-AFC4-6F175D3DCCD1}">
                <a14:hiddenFill xmlns:a14="http://schemas.microsoft.com/office/drawing/2010/main">
                  <a:solidFill>
                    <a:srgbClr val="5CB8AC"/>
                  </a:solidFill>
                </a14:hiddenFill>
              </a:ext>
            </a:extLst>
          </p:spPr>
          <p:txBody>
            <a:bodyPr spcFirstLastPara="1" wrap="square" lIns="45675" tIns="45675" rIns="45675" bIns="45675" anchor="t" anchorCtr="0">
              <a:normAutofit fontScale="92500" lnSpcReduction="10000"/>
            </a:bodyPr>
            <a:lstStyle/>
            <a:p>
              <a:pPr marL="0" marR="0" lvl="0" indent="0" algn="ctr" defTabSz="914400" rtl="0" eaLnBrk="1" fontAlgn="auto" latinLnBrk="0" hangingPunct="1">
                <a:lnSpc>
                  <a:spcPct val="120000"/>
                </a:lnSpc>
                <a:spcBef>
                  <a:spcPts val="0"/>
                </a:spcBef>
                <a:spcAft>
                  <a:spcPts val="0"/>
                </a:spcAft>
                <a:buClr>
                  <a:srgbClr val="FFFFFF"/>
                </a:buClr>
                <a:buSzPts val="1000"/>
                <a:buFont typeface="Barlow"/>
                <a:buNone/>
                <a:tabLst/>
                <a:defRPr/>
              </a:pPr>
              <a:r>
                <a:rPr kumimoji="0" lang="en-US" sz="1400" b="1" i="0" u="none" strike="noStrike" kern="1200" cap="none" spc="0" normalizeH="0" baseline="0" noProof="0" dirty="0">
                  <a:ln>
                    <a:noFill/>
                  </a:ln>
                  <a:solidFill>
                    <a:srgbClr val="FFFFFF"/>
                  </a:solidFill>
                  <a:effectLst/>
                  <a:uLnTx/>
                  <a:uFillTx/>
                  <a:latin typeface="Barlow"/>
                  <a:ea typeface="Barlow"/>
                  <a:cs typeface="Barlow"/>
                  <a:sym typeface="Barlow"/>
                </a:rPr>
                <a:t>Zero Days disclosed by Tenable Research since January 2019</a:t>
              </a:r>
              <a:endParaRPr kumimoji="0" sz="3200" b="1" i="0" u="none" strike="noStrike" kern="1200" cap="none" spc="0" normalizeH="0" baseline="0" noProof="0" dirty="0">
                <a:ln>
                  <a:noFill/>
                </a:ln>
                <a:solidFill>
                  <a:srgbClr val="595959"/>
                </a:solidFill>
                <a:effectLst/>
                <a:uLnTx/>
                <a:uFillTx/>
                <a:latin typeface="Arial" panose="020B0604020202020204"/>
                <a:ea typeface="+mn-ea"/>
                <a:cs typeface="+mn-cs"/>
              </a:endParaRPr>
            </a:p>
          </p:txBody>
        </p:sp>
        <p:grpSp>
          <p:nvGrpSpPr>
            <p:cNvPr id="4" name="Google Shape;460;p61">
              <a:extLst>
                <a:ext uri="{FF2B5EF4-FFF2-40B4-BE49-F238E27FC236}">
                  <a16:creationId xmlns:a16="http://schemas.microsoft.com/office/drawing/2014/main" id="{68C2F49C-2486-3CA6-8896-CB0C77221C48}"/>
                </a:ext>
              </a:extLst>
            </p:cNvPr>
            <p:cNvGrpSpPr/>
            <p:nvPr/>
          </p:nvGrpSpPr>
          <p:grpSpPr>
            <a:xfrm>
              <a:off x="4668603" y="4755343"/>
              <a:ext cx="2032001" cy="1393654"/>
              <a:chOff x="0" y="0"/>
              <a:chExt cx="2032000" cy="1270000"/>
            </a:xfrm>
          </p:grpSpPr>
          <p:sp>
            <p:nvSpPr>
              <p:cNvPr id="15" name="Google Shape;461;p61">
                <a:extLst>
                  <a:ext uri="{FF2B5EF4-FFF2-40B4-BE49-F238E27FC236}">
                    <a16:creationId xmlns:a16="http://schemas.microsoft.com/office/drawing/2014/main" id="{03102A27-0B18-02F7-D101-C56E94F295DF}"/>
                  </a:ext>
                </a:extLst>
              </p:cNvPr>
              <p:cNvSpPr/>
              <p:nvPr/>
            </p:nvSpPr>
            <p:spPr>
              <a:xfrm>
                <a:off x="0" y="0"/>
                <a:ext cx="2032000" cy="1270000"/>
              </a:xfrm>
              <a:prstGeom prst="roundRect">
                <a:avLst>
                  <a:gd name="adj" fmla="val 3135"/>
                </a:avLst>
              </a:prstGeom>
              <a:solidFill>
                <a:srgbClr val="5CB8AC">
                  <a:alpha val="50000"/>
                </a:srgbClr>
              </a:solidFill>
              <a:ln>
                <a:noFill/>
              </a:ln>
            </p:spPr>
            <p:style>
              <a:lnRef idx="0">
                <a:scrgbClr r="0" g="0" b="0"/>
              </a:lnRef>
              <a:fillRef idx="0">
                <a:scrgbClr r="0" g="0" b="0"/>
              </a:fillRef>
              <a:effectRef idx="0">
                <a:scrgbClr r="0" g="0" b="0"/>
              </a:effectRef>
              <a:fontRef idx="minor">
                <a:schemeClr val="lt1"/>
              </a:fontRef>
            </p:style>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
                    <a:srgbClr val="3F9C35"/>
                  </a:buClr>
                  <a:buSzPts val="1300"/>
                  <a:buFont typeface="Calibri"/>
                  <a:buNone/>
                  <a:tabLst/>
                  <a:defRPr/>
                </a:pPr>
                <a:endParaRPr kumimoji="0" sz="1300" b="0" i="0" u="none" strike="noStrike" kern="1200" cap="none" spc="0" normalizeH="0" baseline="0" noProof="0">
                  <a:ln>
                    <a:noFill/>
                  </a:ln>
                  <a:solidFill>
                    <a:srgbClr val="3F9C35"/>
                  </a:solidFill>
                  <a:effectLst/>
                  <a:uLnTx/>
                  <a:uFillTx/>
                  <a:latin typeface="Calibri"/>
                  <a:ea typeface="Calibri"/>
                  <a:cs typeface="Calibri"/>
                  <a:sym typeface="Calibri"/>
                </a:endParaRPr>
              </a:p>
            </p:txBody>
          </p:sp>
          <p:sp>
            <p:nvSpPr>
              <p:cNvPr id="16" name="Google Shape;462;p61">
                <a:extLst>
                  <a:ext uri="{FF2B5EF4-FFF2-40B4-BE49-F238E27FC236}">
                    <a16:creationId xmlns:a16="http://schemas.microsoft.com/office/drawing/2014/main" id="{0C6A7AF5-E500-6E3D-8041-55E30F952A9F}"/>
                  </a:ext>
                </a:extLst>
              </p:cNvPr>
              <p:cNvSpPr/>
              <p:nvPr/>
            </p:nvSpPr>
            <p:spPr>
              <a:xfrm>
                <a:off x="0" y="0"/>
                <a:ext cx="2032000" cy="1270000"/>
              </a:xfrm>
              <a:prstGeom prst="roundRect">
                <a:avLst>
                  <a:gd name="adj" fmla="val 3135"/>
                </a:avLst>
              </a:prstGeom>
              <a:solidFill>
                <a:srgbClr val="5CB8AC">
                  <a:alpha val="50000"/>
                </a:srgbClr>
              </a:solidFill>
              <a:ln>
                <a:noFill/>
              </a:ln>
            </p:spPr>
            <p:style>
              <a:lnRef idx="0">
                <a:scrgbClr r="0" g="0" b="0"/>
              </a:lnRef>
              <a:fillRef idx="0">
                <a:scrgbClr r="0" g="0" b="0"/>
              </a:fillRef>
              <a:effectRef idx="0">
                <a:scrgbClr r="0" g="0" b="0"/>
              </a:effectRef>
              <a:fontRef idx="minor">
                <a:schemeClr val="lt1"/>
              </a:fontRef>
            </p:style>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
                    <a:srgbClr val="3F9C35"/>
                  </a:buClr>
                  <a:buSzPts val="1300"/>
                  <a:buFont typeface="Calibri"/>
                  <a:buNone/>
                  <a:tabLst/>
                  <a:defRPr/>
                </a:pPr>
                <a:endParaRPr kumimoji="0" sz="1300" b="0" i="0" u="none" strike="noStrike" kern="1200" cap="none" spc="0" normalizeH="0" baseline="0" noProof="0">
                  <a:ln>
                    <a:noFill/>
                  </a:ln>
                  <a:solidFill>
                    <a:srgbClr val="3F9C35"/>
                  </a:solidFill>
                  <a:effectLst/>
                  <a:uLnTx/>
                  <a:uFillTx/>
                  <a:latin typeface="Calibri"/>
                  <a:ea typeface="Calibri"/>
                  <a:cs typeface="Calibri"/>
                  <a:sym typeface="Calibri"/>
                </a:endParaRPr>
              </a:p>
            </p:txBody>
          </p:sp>
        </p:grpSp>
        <p:sp>
          <p:nvSpPr>
            <p:cNvPr id="9" name="Google Shape;468;p61">
              <a:extLst>
                <a:ext uri="{FF2B5EF4-FFF2-40B4-BE49-F238E27FC236}">
                  <a16:creationId xmlns:a16="http://schemas.microsoft.com/office/drawing/2014/main" id="{1465DA5D-1D6C-5F62-D4D5-948B2CD3E95B}"/>
                </a:ext>
              </a:extLst>
            </p:cNvPr>
            <p:cNvSpPr txBox="1"/>
            <p:nvPr/>
          </p:nvSpPr>
          <p:spPr>
            <a:xfrm>
              <a:off x="4668603" y="4676536"/>
              <a:ext cx="2029963" cy="840651"/>
            </a:xfrm>
            <a:prstGeom prst="rect">
              <a:avLst/>
            </a:prstGeom>
            <a:noFill/>
            <a:ln>
              <a:noFill/>
            </a:ln>
          </p:spPr>
          <p:txBody>
            <a:bodyPr spcFirstLastPara="1" wrap="square" lIns="45675" tIns="45675" rIns="45675" bIns="45675" anchor="t" anchorCtr="0">
              <a:spAutoFit/>
            </a:bodyPr>
            <a:lstStyle/>
            <a:p>
              <a:pPr marL="0" marR="0" lvl="0" indent="0" algn="ctr" defTabSz="914400" rtl="0" eaLnBrk="1" fontAlgn="auto" latinLnBrk="0" hangingPunct="1">
                <a:lnSpc>
                  <a:spcPct val="100000"/>
                </a:lnSpc>
                <a:spcBef>
                  <a:spcPts val="0"/>
                </a:spcBef>
                <a:spcAft>
                  <a:spcPts val="0"/>
                </a:spcAft>
                <a:buClr>
                  <a:srgbClr val="FFFFFF"/>
                </a:buClr>
                <a:buSzPts val="4900"/>
                <a:buFont typeface="Barlow"/>
                <a:buNone/>
                <a:tabLst/>
                <a:defRPr/>
              </a:pPr>
              <a:r>
                <a:rPr kumimoji="0" lang="en-US" sz="4900" b="1" i="0" u="none" strike="noStrike" kern="1200" cap="none" spc="0" normalizeH="0" baseline="0" noProof="0">
                  <a:ln>
                    <a:noFill/>
                  </a:ln>
                  <a:solidFill>
                    <a:srgbClr val="002060"/>
                  </a:solidFill>
                  <a:effectLst/>
                  <a:uLnTx/>
                  <a:uFillTx/>
                  <a:latin typeface="Barlow"/>
                  <a:ea typeface="Barlow"/>
                  <a:cs typeface="Barlow"/>
                  <a:sym typeface="Barlow"/>
                </a:rPr>
                <a:t>&gt;67K</a:t>
              </a:r>
              <a:endParaRPr kumimoji="0" sz="18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0" name="Google Shape;469;p61">
              <a:extLst>
                <a:ext uri="{FF2B5EF4-FFF2-40B4-BE49-F238E27FC236}">
                  <a16:creationId xmlns:a16="http://schemas.microsoft.com/office/drawing/2014/main" id="{1375E3F8-E3A1-9C13-F348-B44EB249B1E5}"/>
                </a:ext>
              </a:extLst>
            </p:cNvPr>
            <p:cNvSpPr txBox="1"/>
            <p:nvPr/>
          </p:nvSpPr>
          <p:spPr>
            <a:xfrm>
              <a:off x="4666564" y="5373386"/>
              <a:ext cx="2032001" cy="774464"/>
            </a:xfrm>
            <a:prstGeom prst="rect">
              <a:avLst/>
            </a:prstGeom>
            <a:noFill/>
            <a:ln>
              <a:noFill/>
            </a:ln>
            <a:extLst>
              <a:ext uri="{909E8E84-426E-40DD-AFC4-6F175D3DCCD1}">
                <a14:hiddenFill xmlns:a14="http://schemas.microsoft.com/office/drawing/2010/main">
                  <a:solidFill>
                    <a:srgbClr val="5CB8AC"/>
                  </a:solidFill>
                </a14:hiddenFill>
              </a:ext>
            </a:extLst>
          </p:spPr>
          <p:txBody>
            <a:bodyPr spcFirstLastPara="1" wrap="square" lIns="45675" tIns="45675" rIns="45675" bIns="45675" anchor="t" anchorCtr="0">
              <a:normAutofit/>
            </a:bodyPr>
            <a:lstStyle>
              <a:defPPr>
                <a:defRPr lang="en-US"/>
              </a:defPPr>
              <a:lvl1pPr marR="0" lvl="0" indent="0" algn="ctr">
                <a:lnSpc>
                  <a:spcPct val="120000"/>
                </a:lnSpc>
                <a:spcBef>
                  <a:spcPts val="0"/>
                </a:spcBef>
                <a:spcAft>
                  <a:spcPts val="0"/>
                </a:spcAft>
                <a:buClr>
                  <a:srgbClr val="FFFFFF"/>
                </a:buClr>
                <a:buSzPts val="1000"/>
                <a:buFont typeface="Barlow"/>
                <a:buNone/>
                <a:defRPr sz="1400" b="1" i="0" u="none" strike="noStrike" cap="none">
                  <a:solidFill>
                    <a:srgbClr val="FFFFFF"/>
                  </a:solidFill>
                  <a:latin typeface="Barlow"/>
                  <a:ea typeface="Barlow"/>
                  <a:cs typeface="Barlow"/>
                </a:defRPr>
              </a:lvl1pPr>
            </a:lstStyle>
            <a:p>
              <a:pPr marL="0" marR="0" lvl="0" indent="0" algn="ctr" defTabSz="914400" rtl="0" eaLnBrk="1" fontAlgn="auto" latinLnBrk="0" hangingPunct="1">
                <a:lnSpc>
                  <a:spcPct val="120000"/>
                </a:lnSpc>
                <a:spcBef>
                  <a:spcPts val="0"/>
                </a:spcBef>
                <a:spcAft>
                  <a:spcPts val="0"/>
                </a:spcAft>
                <a:buClr>
                  <a:srgbClr val="FFFFFF"/>
                </a:buClr>
                <a:buSzPts val="1000"/>
                <a:buFont typeface="Barlow"/>
                <a:buNone/>
                <a:tabLst/>
                <a:defRPr/>
              </a:pPr>
              <a:r>
                <a:rPr kumimoji="0" lang="en-US" sz="1400" b="1" i="0" u="none" strike="noStrike" kern="1200" cap="none" spc="0" normalizeH="0" baseline="0" noProof="0">
                  <a:ln>
                    <a:noFill/>
                  </a:ln>
                  <a:solidFill>
                    <a:srgbClr val="FFFFFF"/>
                  </a:solidFill>
                  <a:effectLst/>
                  <a:uLnTx/>
                  <a:uFillTx/>
                  <a:latin typeface="Barlow"/>
                  <a:sym typeface="Barlow"/>
                </a:rPr>
                <a:t>Vulnerabilities assessed with 167,000+ Plugins</a:t>
              </a:r>
              <a:endParaRPr kumimoji="0" sz="1400" b="1" i="0" u="none" strike="noStrike" kern="1200" cap="none" spc="0" normalizeH="0" baseline="0" noProof="0">
                <a:ln>
                  <a:noFill/>
                </a:ln>
                <a:solidFill>
                  <a:srgbClr val="FFFFFF"/>
                </a:solidFill>
                <a:effectLst/>
                <a:uLnTx/>
                <a:uFillTx/>
                <a:latin typeface="Barlow"/>
              </a:endParaRPr>
            </a:p>
          </p:txBody>
        </p:sp>
        <p:grpSp>
          <p:nvGrpSpPr>
            <p:cNvPr id="6" name="Google Shape;463;p61">
              <a:extLst>
                <a:ext uri="{FF2B5EF4-FFF2-40B4-BE49-F238E27FC236}">
                  <a16:creationId xmlns:a16="http://schemas.microsoft.com/office/drawing/2014/main" id="{8D91B5E0-02E3-A710-ECB4-0BA244176468}"/>
                </a:ext>
              </a:extLst>
            </p:cNvPr>
            <p:cNvGrpSpPr/>
            <p:nvPr/>
          </p:nvGrpSpPr>
          <p:grpSpPr>
            <a:xfrm>
              <a:off x="8131180" y="4755343"/>
              <a:ext cx="2032001" cy="1393654"/>
              <a:chOff x="0" y="0"/>
              <a:chExt cx="2032000" cy="1270000"/>
            </a:xfrm>
          </p:grpSpPr>
          <p:sp>
            <p:nvSpPr>
              <p:cNvPr id="13" name="Google Shape;464;p61">
                <a:extLst>
                  <a:ext uri="{FF2B5EF4-FFF2-40B4-BE49-F238E27FC236}">
                    <a16:creationId xmlns:a16="http://schemas.microsoft.com/office/drawing/2014/main" id="{D39685F8-29E8-2900-E35E-8E6194FB9B3C}"/>
                  </a:ext>
                </a:extLst>
              </p:cNvPr>
              <p:cNvSpPr/>
              <p:nvPr/>
            </p:nvSpPr>
            <p:spPr>
              <a:xfrm>
                <a:off x="0" y="0"/>
                <a:ext cx="2032000" cy="1270000"/>
              </a:xfrm>
              <a:prstGeom prst="roundRect">
                <a:avLst>
                  <a:gd name="adj" fmla="val 3135"/>
                </a:avLst>
              </a:prstGeom>
              <a:solidFill>
                <a:srgbClr val="5CB8AC">
                  <a:alpha val="50000"/>
                </a:srgbClr>
              </a:solidFill>
              <a:ln>
                <a:noFill/>
              </a:ln>
            </p:spPr>
            <p:style>
              <a:lnRef idx="0">
                <a:scrgbClr r="0" g="0" b="0"/>
              </a:lnRef>
              <a:fillRef idx="0">
                <a:scrgbClr r="0" g="0" b="0"/>
              </a:fillRef>
              <a:effectRef idx="0">
                <a:scrgbClr r="0" g="0" b="0"/>
              </a:effectRef>
              <a:fontRef idx="minor">
                <a:schemeClr val="lt1"/>
              </a:fontRef>
            </p:style>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
                    <a:srgbClr val="3F9C35"/>
                  </a:buClr>
                  <a:buSzPts val="1300"/>
                  <a:buFont typeface="Calibri"/>
                  <a:buNone/>
                  <a:tabLst/>
                  <a:defRPr/>
                </a:pPr>
                <a:endParaRPr kumimoji="0" sz="1300" b="0" i="0" u="none" strike="noStrike" kern="1200" cap="none" spc="0" normalizeH="0" baseline="0" noProof="0">
                  <a:ln>
                    <a:noFill/>
                  </a:ln>
                  <a:solidFill>
                    <a:srgbClr val="3F9C35"/>
                  </a:solidFill>
                  <a:effectLst/>
                  <a:uLnTx/>
                  <a:uFillTx/>
                  <a:latin typeface="Calibri"/>
                  <a:ea typeface="Calibri"/>
                  <a:cs typeface="Calibri"/>
                  <a:sym typeface="Calibri"/>
                </a:endParaRPr>
              </a:p>
            </p:txBody>
          </p:sp>
          <p:sp>
            <p:nvSpPr>
              <p:cNvPr id="14" name="Google Shape;465;p61">
                <a:extLst>
                  <a:ext uri="{FF2B5EF4-FFF2-40B4-BE49-F238E27FC236}">
                    <a16:creationId xmlns:a16="http://schemas.microsoft.com/office/drawing/2014/main" id="{E8B3DB1B-A97B-16FA-CFF7-43D71511F4D2}"/>
                  </a:ext>
                </a:extLst>
              </p:cNvPr>
              <p:cNvSpPr/>
              <p:nvPr/>
            </p:nvSpPr>
            <p:spPr>
              <a:xfrm>
                <a:off x="0" y="0"/>
                <a:ext cx="2032000" cy="1270000"/>
              </a:xfrm>
              <a:prstGeom prst="roundRect">
                <a:avLst>
                  <a:gd name="adj" fmla="val 3135"/>
                </a:avLst>
              </a:prstGeom>
              <a:solidFill>
                <a:srgbClr val="5CB8AC">
                  <a:alpha val="50000"/>
                </a:srgbClr>
              </a:solidFill>
              <a:ln>
                <a:noFill/>
              </a:ln>
            </p:spPr>
            <p:style>
              <a:lnRef idx="0">
                <a:scrgbClr r="0" g="0" b="0"/>
              </a:lnRef>
              <a:fillRef idx="0">
                <a:scrgbClr r="0" g="0" b="0"/>
              </a:fillRef>
              <a:effectRef idx="0">
                <a:scrgbClr r="0" g="0" b="0"/>
              </a:effectRef>
              <a:fontRef idx="minor">
                <a:schemeClr val="lt1"/>
              </a:fontRef>
            </p:style>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
                    <a:srgbClr val="3F9C35"/>
                  </a:buClr>
                  <a:buSzPts val="1300"/>
                  <a:buFont typeface="Calibri"/>
                  <a:buNone/>
                  <a:tabLst/>
                  <a:defRPr/>
                </a:pPr>
                <a:endParaRPr kumimoji="0" sz="1300" b="0" i="0" u="none" strike="noStrike" kern="1200" cap="none" spc="0" normalizeH="0" baseline="0" noProof="0">
                  <a:ln>
                    <a:noFill/>
                  </a:ln>
                  <a:solidFill>
                    <a:srgbClr val="3F9C35"/>
                  </a:solidFill>
                  <a:effectLst/>
                  <a:uLnTx/>
                  <a:uFillTx/>
                  <a:latin typeface="Calibri"/>
                  <a:ea typeface="Calibri"/>
                  <a:cs typeface="Calibri"/>
                  <a:sym typeface="Calibri"/>
                </a:endParaRPr>
              </a:p>
            </p:txBody>
          </p:sp>
        </p:grpSp>
        <p:sp>
          <p:nvSpPr>
            <p:cNvPr id="11" name="Google Shape;470;p61">
              <a:extLst>
                <a:ext uri="{FF2B5EF4-FFF2-40B4-BE49-F238E27FC236}">
                  <a16:creationId xmlns:a16="http://schemas.microsoft.com/office/drawing/2014/main" id="{6A3BA126-124C-2EE5-0E9B-98E65C390960}"/>
                </a:ext>
              </a:extLst>
            </p:cNvPr>
            <p:cNvSpPr txBox="1"/>
            <p:nvPr/>
          </p:nvSpPr>
          <p:spPr>
            <a:xfrm>
              <a:off x="8131180" y="4671581"/>
              <a:ext cx="2029963" cy="840651"/>
            </a:xfrm>
            <a:prstGeom prst="rect">
              <a:avLst/>
            </a:prstGeom>
            <a:noFill/>
            <a:ln>
              <a:noFill/>
            </a:ln>
          </p:spPr>
          <p:txBody>
            <a:bodyPr spcFirstLastPara="1" wrap="square" lIns="45675" tIns="45675" rIns="45675" bIns="45675" anchor="t" anchorCtr="0">
              <a:spAutoFit/>
            </a:bodyPr>
            <a:lstStyle/>
            <a:p>
              <a:pPr marL="0" marR="0" lvl="0" indent="0" algn="ctr" defTabSz="914400" rtl="0" eaLnBrk="1" fontAlgn="auto" latinLnBrk="0" hangingPunct="1">
                <a:lnSpc>
                  <a:spcPct val="100000"/>
                </a:lnSpc>
                <a:spcBef>
                  <a:spcPts val="0"/>
                </a:spcBef>
                <a:spcAft>
                  <a:spcPts val="0"/>
                </a:spcAft>
                <a:buClr>
                  <a:srgbClr val="FFFFFF"/>
                </a:buClr>
                <a:buSzPts val="4900"/>
                <a:buFont typeface="Barlow"/>
                <a:buNone/>
                <a:tabLst/>
                <a:defRPr/>
              </a:pPr>
              <a:r>
                <a:rPr kumimoji="0" lang="en-US" sz="4900" b="1" i="0" u="none" strike="noStrike" kern="1200" cap="none" spc="0" normalizeH="0" baseline="0" noProof="0">
                  <a:ln>
                    <a:noFill/>
                  </a:ln>
                  <a:solidFill>
                    <a:srgbClr val="002060"/>
                  </a:solidFill>
                  <a:effectLst/>
                  <a:uLnTx/>
                  <a:uFillTx/>
                  <a:latin typeface="Barlow"/>
                  <a:ea typeface="Barlow"/>
                  <a:cs typeface="Barlow"/>
                  <a:sym typeface="Barlow"/>
                </a:rPr>
                <a:t>&lt;24h</a:t>
              </a:r>
              <a:endParaRPr kumimoji="0" sz="18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2" name="Google Shape;471;p61">
              <a:extLst>
                <a:ext uri="{FF2B5EF4-FFF2-40B4-BE49-F238E27FC236}">
                  <a16:creationId xmlns:a16="http://schemas.microsoft.com/office/drawing/2014/main" id="{B678EB21-6791-505D-AB9D-35567CEBA98B}"/>
                </a:ext>
              </a:extLst>
            </p:cNvPr>
            <p:cNvSpPr txBox="1"/>
            <p:nvPr/>
          </p:nvSpPr>
          <p:spPr>
            <a:xfrm>
              <a:off x="8133218" y="5373386"/>
              <a:ext cx="2032001" cy="774464"/>
            </a:xfrm>
            <a:prstGeom prst="rect">
              <a:avLst/>
            </a:prstGeom>
            <a:noFill/>
            <a:ln>
              <a:noFill/>
            </a:ln>
            <a:extLst>
              <a:ext uri="{909E8E84-426E-40DD-AFC4-6F175D3DCCD1}">
                <a14:hiddenFill xmlns:a14="http://schemas.microsoft.com/office/drawing/2010/main">
                  <a:solidFill>
                    <a:srgbClr val="5CB8AC"/>
                  </a:solidFill>
                </a14:hiddenFill>
              </a:ext>
            </a:extLst>
          </p:spPr>
          <p:txBody>
            <a:bodyPr spcFirstLastPara="1" wrap="square" lIns="45675" tIns="45675" rIns="45675" bIns="45675" anchor="t" anchorCtr="0">
              <a:normAutofit/>
            </a:bodyPr>
            <a:lstStyle>
              <a:defPPr>
                <a:defRPr lang="en-US"/>
              </a:defPPr>
              <a:lvl1pPr marR="0" lvl="0" indent="0" algn="ctr">
                <a:lnSpc>
                  <a:spcPct val="120000"/>
                </a:lnSpc>
                <a:spcBef>
                  <a:spcPts val="0"/>
                </a:spcBef>
                <a:spcAft>
                  <a:spcPts val="0"/>
                </a:spcAft>
                <a:buClr>
                  <a:srgbClr val="FFFFFF"/>
                </a:buClr>
                <a:buSzPts val="1000"/>
                <a:buFont typeface="Barlow"/>
                <a:buNone/>
                <a:defRPr sz="1400" b="1" i="0" u="none" strike="noStrike" cap="none">
                  <a:solidFill>
                    <a:srgbClr val="FFFFFF"/>
                  </a:solidFill>
                  <a:latin typeface="Barlow"/>
                  <a:ea typeface="Barlow"/>
                  <a:cs typeface="Barlow"/>
                </a:defRPr>
              </a:lvl1pPr>
            </a:lstStyle>
            <a:p>
              <a:pPr marL="0" marR="0" lvl="0" indent="0" algn="ctr" defTabSz="914400" rtl="0" eaLnBrk="1" fontAlgn="auto" latinLnBrk="0" hangingPunct="1">
                <a:lnSpc>
                  <a:spcPct val="120000"/>
                </a:lnSpc>
                <a:spcBef>
                  <a:spcPts val="0"/>
                </a:spcBef>
                <a:spcAft>
                  <a:spcPts val="0"/>
                </a:spcAft>
                <a:buClr>
                  <a:srgbClr val="FFFFFF"/>
                </a:buClr>
                <a:buSzPts val="1000"/>
                <a:buFont typeface="Barlow"/>
                <a:buNone/>
                <a:tabLst/>
                <a:defRPr/>
              </a:pPr>
              <a:r>
                <a:rPr kumimoji="0" lang="en-US" sz="1400" b="1" i="0" u="none" strike="noStrike" kern="1200" cap="none" spc="0" normalizeH="0" baseline="0" noProof="0">
                  <a:ln>
                    <a:noFill/>
                  </a:ln>
                  <a:solidFill>
                    <a:srgbClr val="FFFFFF"/>
                  </a:solidFill>
                  <a:effectLst/>
                  <a:uLnTx/>
                  <a:uFillTx/>
                  <a:latin typeface="Barlow"/>
                  <a:sym typeface="Barlow"/>
                </a:rPr>
                <a:t>Median coverage time of high-profile issues</a:t>
              </a:r>
              <a:endParaRPr kumimoji="0" sz="1400" b="1" i="0" u="none" strike="noStrike" kern="1200" cap="none" spc="0" normalizeH="0" baseline="0" noProof="0">
                <a:ln>
                  <a:noFill/>
                </a:ln>
                <a:solidFill>
                  <a:srgbClr val="FFFFFF"/>
                </a:solidFill>
                <a:effectLst/>
                <a:uLnTx/>
                <a:uFillTx/>
                <a:latin typeface="Barlow"/>
              </a:endParaRPr>
            </a:p>
          </p:txBody>
        </p:sp>
      </p:grpSp>
      <p:sp>
        <p:nvSpPr>
          <p:cNvPr id="19" name="Title 1">
            <a:extLst>
              <a:ext uri="{FF2B5EF4-FFF2-40B4-BE49-F238E27FC236}">
                <a16:creationId xmlns:a16="http://schemas.microsoft.com/office/drawing/2014/main" id="{478EED89-4C70-E4F1-8206-430FBB0B6EDF}"/>
              </a:ext>
            </a:extLst>
          </p:cNvPr>
          <p:cNvSpPr txBox="1">
            <a:spLocks/>
          </p:cNvSpPr>
          <p:nvPr/>
        </p:nvSpPr>
        <p:spPr>
          <a:xfrm>
            <a:off x="609600" y="418804"/>
            <a:ext cx="10010775" cy="554038"/>
          </a:xfrm>
          <a:prstGeom prst="rect">
            <a:avLst/>
          </a:prstGeom>
          <a:noFill/>
          <a:ln>
            <a:noFill/>
          </a:ln>
        </p:spPr>
        <p:txBody>
          <a:bodyPr spcFirstLastPara="1" vert="horz" wrap="square" lIns="91440" tIns="45720" rIns="91440" bIns="45720" rtlCol="0" anchor="ctr" anchorCtr="0">
            <a:normAutofit fontScale="90000" lnSpcReduction="10000"/>
          </a:bodyPr>
          <a:lst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a:lstStyle>
          <a:p>
            <a:pPr>
              <a:buClr>
                <a:schemeClr val="dk1"/>
              </a:buClr>
              <a:buSzPts val="5800"/>
              <a:buFont typeface="Arial"/>
              <a:buNone/>
            </a:pPr>
            <a:r>
              <a:rPr lang="en-US" dirty="0"/>
              <a:t>Vulnerability Services</a:t>
            </a:r>
          </a:p>
        </p:txBody>
      </p:sp>
    </p:spTree>
    <p:extLst>
      <p:ext uri="{BB962C8B-B14F-4D97-AF65-F5344CB8AC3E}">
        <p14:creationId xmlns:p14="http://schemas.microsoft.com/office/powerpoint/2010/main" val="37132992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608"/>
        <p:cNvGrpSpPr/>
        <p:nvPr/>
      </p:nvGrpSpPr>
      <p:grpSpPr>
        <a:xfrm>
          <a:off x="0" y="0"/>
          <a:ext cx="0" cy="0"/>
          <a:chOff x="0" y="0"/>
          <a:chExt cx="0" cy="0"/>
        </a:xfrm>
      </p:grpSpPr>
      <p:sp>
        <p:nvSpPr>
          <p:cNvPr id="1638" name="Google Shape;1638;p15"/>
          <p:cNvSpPr txBox="1">
            <a:spLocks noGrp="1"/>
          </p:cNvSpPr>
          <p:nvPr>
            <p:ph type="sldNum" sz="quarter" idx="4"/>
          </p:nvPr>
        </p:nvSpPr>
        <p:spPr>
          <a:prstGeom prst="rect">
            <a:avLst/>
          </a:prstGeom>
          <a:noFill/>
          <a:ln>
            <a:noFill/>
          </a:ln>
        </p:spPr>
        <p:txBody>
          <a:bodyPr spcFirstLastPara="1" wrap="square" lIns="0" tIns="0" rIns="0" bIns="0" anchor="ctr" anchorCtr="0">
            <a:noAutofit/>
          </a:bodyPr>
          <a:lstStyle>
            <a:defPPr>
              <a:defRPr lang="en-US"/>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936A99BC-3C9D-4DF8-8B8C-E1FD2BDF0AD4}" type="slidenum">
              <a:rPr lang="en-US" smtClean="0"/>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7</a:t>
            </a:fld>
            <a:endParaRPr kumimoji="0" sz="800" b="0" i="0" u="none" strike="noStrike" kern="1200" cap="none" spc="0" normalizeH="0" baseline="0" noProof="0">
              <a:ln>
                <a:noFill/>
              </a:ln>
              <a:solidFill>
                <a:srgbClr val="7F7F7F"/>
              </a:solidFill>
              <a:effectLst/>
              <a:uLnTx/>
              <a:uFillTx/>
              <a:latin typeface="Arial"/>
              <a:ea typeface="+mn-ea"/>
              <a:cs typeface="Arial"/>
              <a:sym typeface="Arial"/>
            </a:endParaRPr>
          </a:p>
        </p:txBody>
      </p:sp>
      <p:sp>
        <p:nvSpPr>
          <p:cNvPr id="1639" name="Google Shape;1639;p15"/>
          <p:cNvSpPr txBox="1">
            <a:spLocks noGrp="1"/>
          </p:cNvSpPr>
          <p:nvPr>
            <p:ph type="body" idx="4294967295"/>
          </p:nvPr>
        </p:nvSpPr>
        <p:spPr>
          <a:xfrm>
            <a:off x="512331" y="1311396"/>
            <a:ext cx="6804105" cy="1228725"/>
          </a:xfrm>
          <a:prstGeom prst="rect">
            <a:avLst/>
          </a:prstGeom>
          <a:noFill/>
          <a:ln>
            <a:noFill/>
          </a:ln>
        </p:spPr>
        <p:txBody>
          <a:bodyPr spcFirstLastPara="1" vert="horz" wrap="square" lIns="0" tIns="30467" rIns="0" bIns="30467" rtlCol="0" anchor="t" anchorCtr="0">
            <a:noAutofit/>
          </a:bodyPr>
          <a:lstStyle/>
          <a:p>
            <a:pPr marL="0" indent="0">
              <a:lnSpc>
                <a:spcPct val="100000"/>
              </a:lnSpc>
              <a:spcBef>
                <a:spcPts val="400"/>
              </a:spcBef>
              <a:buClr>
                <a:srgbClr val="000000"/>
              </a:buClr>
              <a:buSzPts val="1100"/>
              <a:buNone/>
            </a:pPr>
            <a:r>
              <a:rPr lang="en-US" sz="1600" dirty="0">
                <a:solidFill>
                  <a:schemeClr val="accent5"/>
                </a:solidFill>
                <a:latin typeface="+mn-lt"/>
                <a:cs typeface="Arial"/>
              </a:rPr>
              <a:t>Our intelligence professionals provide timely and relevant threat intelligence to keep you ahead of the information cycle. We offer dark web monitoring, brand and identity protection, credential monitoring, custom reporting, and real-time alerting for risk evaluation.</a:t>
            </a:r>
            <a:endParaRPr lang="en-US" sz="1600" dirty="0">
              <a:solidFill>
                <a:schemeClr val="accent5"/>
              </a:solidFill>
              <a:latin typeface="+mn-lt"/>
            </a:endParaRPr>
          </a:p>
        </p:txBody>
      </p:sp>
      <p:grpSp>
        <p:nvGrpSpPr>
          <p:cNvPr id="9" name="Group 8">
            <a:extLst>
              <a:ext uri="{FF2B5EF4-FFF2-40B4-BE49-F238E27FC236}">
                <a16:creationId xmlns:a16="http://schemas.microsoft.com/office/drawing/2014/main" id="{7AA4EDCF-2204-290C-AEEA-786327622E67}"/>
              </a:ext>
            </a:extLst>
          </p:cNvPr>
          <p:cNvGrpSpPr/>
          <p:nvPr/>
        </p:nvGrpSpPr>
        <p:grpSpPr>
          <a:xfrm>
            <a:off x="503178" y="2508629"/>
            <a:ext cx="6193978" cy="1646420"/>
            <a:chOff x="503178" y="2812616"/>
            <a:chExt cx="6193978" cy="1646420"/>
          </a:xfrm>
        </p:grpSpPr>
        <p:grpSp>
          <p:nvGrpSpPr>
            <p:cNvPr id="1640" name="Google Shape;1640;p15"/>
            <p:cNvGrpSpPr/>
            <p:nvPr/>
          </p:nvGrpSpPr>
          <p:grpSpPr>
            <a:xfrm>
              <a:off x="507678" y="2812616"/>
              <a:ext cx="5059039" cy="433697"/>
              <a:chOff x="802038" y="3153676"/>
              <a:chExt cx="7694099" cy="641100"/>
            </a:xfrm>
          </p:grpSpPr>
          <p:sp>
            <p:nvSpPr>
              <p:cNvPr id="1641" name="Google Shape;1641;p15"/>
              <p:cNvSpPr txBox="1"/>
              <p:nvPr/>
            </p:nvSpPr>
            <p:spPr>
              <a:xfrm>
                <a:off x="802038" y="3153676"/>
                <a:ext cx="1712399" cy="641100"/>
              </a:xfrm>
              <a:prstGeom prst="rect">
                <a:avLst/>
              </a:prstGeom>
              <a:noFill/>
              <a:ln>
                <a:noFill/>
              </a:ln>
            </p:spPr>
            <p:txBody>
              <a:bodyPr spcFirstLastPara="1" wrap="square" lIns="0" tIns="30467" rIns="0" bIns="30467" anchor="t" anchorCtr="0">
                <a:noAutofit/>
              </a:bodyPr>
              <a:lstStyle/>
              <a:p>
                <a:pPr marL="0" marR="0" lvl="0" indent="0" algn="l" defTabSz="914400" rtl="0" eaLnBrk="1" fontAlgn="auto" latinLnBrk="0" hangingPunct="1">
                  <a:lnSpc>
                    <a:spcPct val="100000"/>
                  </a:lnSpc>
                  <a:spcBef>
                    <a:spcPts val="400"/>
                  </a:spcBef>
                  <a:spcAft>
                    <a:spcPts val="0"/>
                  </a:spcAft>
                  <a:buClr>
                    <a:srgbClr val="595959"/>
                  </a:buClr>
                  <a:buSzPts val="1100"/>
                  <a:buFontTx/>
                  <a:buNone/>
                  <a:tabLst/>
                  <a:defRPr/>
                </a:pPr>
                <a:r>
                  <a:rPr kumimoji="0" lang="en-US" sz="1600" b="1" i="0" u="none" strike="noStrike" kern="1200" cap="none" spc="0" normalizeH="0" baseline="0" noProof="0" dirty="0">
                    <a:ln>
                      <a:noFill/>
                    </a:ln>
                    <a:solidFill>
                      <a:srgbClr val="009CDE"/>
                    </a:solidFill>
                    <a:effectLst/>
                    <a:uLnTx/>
                    <a:uFillTx/>
                    <a:latin typeface="Arial"/>
                    <a:ea typeface="Arial"/>
                    <a:cs typeface="Arial"/>
                    <a:sym typeface="Arial"/>
                  </a:rPr>
                  <a:t>Outcomes</a:t>
                </a:r>
                <a:endParaRPr kumimoji="0" lang="en-US" sz="1600" b="0" i="0" u="none" strike="noStrike" kern="1200" cap="none" spc="0" normalizeH="0" baseline="0" noProof="0" dirty="0">
                  <a:ln>
                    <a:noFill/>
                  </a:ln>
                  <a:solidFill>
                    <a:srgbClr val="595959"/>
                  </a:solidFill>
                  <a:effectLst/>
                  <a:uLnTx/>
                  <a:uFillTx/>
                  <a:latin typeface="Arial"/>
                  <a:ea typeface="Arial"/>
                  <a:cs typeface="Arial"/>
                  <a:sym typeface="Arial"/>
                </a:endParaRPr>
              </a:p>
            </p:txBody>
          </p:sp>
          <p:cxnSp>
            <p:nvCxnSpPr>
              <p:cNvPr id="1642" name="Google Shape;1642;p15"/>
              <p:cNvCxnSpPr>
                <a:cxnSpLocks/>
              </p:cNvCxnSpPr>
              <p:nvPr/>
            </p:nvCxnSpPr>
            <p:spPr>
              <a:xfrm flipV="1">
                <a:off x="2514437" y="3474225"/>
                <a:ext cx="5981700" cy="1"/>
              </a:xfrm>
              <a:prstGeom prst="straightConnector1">
                <a:avLst/>
              </a:prstGeom>
              <a:noFill/>
              <a:ln w="19050" cap="flat" cmpd="sng">
                <a:solidFill>
                  <a:srgbClr val="7030A0"/>
                </a:solidFill>
                <a:prstDash val="solid"/>
                <a:round/>
                <a:headEnd type="none" w="sm" len="sm"/>
                <a:tailEnd type="none" w="sm" len="sm"/>
              </a:ln>
            </p:spPr>
          </p:cxnSp>
        </p:grpSp>
        <p:sp>
          <p:nvSpPr>
            <p:cNvPr id="1643" name="Google Shape;1643;p15"/>
            <p:cNvSpPr/>
            <p:nvPr/>
          </p:nvSpPr>
          <p:spPr>
            <a:xfrm>
              <a:off x="503178" y="3185637"/>
              <a:ext cx="6193978" cy="1273399"/>
            </a:xfrm>
            <a:prstGeom prst="rect">
              <a:avLst/>
            </a:prstGeom>
            <a:noFill/>
            <a:ln>
              <a:noFill/>
            </a:ln>
          </p:spPr>
          <p:txBody>
            <a:bodyPr spcFirstLastPara="1" wrap="square" lIns="0" tIns="30467" rIns="0" bIns="30467" anchor="t" anchorCtr="0">
              <a:spAutoFit/>
            </a:bodyPr>
            <a:lstStyle/>
            <a:p>
              <a:pPr marL="171450" marR="0" lvl="0" indent="-171450" algn="l" defTabSz="914400" rtl="0" eaLnBrk="1" fontAlgn="auto" latinLnBrk="0" hangingPunct="1">
                <a:lnSpc>
                  <a:spcPct val="150000"/>
                </a:lnSpc>
                <a:spcBef>
                  <a:spcPts val="0"/>
                </a:spcBef>
                <a:spcAft>
                  <a:spcPts val="0"/>
                </a:spcAft>
                <a:buClr>
                  <a:srgbClr val="009CDE"/>
                </a:buClr>
                <a:buSzPct val="150000"/>
                <a:buFont typeface="Arial" panose="020B0604020202020204" pitchFamily="34" charset="0"/>
                <a:buChar char="•"/>
                <a:tabLst/>
                <a:defRPr/>
              </a:pPr>
              <a:r>
                <a:rPr kumimoji="0" lang="en-US" sz="1050" b="0" i="0" u="none" strike="noStrike" kern="1200" cap="none" spc="0" normalizeH="0" baseline="0" noProof="0" dirty="0">
                  <a:ln>
                    <a:noFill/>
                  </a:ln>
                  <a:solidFill>
                    <a:srgbClr val="3F9C35"/>
                  </a:solidFill>
                  <a:effectLst/>
                  <a:uLnTx/>
                  <a:uFillTx/>
                  <a:latin typeface="Arial" panose="020B0604020202020204"/>
                  <a:ea typeface="+mn-ea"/>
                  <a:cs typeface="+mn-cs"/>
                  <a:sym typeface="Arial"/>
                </a:rPr>
                <a:t>Deep and Dark Web monitoring for lost or stolen data</a:t>
              </a:r>
            </a:p>
            <a:p>
              <a:pPr marL="171450" marR="0" lvl="0" indent="-171450" algn="l" defTabSz="914400" rtl="0" eaLnBrk="1" fontAlgn="auto" latinLnBrk="0" hangingPunct="1">
                <a:lnSpc>
                  <a:spcPct val="150000"/>
                </a:lnSpc>
                <a:spcBef>
                  <a:spcPts val="0"/>
                </a:spcBef>
                <a:spcAft>
                  <a:spcPts val="0"/>
                </a:spcAft>
                <a:buClr>
                  <a:srgbClr val="009CDE"/>
                </a:buClr>
                <a:buSzPct val="150000"/>
                <a:buFont typeface="Arial" panose="020B0604020202020204" pitchFamily="34" charset="0"/>
                <a:buChar char="•"/>
                <a:tabLst/>
                <a:defRPr/>
              </a:pPr>
              <a:r>
                <a:rPr kumimoji="0" lang="en-US" sz="1050" b="0" i="0" u="none" strike="noStrike" kern="1200" cap="none" spc="0" normalizeH="0" baseline="0" noProof="0" dirty="0">
                  <a:ln>
                    <a:noFill/>
                  </a:ln>
                  <a:solidFill>
                    <a:srgbClr val="3F9C35"/>
                  </a:solidFill>
                  <a:effectLst/>
                  <a:uLnTx/>
                  <a:uFillTx/>
                  <a:latin typeface="Arial" panose="020B0604020202020204"/>
                  <a:ea typeface="+mn-ea"/>
                  <a:cs typeface="+mn-cs"/>
                </a:rPr>
                <a:t>Industry, vendor, and supply chain monitoring for your operations</a:t>
              </a:r>
            </a:p>
            <a:p>
              <a:pPr marL="171450" marR="0" lvl="0" indent="-171450" algn="l" defTabSz="914400" rtl="0" eaLnBrk="1" fontAlgn="auto" latinLnBrk="0" hangingPunct="1">
                <a:lnSpc>
                  <a:spcPct val="150000"/>
                </a:lnSpc>
                <a:spcBef>
                  <a:spcPts val="0"/>
                </a:spcBef>
                <a:spcAft>
                  <a:spcPts val="0"/>
                </a:spcAft>
                <a:buClr>
                  <a:srgbClr val="009CDE"/>
                </a:buClr>
                <a:buSzPct val="150000"/>
                <a:buFont typeface="Arial" panose="020B0604020202020204" pitchFamily="34" charset="0"/>
                <a:buChar char="•"/>
                <a:tabLst/>
                <a:defRPr/>
              </a:pPr>
              <a:r>
                <a:rPr kumimoji="0" lang="en-US" sz="1050" b="0" i="0" u="none" strike="noStrike" kern="1200" cap="none" spc="0" normalizeH="0" baseline="0" noProof="0" dirty="0">
                  <a:ln>
                    <a:noFill/>
                  </a:ln>
                  <a:solidFill>
                    <a:srgbClr val="3F9C35"/>
                  </a:solidFill>
                  <a:effectLst/>
                  <a:uLnTx/>
                  <a:uFillTx/>
                  <a:latin typeface="Arial" panose="020B0604020202020204"/>
                  <a:ea typeface="+mn-ea"/>
                  <a:cs typeface="+mn-cs"/>
                </a:rPr>
                <a:t>Monitor and report on the emerging risks today with the protection measures for tomorrow.</a:t>
              </a:r>
            </a:p>
            <a:p>
              <a:pPr marL="171450" marR="0" lvl="0" indent="-171450" algn="l" defTabSz="914400" rtl="0" eaLnBrk="1" fontAlgn="auto" latinLnBrk="0" hangingPunct="1">
                <a:lnSpc>
                  <a:spcPct val="150000"/>
                </a:lnSpc>
                <a:spcBef>
                  <a:spcPts val="0"/>
                </a:spcBef>
                <a:spcAft>
                  <a:spcPts val="0"/>
                </a:spcAft>
                <a:buClr>
                  <a:srgbClr val="009CDE"/>
                </a:buClr>
                <a:buSzPct val="150000"/>
                <a:buFont typeface="Arial" panose="020B0604020202020204" pitchFamily="34" charset="0"/>
                <a:buChar char="•"/>
                <a:tabLst/>
                <a:defRPr/>
              </a:pPr>
              <a:r>
                <a:rPr kumimoji="0" lang="en-US" sz="1050" b="0" i="0" u="none" strike="noStrike" kern="1200" cap="none" spc="0" normalizeH="0" baseline="0" noProof="0" dirty="0">
                  <a:ln>
                    <a:noFill/>
                  </a:ln>
                  <a:solidFill>
                    <a:srgbClr val="3F9C35"/>
                  </a:solidFill>
                  <a:effectLst/>
                  <a:uLnTx/>
                  <a:uFillTx/>
                  <a:latin typeface="Arial" panose="020B0604020202020204"/>
                  <a:ea typeface="+mn-ea"/>
                  <a:cs typeface="+mn-cs"/>
                </a:rPr>
                <a:t>Custom RFI reporting on your custom priority intelligence requirements </a:t>
              </a:r>
            </a:p>
            <a:p>
              <a:pPr marL="171450" marR="0" lvl="0" indent="-171450" algn="l" defTabSz="914400" rtl="0" eaLnBrk="1" fontAlgn="auto" latinLnBrk="0" hangingPunct="1">
                <a:lnSpc>
                  <a:spcPct val="150000"/>
                </a:lnSpc>
                <a:spcBef>
                  <a:spcPts val="0"/>
                </a:spcBef>
                <a:spcAft>
                  <a:spcPts val="0"/>
                </a:spcAft>
                <a:buClr>
                  <a:srgbClr val="009CDE"/>
                </a:buClr>
                <a:buSzPct val="150000"/>
                <a:buFont typeface="Arial" panose="020B0604020202020204" pitchFamily="34" charset="0"/>
                <a:buChar char="•"/>
                <a:tabLst/>
                <a:defRPr/>
              </a:pPr>
              <a:r>
                <a:rPr kumimoji="0" lang="en-US" sz="1050" b="0" i="0" u="none" strike="noStrike" kern="1200" cap="none" spc="0" normalizeH="0" baseline="0" noProof="0" dirty="0">
                  <a:ln>
                    <a:noFill/>
                  </a:ln>
                  <a:solidFill>
                    <a:srgbClr val="3F9C35"/>
                  </a:solidFill>
                  <a:effectLst/>
                  <a:uLnTx/>
                  <a:uFillTx/>
                  <a:latin typeface="Arial" panose="020B0604020202020204"/>
                  <a:ea typeface="+mn-ea"/>
                  <a:cs typeface="+mn-cs"/>
                </a:rPr>
                <a:t>Third-party and supply chain threat monitoring and alerts</a:t>
              </a:r>
            </a:p>
          </p:txBody>
        </p:sp>
      </p:grpSp>
      <p:pic>
        <p:nvPicPr>
          <p:cNvPr id="21" name="Graphic 20" descr="A logo with a black background&#10;&#10;Description automatically generated">
            <a:extLst>
              <a:ext uri="{FF2B5EF4-FFF2-40B4-BE49-F238E27FC236}">
                <a16:creationId xmlns:a16="http://schemas.microsoft.com/office/drawing/2014/main" id="{A78515E1-EB33-70FE-122D-1B5085390A2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65219" y="2377444"/>
            <a:ext cx="1125940" cy="1134457"/>
          </a:xfrm>
          <a:prstGeom prst="rect">
            <a:avLst/>
          </a:prstGeom>
        </p:spPr>
      </p:pic>
      <p:pic>
        <p:nvPicPr>
          <p:cNvPr id="22" name="Picture 21" descr="File:Flashpoint-logo.svg - Wikimedia Commons">
            <a:extLst>
              <a:ext uri="{FF2B5EF4-FFF2-40B4-BE49-F238E27FC236}">
                <a16:creationId xmlns:a16="http://schemas.microsoft.com/office/drawing/2014/main" id="{7FF95FE7-A8FE-19BE-3061-A6A25DFE76A5}"/>
              </a:ext>
            </a:extLst>
          </p:cNvPr>
          <p:cNvPicPr>
            <a:picLocks noChangeAspect="1"/>
          </p:cNvPicPr>
          <p:nvPr/>
        </p:nvPicPr>
        <p:blipFill>
          <a:blip r:embed="rId5"/>
          <a:stretch>
            <a:fillRect/>
          </a:stretch>
        </p:blipFill>
        <p:spPr>
          <a:xfrm>
            <a:off x="8420679" y="1492088"/>
            <a:ext cx="3184026" cy="632451"/>
          </a:xfrm>
          <a:prstGeom prst="rect">
            <a:avLst/>
          </a:prstGeom>
          <a:noFill/>
        </p:spPr>
      </p:pic>
      <p:pic>
        <p:nvPicPr>
          <p:cNvPr id="23" name="Picture 22" descr="Thoma Bravo Makes Strategic Investment in Intel 471">
            <a:extLst>
              <a:ext uri="{FF2B5EF4-FFF2-40B4-BE49-F238E27FC236}">
                <a16:creationId xmlns:a16="http://schemas.microsoft.com/office/drawing/2014/main" id="{7515722D-FCFA-8E72-5BFB-881963EBA522}"/>
              </a:ext>
            </a:extLst>
          </p:cNvPr>
          <p:cNvPicPr>
            <a:picLocks noChangeAspect="1"/>
          </p:cNvPicPr>
          <p:nvPr/>
        </p:nvPicPr>
        <p:blipFill>
          <a:blip r:embed="rId6"/>
          <a:stretch>
            <a:fillRect/>
          </a:stretch>
        </p:blipFill>
        <p:spPr>
          <a:xfrm>
            <a:off x="9647450" y="2371832"/>
            <a:ext cx="1957255" cy="1081028"/>
          </a:xfrm>
          <a:prstGeom prst="rect">
            <a:avLst/>
          </a:prstGeom>
        </p:spPr>
      </p:pic>
      <p:pic>
        <p:nvPicPr>
          <p:cNvPr id="8" name="Picture 7" descr="A blue text on a black background&#10;&#10;Description automatically generated">
            <a:extLst>
              <a:ext uri="{FF2B5EF4-FFF2-40B4-BE49-F238E27FC236}">
                <a16:creationId xmlns:a16="http://schemas.microsoft.com/office/drawing/2014/main" id="{3301DEED-2723-DB25-D05F-240FB4A6BD95}"/>
              </a:ext>
            </a:extLst>
          </p:cNvPr>
          <p:cNvPicPr>
            <a:picLocks noChangeAspect="1"/>
          </p:cNvPicPr>
          <p:nvPr/>
        </p:nvPicPr>
        <p:blipFill>
          <a:blip r:embed="rId7">
            <a:duotone>
              <a:schemeClr val="accent1">
                <a:shade val="45000"/>
                <a:satMod val="135000"/>
              </a:schemeClr>
              <a:prstClr val="white"/>
            </a:duotone>
          </a:blip>
          <a:stretch>
            <a:fillRect/>
          </a:stretch>
        </p:blipFill>
        <p:spPr>
          <a:xfrm>
            <a:off x="7992998" y="3788179"/>
            <a:ext cx="3611707" cy="733740"/>
          </a:xfrm>
          <a:prstGeom prst="rect">
            <a:avLst/>
          </a:prstGeom>
        </p:spPr>
      </p:pic>
      <p:grpSp>
        <p:nvGrpSpPr>
          <p:cNvPr id="11" name="Group 10">
            <a:extLst>
              <a:ext uri="{FF2B5EF4-FFF2-40B4-BE49-F238E27FC236}">
                <a16:creationId xmlns:a16="http://schemas.microsoft.com/office/drawing/2014/main" id="{E1F98DE9-7257-CF6D-B06A-ACA2BD46F03D}"/>
              </a:ext>
            </a:extLst>
          </p:cNvPr>
          <p:cNvGrpSpPr/>
          <p:nvPr/>
        </p:nvGrpSpPr>
        <p:grpSpPr>
          <a:xfrm>
            <a:off x="512331" y="4305703"/>
            <a:ext cx="10231869" cy="1567068"/>
            <a:chOff x="512331" y="4464304"/>
            <a:chExt cx="10231869" cy="1567068"/>
          </a:xfrm>
        </p:grpSpPr>
        <p:sp>
          <p:nvSpPr>
            <p:cNvPr id="7" name="Google Shape;1641;p15">
              <a:extLst>
                <a:ext uri="{FF2B5EF4-FFF2-40B4-BE49-F238E27FC236}">
                  <a16:creationId xmlns:a16="http://schemas.microsoft.com/office/drawing/2014/main" id="{6BC5C211-D220-F068-1B31-4E84C71D9392}"/>
                </a:ext>
              </a:extLst>
            </p:cNvPr>
            <p:cNvSpPr txBox="1"/>
            <p:nvPr/>
          </p:nvSpPr>
          <p:spPr>
            <a:xfrm>
              <a:off x="512331" y="4802858"/>
              <a:ext cx="10231869" cy="1228514"/>
            </a:xfrm>
            <a:prstGeom prst="rect">
              <a:avLst/>
            </a:prstGeom>
            <a:noFill/>
            <a:ln>
              <a:noFill/>
            </a:ln>
          </p:spPr>
          <p:txBody>
            <a:bodyPr spcFirstLastPara="1" wrap="square" lIns="0" tIns="30467" rIns="0" bIns="30467" anchor="t" anchorCtr="0">
              <a:noAutofit/>
            </a:bodyPr>
            <a:lstStyle/>
            <a:p>
              <a:pPr marL="171450" marR="0" lvl="0" indent="-171450" defTabSz="914400" rtl="0" eaLnBrk="1" fontAlgn="auto" latinLnBrk="0" hangingPunct="1">
                <a:lnSpc>
                  <a:spcPct val="150000"/>
                </a:lnSpc>
                <a:spcBef>
                  <a:spcPts val="400"/>
                </a:spcBef>
                <a:spcAft>
                  <a:spcPts val="0"/>
                </a:spcAft>
                <a:buClr>
                  <a:srgbClr val="009CDE"/>
                </a:buClr>
                <a:buSzPct val="150000"/>
                <a:buFont typeface="Arial" panose="020B0604020202020204" pitchFamily="34" charset="0"/>
                <a:buChar char="•"/>
                <a:tabLst/>
                <a:defRPr/>
              </a:pPr>
              <a:r>
                <a:rPr kumimoji="0" lang="en-US" sz="1050" b="0" i="0" u="none" strike="noStrike" kern="1200" cap="none" spc="0" normalizeH="0" baseline="0" noProof="0" dirty="0">
                  <a:ln>
                    <a:noFill/>
                  </a:ln>
                  <a:solidFill>
                    <a:schemeClr val="accent5"/>
                  </a:solidFill>
                  <a:effectLst/>
                  <a:uLnTx/>
                  <a:uFillTx/>
                  <a:latin typeface="Arial"/>
                  <a:ea typeface="+mn-ea"/>
                  <a:cs typeface="Arial"/>
                </a:rPr>
                <a:t>Proactively monitor new domain registrations to thwart cybersquatters and safeguard your brand from typosquatting scams.</a:t>
              </a:r>
            </a:p>
            <a:p>
              <a:pPr marL="171450" marR="0" lvl="0" indent="-171450" defTabSz="914400" rtl="0" eaLnBrk="1" fontAlgn="auto" latinLnBrk="0" hangingPunct="1">
                <a:lnSpc>
                  <a:spcPct val="150000"/>
                </a:lnSpc>
                <a:spcBef>
                  <a:spcPts val="400"/>
                </a:spcBef>
                <a:spcAft>
                  <a:spcPts val="0"/>
                </a:spcAft>
                <a:buClr>
                  <a:srgbClr val="009CDE"/>
                </a:buClr>
                <a:buSzPct val="150000"/>
                <a:buFont typeface="Arial" panose="020B0604020202020204" pitchFamily="34" charset="0"/>
                <a:buChar char="•"/>
                <a:tabLst/>
                <a:defRPr/>
              </a:pPr>
              <a:r>
                <a:rPr kumimoji="0" lang="en-US" sz="1050" b="0" i="0" u="none" strike="noStrike" kern="1200" cap="none" spc="0" normalizeH="0" baseline="0" noProof="0" dirty="0">
                  <a:ln>
                    <a:noFill/>
                  </a:ln>
                  <a:solidFill>
                    <a:schemeClr val="accent5"/>
                  </a:solidFill>
                  <a:effectLst/>
                  <a:uLnTx/>
                  <a:uFillTx/>
                  <a:latin typeface="Arial"/>
                  <a:ea typeface="+mn-ea"/>
                  <a:cs typeface="Arial"/>
                </a:rPr>
                <a:t>Automatically detect and take down counterfeit websites mimicking your brand, preventing traffic diversion, counterfeit sales, and credential theft.</a:t>
              </a:r>
            </a:p>
            <a:p>
              <a:pPr marL="171450" marR="0" lvl="0" indent="-171450" defTabSz="914400" rtl="0" eaLnBrk="1" fontAlgn="auto" latinLnBrk="0" hangingPunct="1">
                <a:lnSpc>
                  <a:spcPct val="150000"/>
                </a:lnSpc>
                <a:spcBef>
                  <a:spcPts val="400"/>
                </a:spcBef>
                <a:spcAft>
                  <a:spcPts val="0"/>
                </a:spcAft>
                <a:buClr>
                  <a:srgbClr val="009CDE"/>
                </a:buClr>
                <a:buSzPct val="150000"/>
                <a:buFont typeface="Arial" panose="020B0604020202020204" pitchFamily="34" charset="0"/>
                <a:buChar char="•"/>
                <a:tabLst/>
                <a:defRPr/>
              </a:pPr>
              <a:r>
                <a:rPr kumimoji="0" lang="en-US" sz="1050" b="0" i="0" u="none" strike="noStrike" kern="1200" cap="none" spc="0" normalizeH="0" baseline="0" noProof="0" dirty="0">
                  <a:ln>
                    <a:noFill/>
                  </a:ln>
                  <a:solidFill>
                    <a:schemeClr val="accent5"/>
                  </a:solidFill>
                  <a:effectLst/>
                  <a:uLnTx/>
                  <a:uFillTx/>
                  <a:latin typeface="Arial"/>
                  <a:ea typeface="+mn-ea"/>
                  <a:cs typeface="Arial"/>
                </a:rPr>
                <a:t>Identify and eliminate fake brand accounts and executive social media profiles utilized in social engineering schemes to protect customer data and brand integrity.</a:t>
              </a:r>
            </a:p>
            <a:p>
              <a:pPr marL="171450" marR="0" lvl="0" indent="-171450" defTabSz="914400" rtl="0" eaLnBrk="1" fontAlgn="auto" latinLnBrk="0" hangingPunct="1">
                <a:lnSpc>
                  <a:spcPct val="150000"/>
                </a:lnSpc>
                <a:spcBef>
                  <a:spcPts val="400"/>
                </a:spcBef>
                <a:spcAft>
                  <a:spcPts val="0"/>
                </a:spcAft>
                <a:buClr>
                  <a:srgbClr val="009CDE"/>
                </a:buClr>
                <a:buSzPct val="150000"/>
                <a:buFont typeface="Arial" panose="020B0604020202020204" pitchFamily="34" charset="0"/>
                <a:buChar char="•"/>
                <a:tabLst/>
                <a:defRPr/>
              </a:pPr>
              <a:r>
                <a:rPr kumimoji="0" lang="en-US" sz="1050" b="0" i="0" u="none" strike="noStrike" kern="1200" cap="none" spc="0" normalizeH="0" baseline="0" noProof="0" dirty="0">
                  <a:ln>
                    <a:noFill/>
                  </a:ln>
                  <a:solidFill>
                    <a:schemeClr val="accent5"/>
                  </a:solidFill>
                  <a:effectLst/>
                  <a:uLnTx/>
                  <a:uFillTx/>
                  <a:latin typeface="Arial"/>
                  <a:ea typeface="+mn-ea"/>
                  <a:cs typeface="Arial"/>
                </a:rPr>
                <a:t>Conduct comprehensive scans across app stores and download platforms to identify and remove fake or compromised mobile apps, preventing credential theft and device compromise.</a:t>
              </a:r>
            </a:p>
            <a:p>
              <a:pPr marL="171450" marR="0" lvl="0" indent="-171450" defTabSz="914400" rtl="0" eaLnBrk="1" fontAlgn="auto" latinLnBrk="0" hangingPunct="1">
                <a:lnSpc>
                  <a:spcPct val="150000"/>
                </a:lnSpc>
                <a:spcBef>
                  <a:spcPts val="400"/>
                </a:spcBef>
                <a:spcAft>
                  <a:spcPts val="0"/>
                </a:spcAft>
                <a:buClr>
                  <a:srgbClr val="009CDE"/>
                </a:buClr>
                <a:buSzPct val="150000"/>
                <a:buFont typeface="Arial" panose="020B0604020202020204" pitchFamily="34" charset="0"/>
                <a:buChar char="•"/>
                <a:tabLst/>
                <a:defRPr/>
              </a:pPr>
              <a:r>
                <a:rPr kumimoji="0" lang="en-US" sz="1050" b="0" i="0" u="none" strike="noStrike" kern="1200" cap="none" spc="0" normalizeH="0" baseline="0" noProof="0" dirty="0">
                  <a:ln>
                    <a:noFill/>
                  </a:ln>
                  <a:solidFill>
                    <a:schemeClr val="accent5"/>
                  </a:solidFill>
                  <a:effectLst/>
                  <a:uLnTx/>
                  <a:uFillTx/>
                  <a:latin typeface="Arial"/>
                  <a:ea typeface="+mn-ea"/>
                  <a:cs typeface="Arial"/>
                </a:rPr>
                <a:t>Mitigate the reputational and financial risks of phishing attacks through automated scanning of spam, malicious URLs, Vishing, and SMiShing campaigns.</a:t>
              </a:r>
              <a:endParaRPr kumimoji="0" lang="en-US" sz="1200" b="0" i="0" u="none" strike="noStrike" kern="1200" cap="none" spc="0" normalizeH="0" baseline="0" noProof="0" dirty="0">
                <a:ln>
                  <a:noFill/>
                </a:ln>
                <a:solidFill>
                  <a:schemeClr val="accent5"/>
                </a:solidFill>
                <a:effectLst/>
                <a:uLnTx/>
                <a:uFillTx/>
                <a:latin typeface="Arial" panose="020B0604020202020204"/>
                <a:ea typeface="+mn-ea"/>
                <a:cs typeface="Arial"/>
              </a:endParaRPr>
            </a:p>
          </p:txBody>
        </p:sp>
        <p:cxnSp>
          <p:nvCxnSpPr>
            <p:cNvPr id="2" name="Google Shape;1642;p15">
              <a:extLst>
                <a:ext uri="{FF2B5EF4-FFF2-40B4-BE49-F238E27FC236}">
                  <a16:creationId xmlns:a16="http://schemas.microsoft.com/office/drawing/2014/main" id="{A628F71B-FEFF-31D4-0143-BA6A6533EC71}"/>
                </a:ext>
              </a:extLst>
            </p:cNvPr>
            <p:cNvCxnSpPr>
              <a:cxnSpLocks/>
            </p:cNvCxnSpPr>
            <p:nvPr/>
          </p:nvCxnSpPr>
          <p:spPr>
            <a:xfrm>
              <a:off x="3272934" y="4648200"/>
              <a:ext cx="3933099" cy="0"/>
            </a:xfrm>
            <a:prstGeom prst="straightConnector1">
              <a:avLst/>
            </a:prstGeom>
            <a:noFill/>
            <a:ln w="19050" cap="flat" cmpd="sng">
              <a:solidFill>
                <a:srgbClr val="7030A0"/>
              </a:solidFill>
              <a:prstDash val="solid"/>
              <a:round/>
              <a:headEnd type="none" w="sm" len="sm"/>
              <a:tailEnd type="none" w="sm" len="sm"/>
            </a:ln>
          </p:spPr>
        </p:cxnSp>
        <p:sp>
          <p:nvSpPr>
            <p:cNvPr id="6" name="TextBox 5">
              <a:extLst>
                <a:ext uri="{FF2B5EF4-FFF2-40B4-BE49-F238E27FC236}">
                  <a16:creationId xmlns:a16="http://schemas.microsoft.com/office/drawing/2014/main" id="{1F949A15-F996-420F-1EB0-AB85C2C30DDC}"/>
                </a:ext>
              </a:extLst>
            </p:cNvPr>
            <p:cNvSpPr txBox="1"/>
            <p:nvPr/>
          </p:nvSpPr>
          <p:spPr>
            <a:xfrm>
              <a:off x="512331" y="4464304"/>
              <a:ext cx="2760603" cy="338554"/>
            </a:xfrm>
            <a:prstGeom prst="rect">
              <a:avLst/>
            </a:prstGeom>
            <a:noFill/>
            <a:ln>
              <a:noFill/>
            </a:ln>
          </p:spPr>
          <p:txBody>
            <a:bodyPr spcFirstLastPara="1" wrap="square" lIns="0" tIns="30467" rIns="0" bIns="30467" anchor="t" anchorCtr="0">
              <a:noAutofit/>
            </a:bodyPr>
            <a:lstStyle>
              <a:defPPr>
                <a:defRPr lang="en-US"/>
              </a:defPPr>
              <a:lvl1pPr marR="0" lvl="0" indent="0" fontAlgn="auto">
                <a:lnSpc>
                  <a:spcPct val="100000"/>
                </a:lnSpc>
                <a:spcBef>
                  <a:spcPts val="400"/>
                </a:spcBef>
                <a:spcAft>
                  <a:spcPts val="0"/>
                </a:spcAft>
                <a:buClr>
                  <a:srgbClr val="595959"/>
                </a:buClr>
                <a:buSzPts val="1100"/>
                <a:buFontTx/>
                <a:buNone/>
                <a:tabLst/>
                <a:defRPr kumimoji="0" sz="1600" b="1" i="0" u="none" strike="noStrike" cap="none" spc="0" normalizeH="0" baseline="0">
                  <a:ln>
                    <a:noFill/>
                  </a:ln>
                  <a:solidFill>
                    <a:srgbClr val="009CDE"/>
                  </a:solidFill>
                  <a:effectLst/>
                  <a:uLnTx/>
                  <a:uFillTx/>
                  <a:latin typeface="Arial"/>
                  <a:ea typeface="Arial"/>
                  <a:cs typeface="Arial"/>
                </a:defRPr>
              </a:lvl1pPr>
            </a:lstStyle>
            <a:p>
              <a:pPr marL="0" marR="0" lvl="0" indent="0" algn="l" defTabSz="914400" rtl="0" eaLnBrk="1" fontAlgn="auto" latinLnBrk="0" hangingPunct="1">
                <a:lnSpc>
                  <a:spcPct val="100000"/>
                </a:lnSpc>
                <a:spcBef>
                  <a:spcPts val="400"/>
                </a:spcBef>
                <a:spcAft>
                  <a:spcPts val="0"/>
                </a:spcAft>
                <a:buClr>
                  <a:srgbClr val="595959"/>
                </a:buClr>
                <a:buSzPts val="1100"/>
                <a:buFontTx/>
                <a:buNone/>
                <a:tabLst/>
                <a:defRPr/>
              </a:pPr>
              <a:r>
                <a:rPr kumimoji="0" lang="en-US" sz="1600" b="1" i="0" u="none" strike="noStrike" kern="1200" cap="none" spc="0" normalizeH="0" baseline="0" noProof="0" dirty="0">
                  <a:ln>
                    <a:noFill/>
                  </a:ln>
                  <a:solidFill>
                    <a:srgbClr val="009CDE"/>
                  </a:solidFill>
                  <a:effectLst/>
                  <a:uLnTx/>
                  <a:uFillTx/>
                  <a:latin typeface="Arial"/>
                  <a:cs typeface="Arial"/>
                  <a:sym typeface="Arial"/>
                </a:rPr>
                <a:t>How we protect your brand</a:t>
              </a:r>
              <a:endParaRPr kumimoji="0" lang="en-US" sz="1600" b="1" i="0" u="none" strike="noStrike" kern="1200" cap="none" spc="0" normalizeH="0" baseline="0" noProof="0" dirty="0">
                <a:ln>
                  <a:noFill/>
                </a:ln>
                <a:solidFill>
                  <a:srgbClr val="009CDE"/>
                </a:solidFill>
                <a:effectLst/>
                <a:uLnTx/>
                <a:uFillTx/>
                <a:latin typeface="Arial"/>
                <a:cs typeface="Arial"/>
              </a:endParaRPr>
            </a:p>
          </p:txBody>
        </p:sp>
      </p:grpSp>
      <p:sp>
        <p:nvSpPr>
          <p:cNvPr id="3" name="Title 1">
            <a:extLst>
              <a:ext uri="{FF2B5EF4-FFF2-40B4-BE49-F238E27FC236}">
                <a16:creationId xmlns:a16="http://schemas.microsoft.com/office/drawing/2014/main" id="{9F0DB913-EB32-268F-A8C5-07F1E00D0E09}"/>
              </a:ext>
            </a:extLst>
          </p:cNvPr>
          <p:cNvSpPr txBox="1">
            <a:spLocks/>
          </p:cNvSpPr>
          <p:nvPr/>
        </p:nvSpPr>
        <p:spPr>
          <a:xfrm>
            <a:off x="609600" y="418804"/>
            <a:ext cx="10010775" cy="554038"/>
          </a:xfrm>
          <a:prstGeom prst="rect">
            <a:avLst/>
          </a:prstGeom>
          <a:noFill/>
          <a:ln>
            <a:noFill/>
          </a:ln>
        </p:spPr>
        <p:txBody>
          <a:bodyPr spcFirstLastPara="1" vert="horz" wrap="square" lIns="91440" tIns="45720" rIns="91440" bIns="45720" rtlCol="0" anchor="ctr" anchorCtr="0">
            <a:normAutofit fontScale="90000" lnSpcReduction="10000"/>
          </a:bodyPr>
          <a:lst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a:lstStyle>
          <a:p>
            <a:pPr>
              <a:buClr>
                <a:schemeClr val="dk1"/>
              </a:buClr>
              <a:buSzPts val="5800"/>
              <a:buFont typeface="Arial"/>
              <a:buNone/>
            </a:pPr>
            <a:r>
              <a:rPr lang="en-US" dirty="0"/>
              <a:t>Threat Intelligence Services</a:t>
            </a:r>
          </a:p>
        </p:txBody>
      </p:sp>
    </p:spTree>
    <p:extLst>
      <p:ext uri="{BB962C8B-B14F-4D97-AF65-F5344CB8AC3E}">
        <p14:creationId xmlns:p14="http://schemas.microsoft.com/office/powerpoint/2010/main" val="18768703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608"/>
        <p:cNvGrpSpPr/>
        <p:nvPr/>
      </p:nvGrpSpPr>
      <p:grpSpPr>
        <a:xfrm>
          <a:off x="0" y="0"/>
          <a:ext cx="0" cy="0"/>
          <a:chOff x="0" y="0"/>
          <a:chExt cx="0" cy="0"/>
        </a:xfrm>
      </p:grpSpPr>
      <p:sp>
        <p:nvSpPr>
          <p:cNvPr id="1612" name="Google Shape;1612;p15"/>
          <p:cNvSpPr/>
          <p:nvPr/>
        </p:nvSpPr>
        <p:spPr>
          <a:xfrm>
            <a:off x="2221141" y="5413352"/>
            <a:ext cx="1269559" cy="913944"/>
          </a:xfrm>
          <a:prstGeom prst="roundRect">
            <a:avLst>
              <a:gd name="adj" fmla="val 7467"/>
            </a:avLst>
          </a:prstGeom>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0800000" scaled="1"/>
            <a:tileRect/>
          </a:gradFill>
          <a:ln>
            <a:noFill/>
          </a:ln>
          <a:effectLst>
            <a:outerShdw blurRad="443855" dist="191037" dir="5400000" algn="t" rotWithShape="0">
              <a:srgbClr val="000000">
                <a:alpha val="10196"/>
              </a:srgbClr>
            </a:outerShdw>
          </a:effectLst>
        </p:spPr>
        <p:txBody>
          <a:bodyPr spcFirstLastPara="1" wrap="square" lIns="60967" tIns="30467" rIns="60967" bIns="30467"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lang="en-US" sz="933" b="0" i="0" u="none" strike="noStrike" kern="1200" cap="none" spc="0" normalizeH="0" baseline="0" noProof="0">
              <a:ln>
                <a:noFill/>
              </a:ln>
              <a:solidFill>
                <a:prstClr val="white"/>
              </a:solidFill>
              <a:effectLst/>
              <a:uLnTx/>
              <a:uFillTx/>
              <a:latin typeface="Arial"/>
              <a:ea typeface="Arial"/>
              <a:cs typeface="Arial"/>
              <a:sym typeface="Arial"/>
            </a:endParaRPr>
          </a:p>
        </p:txBody>
      </p:sp>
      <p:sp>
        <p:nvSpPr>
          <p:cNvPr id="1613" name="Google Shape;1613;p15"/>
          <p:cNvSpPr txBox="1"/>
          <p:nvPr/>
        </p:nvSpPr>
        <p:spPr>
          <a:xfrm>
            <a:off x="2221141" y="5840531"/>
            <a:ext cx="1269559" cy="553820"/>
          </a:xfrm>
          <a:prstGeom prst="rect">
            <a:avLst/>
          </a:prstGeom>
          <a:noFill/>
          <a:ln>
            <a:noFill/>
          </a:ln>
        </p:spPr>
        <p:txBody>
          <a:bodyPr spcFirstLastPara="1" wrap="square" lIns="60967" tIns="60967" rIns="60967" bIns="60967"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US" sz="933" b="1" i="0" u="none" strike="noStrike" kern="1200" cap="none" spc="0" normalizeH="0" baseline="0" noProof="0">
                <a:ln>
                  <a:noFill/>
                </a:ln>
                <a:solidFill>
                  <a:srgbClr val="595959"/>
                </a:solidFill>
                <a:effectLst/>
                <a:uLnTx/>
                <a:uFillTx/>
                <a:latin typeface="Arial"/>
                <a:ea typeface="Arial"/>
                <a:cs typeface="Arial"/>
                <a:sym typeface="Arial"/>
              </a:rPr>
              <a:t>Storyline™ Automated</a:t>
            </a: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US" sz="933" b="1" i="0" u="none" strike="noStrike" kern="1200" cap="none" spc="0" normalizeH="0" baseline="0" noProof="0">
                <a:ln>
                  <a:noFill/>
                </a:ln>
                <a:solidFill>
                  <a:srgbClr val="595959"/>
                </a:solidFill>
                <a:effectLst/>
                <a:uLnTx/>
                <a:uFillTx/>
                <a:latin typeface="Arial"/>
                <a:ea typeface="Arial"/>
                <a:cs typeface="Arial"/>
                <a:sym typeface="Arial"/>
              </a:rPr>
              <a:t>Context</a:t>
            </a:r>
          </a:p>
        </p:txBody>
      </p:sp>
      <p:pic>
        <p:nvPicPr>
          <p:cNvPr id="1614" name="Google Shape;1614;p15"/>
          <p:cNvPicPr preferRelativeResize="0"/>
          <p:nvPr/>
        </p:nvPicPr>
        <p:blipFill rotWithShape="1">
          <a:blip r:embed="rId3">
            <a:alphaModFix/>
          </a:blip>
          <a:srcRect/>
          <a:stretch/>
        </p:blipFill>
        <p:spPr>
          <a:xfrm>
            <a:off x="2623371" y="5497661"/>
            <a:ext cx="465098" cy="363859"/>
          </a:xfrm>
          <a:prstGeom prst="rect">
            <a:avLst/>
          </a:prstGeom>
          <a:noFill/>
          <a:ln>
            <a:noFill/>
          </a:ln>
        </p:spPr>
      </p:pic>
      <p:sp>
        <p:nvSpPr>
          <p:cNvPr id="1616" name="Google Shape;1616;p15"/>
          <p:cNvSpPr/>
          <p:nvPr/>
        </p:nvSpPr>
        <p:spPr>
          <a:xfrm>
            <a:off x="3637909" y="5413352"/>
            <a:ext cx="1269559" cy="913944"/>
          </a:xfrm>
          <a:prstGeom prst="roundRect">
            <a:avLst>
              <a:gd name="adj" fmla="val 7467"/>
            </a:avLst>
          </a:prstGeom>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0800000" scaled="1"/>
            <a:tileRect/>
          </a:gradFill>
          <a:ln>
            <a:noFill/>
          </a:ln>
          <a:effectLst>
            <a:outerShdw blurRad="443855" dist="191037" dir="5400000" algn="t" rotWithShape="0">
              <a:srgbClr val="000000">
                <a:alpha val="10196"/>
              </a:srgbClr>
            </a:outerShdw>
          </a:effectLst>
        </p:spPr>
        <p:txBody>
          <a:bodyPr spcFirstLastPara="1" wrap="square" lIns="60967" tIns="30467" rIns="60967" bIns="30467"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lang="en-US" sz="933" b="0" i="0" u="none" strike="noStrike" kern="1200" cap="none" spc="0" normalizeH="0" baseline="0" noProof="0">
              <a:ln>
                <a:noFill/>
              </a:ln>
              <a:solidFill>
                <a:prstClr val="white"/>
              </a:solidFill>
              <a:effectLst/>
              <a:uLnTx/>
              <a:uFillTx/>
              <a:latin typeface="Arial"/>
              <a:ea typeface="Arial"/>
              <a:cs typeface="Arial"/>
              <a:sym typeface="Arial"/>
            </a:endParaRPr>
          </a:p>
        </p:txBody>
      </p:sp>
      <p:sp>
        <p:nvSpPr>
          <p:cNvPr id="1617" name="Google Shape;1617;p15"/>
          <p:cNvSpPr txBox="1"/>
          <p:nvPr/>
        </p:nvSpPr>
        <p:spPr>
          <a:xfrm>
            <a:off x="3637911" y="5830655"/>
            <a:ext cx="1269559" cy="505106"/>
          </a:xfrm>
          <a:prstGeom prst="rect">
            <a:avLst/>
          </a:prstGeom>
          <a:noFill/>
          <a:ln>
            <a:noFill/>
          </a:ln>
        </p:spPr>
        <p:txBody>
          <a:bodyPr spcFirstLastPara="1" wrap="square" lIns="60967" tIns="60967" rIns="60967" bIns="60967"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US" sz="933" b="1" i="0" u="none" strike="noStrike" kern="1200" cap="none" spc="0" normalizeH="0" baseline="0" noProof="0">
                <a:ln>
                  <a:noFill/>
                </a:ln>
                <a:solidFill>
                  <a:srgbClr val="595959"/>
                </a:solidFill>
                <a:effectLst/>
                <a:uLnTx/>
                <a:uFillTx/>
                <a:latin typeface="Arial"/>
                <a:ea typeface="Arial"/>
                <a:cs typeface="Arial"/>
                <a:sym typeface="Arial"/>
              </a:rPr>
              <a:t>Easy-to-Use Forensics &amp; Root Cause Analysis</a:t>
            </a:r>
          </a:p>
        </p:txBody>
      </p:sp>
      <p:pic>
        <p:nvPicPr>
          <p:cNvPr id="1618" name="Google Shape;1618;p15"/>
          <p:cNvPicPr preferRelativeResize="0"/>
          <p:nvPr/>
        </p:nvPicPr>
        <p:blipFill rotWithShape="1">
          <a:blip r:embed="rId4">
            <a:alphaModFix/>
          </a:blip>
          <a:srcRect/>
          <a:stretch/>
        </p:blipFill>
        <p:spPr>
          <a:xfrm>
            <a:off x="4040139" y="5484961"/>
            <a:ext cx="465098" cy="363859"/>
          </a:xfrm>
          <a:prstGeom prst="rect">
            <a:avLst/>
          </a:prstGeom>
          <a:noFill/>
          <a:ln>
            <a:noFill/>
          </a:ln>
        </p:spPr>
      </p:pic>
      <p:sp>
        <p:nvSpPr>
          <p:cNvPr id="1620" name="Google Shape;1620;p15"/>
          <p:cNvSpPr/>
          <p:nvPr/>
        </p:nvSpPr>
        <p:spPr>
          <a:xfrm>
            <a:off x="5059531" y="5413352"/>
            <a:ext cx="1269560" cy="913944"/>
          </a:xfrm>
          <a:prstGeom prst="roundRect">
            <a:avLst>
              <a:gd name="adj" fmla="val 7467"/>
            </a:avLst>
          </a:prstGeom>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0800000" scaled="1"/>
            <a:tileRect/>
          </a:gradFill>
          <a:ln>
            <a:noFill/>
          </a:ln>
          <a:effectLst>
            <a:outerShdw blurRad="443855" dist="191037" dir="5400000" algn="t" rotWithShape="0">
              <a:srgbClr val="000000">
                <a:alpha val="10196"/>
              </a:srgbClr>
            </a:outerShdw>
          </a:effectLst>
        </p:spPr>
        <p:txBody>
          <a:bodyPr spcFirstLastPara="1" wrap="square" lIns="60967" tIns="30467" rIns="60967" bIns="30467"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lang="en-US" sz="933" b="0" i="0" u="none" strike="noStrike" kern="1200" cap="none" spc="0" normalizeH="0" baseline="0" noProof="0">
              <a:ln>
                <a:noFill/>
              </a:ln>
              <a:solidFill>
                <a:prstClr val="white"/>
              </a:solidFill>
              <a:effectLst/>
              <a:uLnTx/>
              <a:uFillTx/>
              <a:latin typeface="Arial"/>
              <a:ea typeface="Arial"/>
              <a:cs typeface="Arial"/>
              <a:sym typeface="Arial"/>
            </a:endParaRPr>
          </a:p>
        </p:txBody>
      </p:sp>
      <p:sp>
        <p:nvSpPr>
          <p:cNvPr id="1621" name="Google Shape;1621;p15"/>
          <p:cNvSpPr txBox="1"/>
          <p:nvPr/>
        </p:nvSpPr>
        <p:spPr>
          <a:xfrm>
            <a:off x="5058107" y="5832911"/>
            <a:ext cx="1272408" cy="505107"/>
          </a:xfrm>
          <a:prstGeom prst="rect">
            <a:avLst/>
          </a:prstGeom>
          <a:noFill/>
          <a:ln>
            <a:noFill/>
          </a:ln>
        </p:spPr>
        <p:txBody>
          <a:bodyPr spcFirstLastPara="1" wrap="square" lIns="60967" tIns="60967" rIns="60967" bIns="60967"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US" sz="933" b="1" i="0" u="none" strike="noStrike" kern="1200" cap="none" spc="0" normalizeH="0" baseline="0" noProof="0">
                <a:ln>
                  <a:noFill/>
                </a:ln>
                <a:solidFill>
                  <a:srgbClr val="595959"/>
                </a:solidFill>
                <a:effectLst/>
                <a:uLnTx/>
                <a:uFillTx/>
                <a:latin typeface="Arial"/>
                <a:ea typeface="Arial"/>
                <a:cs typeface="Arial"/>
                <a:sym typeface="Arial"/>
              </a:rPr>
              <a:t>STAR™ </a:t>
            </a: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US" sz="933" b="1" i="0" u="none" strike="noStrike" kern="1200" cap="none" spc="0" normalizeH="0" baseline="0" noProof="0">
                <a:ln>
                  <a:noFill/>
                </a:ln>
                <a:solidFill>
                  <a:srgbClr val="595959"/>
                </a:solidFill>
                <a:effectLst/>
                <a:uLnTx/>
                <a:uFillTx/>
                <a:latin typeface="Arial"/>
                <a:ea typeface="Arial"/>
                <a:cs typeface="Arial"/>
                <a:sym typeface="Arial"/>
              </a:rPr>
              <a:t>Response Automation</a:t>
            </a:r>
          </a:p>
        </p:txBody>
      </p:sp>
      <p:pic>
        <p:nvPicPr>
          <p:cNvPr id="1622" name="Google Shape;1622;p15"/>
          <p:cNvPicPr preferRelativeResize="0"/>
          <p:nvPr/>
        </p:nvPicPr>
        <p:blipFill rotWithShape="1">
          <a:blip r:embed="rId5">
            <a:alphaModFix/>
          </a:blip>
          <a:srcRect/>
          <a:stretch/>
        </p:blipFill>
        <p:spPr>
          <a:xfrm>
            <a:off x="5485131" y="5508323"/>
            <a:ext cx="418361" cy="327294"/>
          </a:xfrm>
          <a:prstGeom prst="rect">
            <a:avLst/>
          </a:prstGeom>
          <a:noFill/>
          <a:ln>
            <a:noFill/>
          </a:ln>
        </p:spPr>
      </p:pic>
      <p:sp>
        <p:nvSpPr>
          <p:cNvPr id="1624" name="Google Shape;1624;p15"/>
          <p:cNvSpPr/>
          <p:nvPr/>
        </p:nvSpPr>
        <p:spPr>
          <a:xfrm>
            <a:off x="6483093" y="5413352"/>
            <a:ext cx="1269559" cy="913944"/>
          </a:xfrm>
          <a:prstGeom prst="roundRect">
            <a:avLst>
              <a:gd name="adj" fmla="val 7467"/>
            </a:avLst>
          </a:prstGeom>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0800000" scaled="1"/>
            <a:tileRect/>
          </a:gradFill>
          <a:ln>
            <a:noFill/>
          </a:ln>
          <a:effectLst>
            <a:outerShdw blurRad="443855" dist="191037" dir="5400000" algn="t" rotWithShape="0">
              <a:srgbClr val="000000">
                <a:alpha val="10196"/>
              </a:srgbClr>
            </a:outerShdw>
          </a:effectLst>
        </p:spPr>
        <p:txBody>
          <a:bodyPr spcFirstLastPara="1" wrap="square" lIns="60967" tIns="30467" rIns="60967" bIns="30467"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lang="en-US" sz="933" b="0" i="0" u="none" strike="noStrike" kern="1200" cap="none" spc="0" normalizeH="0" baseline="0" noProof="0">
              <a:ln>
                <a:noFill/>
              </a:ln>
              <a:solidFill>
                <a:prstClr val="white"/>
              </a:solidFill>
              <a:effectLst/>
              <a:uLnTx/>
              <a:uFillTx/>
              <a:latin typeface="Arial"/>
              <a:ea typeface="Arial"/>
              <a:cs typeface="Arial"/>
              <a:sym typeface="Arial"/>
            </a:endParaRPr>
          </a:p>
        </p:txBody>
      </p:sp>
      <p:sp>
        <p:nvSpPr>
          <p:cNvPr id="1625" name="Google Shape;1625;p15"/>
          <p:cNvSpPr txBox="1"/>
          <p:nvPr/>
        </p:nvSpPr>
        <p:spPr>
          <a:xfrm>
            <a:off x="6480652" y="5832911"/>
            <a:ext cx="1274442" cy="505107"/>
          </a:xfrm>
          <a:prstGeom prst="rect">
            <a:avLst/>
          </a:prstGeom>
          <a:noFill/>
          <a:ln>
            <a:noFill/>
          </a:ln>
        </p:spPr>
        <p:txBody>
          <a:bodyPr spcFirstLastPara="1" wrap="square" lIns="60967" tIns="60967" rIns="60967" bIns="60967"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US" sz="933" b="1" i="0" u="none" strike="noStrike" kern="1200" cap="none" spc="0" normalizeH="0" baseline="0" noProof="0">
                <a:ln>
                  <a:noFill/>
                </a:ln>
                <a:solidFill>
                  <a:srgbClr val="595959"/>
                </a:solidFill>
                <a:effectLst/>
                <a:uLnTx/>
                <a:uFillTx/>
                <a:latin typeface="Arial"/>
                <a:ea typeface="Arial"/>
                <a:cs typeface="Arial"/>
                <a:sym typeface="Arial"/>
              </a:rPr>
              <a:t>1-Click </a:t>
            </a:r>
            <a:br>
              <a:rPr kumimoji="0" lang="en-US" sz="933" b="1" i="0" u="none" strike="noStrike" kern="1200" cap="none" spc="0" normalizeH="0" baseline="0" noProof="0">
                <a:ln>
                  <a:noFill/>
                </a:ln>
                <a:solidFill>
                  <a:srgbClr val="595959"/>
                </a:solidFill>
                <a:effectLst/>
                <a:uLnTx/>
                <a:uFillTx/>
                <a:latin typeface="Arial"/>
                <a:ea typeface="Arial"/>
                <a:cs typeface="Arial"/>
                <a:sym typeface="Arial"/>
              </a:rPr>
            </a:br>
            <a:r>
              <a:rPr kumimoji="0" lang="en-US" sz="933" b="1" i="0" u="none" strike="noStrike" kern="1200" cap="none" spc="0" normalizeH="0" baseline="0" noProof="0">
                <a:ln>
                  <a:noFill/>
                </a:ln>
                <a:solidFill>
                  <a:srgbClr val="595959"/>
                </a:solidFill>
                <a:effectLst/>
                <a:uLnTx/>
                <a:uFillTx/>
                <a:latin typeface="Arial"/>
                <a:ea typeface="Arial"/>
                <a:cs typeface="Arial"/>
                <a:sym typeface="Arial"/>
              </a:rPr>
              <a:t>Remediation &amp; Rollback</a:t>
            </a:r>
          </a:p>
        </p:txBody>
      </p:sp>
      <p:pic>
        <p:nvPicPr>
          <p:cNvPr id="1626" name="Google Shape;1626;p15"/>
          <p:cNvPicPr preferRelativeResize="0"/>
          <p:nvPr/>
        </p:nvPicPr>
        <p:blipFill rotWithShape="1">
          <a:blip r:embed="rId6">
            <a:alphaModFix/>
          </a:blip>
          <a:srcRect/>
          <a:stretch/>
        </p:blipFill>
        <p:spPr>
          <a:xfrm>
            <a:off x="6885324" y="5490041"/>
            <a:ext cx="465098" cy="363859"/>
          </a:xfrm>
          <a:prstGeom prst="rect">
            <a:avLst/>
          </a:prstGeom>
          <a:noFill/>
          <a:ln>
            <a:noFill/>
          </a:ln>
        </p:spPr>
      </p:pic>
      <p:sp>
        <p:nvSpPr>
          <p:cNvPr id="1628" name="Google Shape;1628;p15"/>
          <p:cNvSpPr/>
          <p:nvPr/>
        </p:nvSpPr>
        <p:spPr>
          <a:xfrm>
            <a:off x="7922316" y="5413352"/>
            <a:ext cx="1269559" cy="913945"/>
          </a:xfrm>
          <a:prstGeom prst="roundRect">
            <a:avLst>
              <a:gd name="adj" fmla="val 7467"/>
            </a:avLst>
          </a:prstGeom>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0800000" scaled="1"/>
            <a:tileRect/>
          </a:gradFill>
          <a:ln>
            <a:noFill/>
          </a:ln>
          <a:effectLst>
            <a:outerShdw blurRad="443855" dist="191037" dir="5400000" algn="t" rotWithShape="0">
              <a:srgbClr val="000000">
                <a:alpha val="10196"/>
              </a:srgbClr>
            </a:outerShdw>
          </a:effectLst>
        </p:spPr>
        <p:txBody>
          <a:bodyPr spcFirstLastPara="1" wrap="square" lIns="60967" tIns="30467" rIns="60967" bIns="30467"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lang="en-US" sz="933" b="0" i="0" u="none" strike="noStrike" kern="1200" cap="none" spc="0" normalizeH="0" baseline="0" noProof="0">
              <a:ln>
                <a:noFill/>
              </a:ln>
              <a:solidFill>
                <a:prstClr val="white"/>
              </a:solidFill>
              <a:effectLst/>
              <a:uLnTx/>
              <a:uFillTx/>
              <a:latin typeface="Arial"/>
              <a:ea typeface="Arial"/>
              <a:cs typeface="Arial"/>
              <a:sym typeface="Arial"/>
            </a:endParaRPr>
          </a:p>
        </p:txBody>
      </p:sp>
      <p:sp>
        <p:nvSpPr>
          <p:cNvPr id="1629" name="Google Shape;1629;p15"/>
          <p:cNvSpPr txBox="1"/>
          <p:nvPr/>
        </p:nvSpPr>
        <p:spPr>
          <a:xfrm>
            <a:off x="7922316" y="5831510"/>
            <a:ext cx="1269559" cy="505107"/>
          </a:xfrm>
          <a:prstGeom prst="rect">
            <a:avLst/>
          </a:prstGeom>
          <a:noFill/>
          <a:ln>
            <a:noFill/>
          </a:ln>
        </p:spPr>
        <p:txBody>
          <a:bodyPr spcFirstLastPara="1" wrap="square" lIns="60967" tIns="60967" rIns="60967" bIns="60967" anchor="t" anchorCtr="0">
            <a:spAutoFit/>
          </a:bodyPr>
          <a:lstStyle/>
          <a:p>
            <a:pPr marL="0" marR="0" lvl="0" indent="0" algn="ctr" defTabSz="914400" rtl="0" eaLnBrk="1" fontAlgn="auto" latinLnBrk="0" hangingPunct="1">
              <a:lnSpc>
                <a:spcPct val="100000"/>
              </a:lnSpc>
              <a:spcBef>
                <a:spcPts val="0"/>
              </a:spcBef>
              <a:spcAft>
                <a:spcPts val="0"/>
              </a:spcAft>
              <a:buClr>
                <a:srgbClr val="595959"/>
              </a:buClr>
              <a:buSzPts val="1400"/>
              <a:buFontTx/>
              <a:buNone/>
              <a:tabLst/>
              <a:defRPr/>
            </a:pPr>
            <a:r>
              <a:rPr kumimoji="0" lang="en-US" sz="933" b="1" i="0" u="none" strike="noStrike" kern="1200" cap="none" spc="0" normalizeH="0" baseline="0" noProof="0">
                <a:ln>
                  <a:noFill/>
                </a:ln>
                <a:solidFill>
                  <a:srgbClr val="595959"/>
                </a:solidFill>
                <a:effectLst/>
                <a:uLnTx/>
                <a:uFillTx/>
                <a:latin typeface="Arial"/>
                <a:ea typeface="Arial"/>
                <a:cs typeface="Arial"/>
                <a:sym typeface="Arial"/>
              </a:rPr>
              <a:t>On-demand </a:t>
            </a:r>
          </a:p>
          <a:p>
            <a:pPr marL="0" marR="0" lvl="0" indent="0" algn="ctr" defTabSz="914400" rtl="0" eaLnBrk="1" fontAlgn="auto" latinLnBrk="0" hangingPunct="1">
              <a:lnSpc>
                <a:spcPct val="100000"/>
              </a:lnSpc>
              <a:spcBef>
                <a:spcPts val="0"/>
              </a:spcBef>
              <a:spcAft>
                <a:spcPts val="0"/>
              </a:spcAft>
              <a:buClr>
                <a:srgbClr val="595959"/>
              </a:buClr>
              <a:buSzPts val="1400"/>
              <a:buFontTx/>
              <a:buNone/>
              <a:tabLst/>
              <a:defRPr/>
            </a:pPr>
            <a:r>
              <a:rPr kumimoji="0" lang="en-US" sz="933" b="1" i="0" u="none" strike="noStrike" kern="1200" cap="none" spc="0" normalizeH="0" baseline="0" noProof="0">
                <a:ln>
                  <a:noFill/>
                </a:ln>
                <a:solidFill>
                  <a:srgbClr val="595959"/>
                </a:solidFill>
                <a:effectLst/>
                <a:uLnTx/>
                <a:uFillTx/>
                <a:latin typeface="Arial"/>
                <a:ea typeface="Arial"/>
                <a:cs typeface="Arial"/>
                <a:sym typeface="Arial"/>
              </a:rPr>
              <a:t>remote shell </a:t>
            </a:r>
            <a:br>
              <a:rPr kumimoji="0" lang="en-US" sz="933" b="1" i="0" u="none" strike="noStrike" kern="1200" cap="none" spc="0" normalizeH="0" baseline="0" noProof="0">
                <a:ln>
                  <a:noFill/>
                </a:ln>
                <a:solidFill>
                  <a:srgbClr val="595959"/>
                </a:solidFill>
                <a:effectLst/>
                <a:uLnTx/>
                <a:uFillTx/>
                <a:latin typeface="Arial"/>
                <a:ea typeface="Arial"/>
                <a:cs typeface="Arial"/>
                <a:sym typeface="Arial"/>
              </a:rPr>
            </a:br>
            <a:r>
              <a:rPr kumimoji="0" lang="en-US" sz="933" b="1" i="0" u="none" strike="noStrike" kern="1200" cap="none" spc="0" normalizeH="0" baseline="0" noProof="0">
                <a:ln>
                  <a:noFill/>
                </a:ln>
                <a:solidFill>
                  <a:srgbClr val="595959"/>
                </a:solidFill>
                <a:effectLst/>
                <a:uLnTx/>
                <a:uFillTx/>
                <a:latin typeface="Arial"/>
                <a:ea typeface="Arial"/>
                <a:cs typeface="Arial"/>
                <a:sym typeface="Arial"/>
              </a:rPr>
              <a:t>access</a:t>
            </a:r>
          </a:p>
        </p:txBody>
      </p:sp>
      <p:pic>
        <p:nvPicPr>
          <p:cNvPr id="1630" name="Google Shape;1630;p15"/>
          <p:cNvPicPr preferRelativeResize="0"/>
          <p:nvPr/>
        </p:nvPicPr>
        <p:blipFill rotWithShape="1">
          <a:blip r:embed="rId7">
            <a:alphaModFix/>
          </a:blip>
          <a:srcRect/>
          <a:stretch/>
        </p:blipFill>
        <p:spPr>
          <a:xfrm>
            <a:off x="8324546" y="5490041"/>
            <a:ext cx="465098" cy="363859"/>
          </a:xfrm>
          <a:prstGeom prst="rect">
            <a:avLst/>
          </a:prstGeom>
          <a:noFill/>
          <a:ln>
            <a:noFill/>
          </a:ln>
        </p:spPr>
      </p:pic>
      <p:sp>
        <p:nvSpPr>
          <p:cNvPr id="1632" name="Google Shape;1632;p15"/>
          <p:cNvSpPr/>
          <p:nvPr/>
        </p:nvSpPr>
        <p:spPr>
          <a:xfrm>
            <a:off x="9310315" y="5413351"/>
            <a:ext cx="2498304" cy="913944"/>
          </a:xfrm>
          <a:prstGeom prst="roundRect">
            <a:avLst>
              <a:gd name="adj" fmla="val 7467"/>
            </a:avLst>
          </a:prstGeom>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0800000" scaled="1"/>
            <a:tileRect/>
          </a:gradFill>
          <a:ln>
            <a:noFill/>
          </a:ln>
          <a:effectLst>
            <a:outerShdw blurRad="443855" dist="191037" dir="5400000" algn="t" rotWithShape="0">
              <a:srgbClr val="000000">
                <a:alpha val="10196"/>
              </a:srgbClr>
            </a:outerShdw>
          </a:effectLst>
        </p:spPr>
        <p:txBody>
          <a:bodyPr spcFirstLastPara="1" wrap="square" lIns="60967" tIns="30467" rIns="60967" bIns="30467"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lang="en-US" sz="933" b="0" i="0" u="none" strike="noStrike" kern="1200" cap="none" spc="0" normalizeH="0" baseline="0" noProof="0">
              <a:ln>
                <a:noFill/>
              </a:ln>
              <a:solidFill>
                <a:prstClr val="white"/>
              </a:solidFill>
              <a:effectLst/>
              <a:uLnTx/>
              <a:uFillTx/>
              <a:latin typeface="Arial"/>
              <a:ea typeface="Arial"/>
              <a:cs typeface="Arial"/>
              <a:sym typeface="Arial"/>
            </a:endParaRPr>
          </a:p>
        </p:txBody>
      </p:sp>
      <p:sp>
        <p:nvSpPr>
          <p:cNvPr id="1633" name="Google Shape;1633;p15"/>
          <p:cNvSpPr txBox="1"/>
          <p:nvPr/>
        </p:nvSpPr>
        <p:spPr>
          <a:xfrm>
            <a:off x="9317224" y="5460861"/>
            <a:ext cx="1238668" cy="840950"/>
          </a:xfrm>
          <a:prstGeom prst="rect">
            <a:avLst/>
          </a:prstGeom>
          <a:noFill/>
          <a:ln>
            <a:noFill/>
          </a:ln>
        </p:spPr>
        <p:txBody>
          <a:bodyPr spcFirstLastPara="1" wrap="square" lIns="60967" tIns="60967" rIns="60967" bIns="60967" anchor="t" anchorCtr="0">
            <a:spAutoFit/>
          </a:bodyPr>
          <a:lstStyle/>
          <a:p>
            <a:pPr marL="74087" marR="0" lvl="0" indent="-74087" algn="l" defTabSz="914400" rtl="0" eaLnBrk="1" fontAlgn="auto" latinLnBrk="0" hangingPunct="1">
              <a:lnSpc>
                <a:spcPct val="100000"/>
              </a:lnSpc>
              <a:spcBef>
                <a:spcPts val="0"/>
              </a:spcBef>
              <a:spcAft>
                <a:spcPts val="0"/>
              </a:spcAft>
              <a:buClr>
                <a:srgbClr val="009CDE"/>
              </a:buClr>
              <a:buSzPts val="1400"/>
              <a:buFont typeface="Arial"/>
              <a:buChar char="•"/>
              <a:tabLst/>
              <a:defRPr/>
            </a:pPr>
            <a:r>
              <a:rPr kumimoji="0" lang="en-US" sz="933" b="0" i="0" u="none" strike="noStrike" kern="1200" cap="none" spc="0" normalizeH="0" baseline="0" noProof="0" dirty="0">
                <a:ln>
                  <a:noFill/>
                </a:ln>
                <a:solidFill>
                  <a:srgbClr val="595959"/>
                </a:solidFill>
                <a:effectLst/>
                <a:uLnTx/>
                <a:uFillTx/>
                <a:latin typeface="Arial"/>
                <a:ea typeface="Arial"/>
                <a:cs typeface="Arial"/>
                <a:sym typeface="Arial"/>
              </a:rPr>
              <a:t>Kill Process</a:t>
            </a:r>
          </a:p>
          <a:p>
            <a:pPr marL="74087" marR="0" lvl="0" indent="-74087" algn="l" defTabSz="914400" rtl="0" eaLnBrk="1" fontAlgn="auto" latinLnBrk="0" hangingPunct="1">
              <a:lnSpc>
                <a:spcPct val="100000"/>
              </a:lnSpc>
              <a:spcBef>
                <a:spcPts val="0"/>
              </a:spcBef>
              <a:spcAft>
                <a:spcPts val="0"/>
              </a:spcAft>
              <a:buClr>
                <a:srgbClr val="009CDE"/>
              </a:buClr>
              <a:buSzPts val="1400"/>
              <a:buFont typeface="Arial"/>
              <a:buChar char="•"/>
              <a:tabLst/>
              <a:defRPr/>
            </a:pPr>
            <a:r>
              <a:rPr kumimoji="0" lang="en-US" sz="933" b="0" i="0" u="none" strike="noStrike" kern="1200" cap="none" spc="0" normalizeH="0" baseline="0" noProof="0" dirty="0">
                <a:ln>
                  <a:noFill/>
                </a:ln>
                <a:solidFill>
                  <a:srgbClr val="595959"/>
                </a:solidFill>
                <a:effectLst/>
                <a:uLnTx/>
                <a:uFillTx/>
                <a:latin typeface="Arial"/>
                <a:ea typeface="Arial"/>
                <a:cs typeface="Arial"/>
                <a:sym typeface="Arial"/>
              </a:rPr>
              <a:t>Kill Container</a:t>
            </a:r>
          </a:p>
          <a:p>
            <a:pPr marL="74087" marR="0" lvl="0" indent="-74087" algn="l" defTabSz="914400" rtl="0" eaLnBrk="1" fontAlgn="auto" latinLnBrk="0" hangingPunct="1">
              <a:lnSpc>
                <a:spcPct val="100000"/>
              </a:lnSpc>
              <a:spcBef>
                <a:spcPts val="0"/>
              </a:spcBef>
              <a:spcAft>
                <a:spcPts val="0"/>
              </a:spcAft>
              <a:buClr>
                <a:srgbClr val="009CDE"/>
              </a:buClr>
              <a:buSzPts val="1400"/>
              <a:buFont typeface="Arial"/>
              <a:buChar char="•"/>
              <a:tabLst/>
              <a:defRPr/>
            </a:pPr>
            <a:r>
              <a:rPr kumimoji="0" lang="en-US" sz="933" b="0" i="0" u="none" strike="noStrike" kern="1200" cap="none" spc="0" normalizeH="0" baseline="0" noProof="0" dirty="0">
                <a:ln>
                  <a:noFill/>
                </a:ln>
                <a:solidFill>
                  <a:srgbClr val="595959"/>
                </a:solidFill>
                <a:effectLst/>
                <a:uLnTx/>
                <a:uFillTx/>
                <a:latin typeface="Arial"/>
                <a:ea typeface="Arial"/>
                <a:cs typeface="Arial"/>
                <a:sym typeface="Arial"/>
              </a:rPr>
              <a:t>Quarantine</a:t>
            </a:r>
          </a:p>
          <a:p>
            <a:pPr marL="74087" marR="0" lvl="0" indent="-74087" algn="l" defTabSz="914400" rtl="0" eaLnBrk="1" fontAlgn="auto" latinLnBrk="0" hangingPunct="1">
              <a:lnSpc>
                <a:spcPct val="100000"/>
              </a:lnSpc>
              <a:spcBef>
                <a:spcPts val="0"/>
              </a:spcBef>
              <a:spcAft>
                <a:spcPts val="0"/>
              </a:spcAft>
              <a:buClr>
                <a:srgbClr val="009CDE"/>
              </a:buClr>
              <a:buSzPts val="1400"/>
              <a:buFont typeface="Arial"/>
              <a:buChar char="•"/>
              <a:tabLst/>
              <a:defRPr/>
            </a:pPr>
            <a:r>
              <a:rPr kumimoji="0" lang="en-US" sz="933" b="0" i="0" u="none" strike="noStrike" kern="1200" cap="none" spc="0" normalizeH="0" baseline="0" noProof="0" dirty="0">
                <a:ln>
                  <a:noFill/>
                </a:ln>
                <a:solidFill>
                  <a:srgbClr val="595959"/>
                </a:solidFill>
                <a:effectLst/>
                <a:uLnTx/>
                <a:uFillTx/>
                <a:latin typeface="Arial"/>
                <a:ea typeface="Arial"/>
                <a:cs typeface="Arial"/>
                <a:sym typeface="Arial"/>
              </a:rPr>
              <a:t>Isolate Device</a:t>
            </a:r>
          </a:p>
          <a:p>
            <a:pPr marL="74087" marR="0" lvl="0" indent="-74087" algn="l" defTabSz="914400" rtl="0" eaLnBrk="1" fontAlgn="auto" latinLnBrk="0" hangingPunct="1">
              <a:lnSpc>
                <a:spcPct val="100000"/>
              </a:lnSpc>
              <a:spcBef>
                <a:spcPts val="0"/>
              </a:spcBef>
              <a:spcAft>
                <a:spcPts val="0"/>
              </a:spcAft>
              <a:buClr>
                <a:srgbClr val="009CDE"/>
              </a:buClr>
              <a:buSzPts val="1400"/>
              <a:buFont typeface="Arial"/>
              <a:buChar char="•"/>
              <a:tabLst/>
              <a:defRPr/>
            </a:pPr>
            <a:r>
              <a:rPr kumimoji="0" lang="en-US" sz="933" b="0" i="0" u="none" strike="noStrike" kern="1200" cap="none" spc="0" normalizeH="0" baseline="0" noProof="0" dirty="0">
                <a:ln>
                  <a:noFill/>
                </a:ln>
                <a:solidFill>
                  <a:srgbClr val="595959"/>
                </a:solidFill>
                <a:effectLst/>
                <a:uLnTx/>
                <a:uFillTx/>
                <a:latin typeface="Arial"/>
                <a:ea typeface="Arial"/>
                <a:cs typeface="Arial"/>
                <a:sym typeface="Arial"/>
              </a:rPr>
              <a:t>Binary capture</a:t>
            </a:r>
          </a:p>
        </p:txBody>
      </p:sp>
      <p:sp>
        <p:nvSpPr>
          <p:cNvPr id="1634" name="Google Shape;1634;p15"/>
          <p:cNvSpPr txBox="1"/>
          <p:nvPr/>
        </p:nvSpPr>
        <p:spPr>
          <a:xfrm>
            <a:off x="10473596" y="5527948"/>
            <a:ext cx="1400226" cy="697385"/>
          </a:xfrm>
          <a:prstGeom prst="rect">
            <a:avLst/>
          </a:prstGeom>
          <a:noFill/>
          <a:ln>
            <a:noFill/>
          </a:ln>
        </p:spPr>
        <p:txBody>
          <a:bodyPr spcFirstLastPara="1" wrap="square" lIns="60967" tIns="60967" rIns="60967" bIns="60967" anchor="t" anchorCtr="0">
            <a:spAutoFit/>
          </a:bodyPr>
          <a:lstStyle/>
          <a:p>
            <a:pPr marL="74087" marR="0" lvl="0" indent="-74087" algn="l" defTabSz="914400" rtl="0" eaLnBrk="1" fontAlgn="auto" latinLnBrk="0" hangingPunct="1">
              <a:lnSpc>
                <a:spcPct val="100000"/>
              </a:lnSpc>
              <a:spcBef>
                <a:spcPts val="0"/>
              </a:spcBef>
              <a:spcAft>
                <a:spcPts val="0"/>
              </a:spcAft>
              <a:buClr>
                <a:srgbClr val="009CDE"/>
              </a:buClr>
              <a:buSzPts val="1400"/>
              <a:buFont typeface="Arial"/>
              <a:buChar char="•"/>
              <a:tabLst/>
              <a:defRPr/>
            </a:pPr>
            <a:r>
              <a:rPr kumimoji="0" lang="en-US" sz="933" b="0" i="0" u="none" strike="noStrike" kern="1200" cap="none" spc="0" normalizeH="0" baseline="0" noProof="0">
                <a:ln>
                  <a:noFill/>
                </a:ln>
                <a:solidFill>
                  <a:srgbClr val="595959"/>
                </a:solidFill>
                <a:effectLst/>
                <a:uLnTx/>
                <a:uFillTx/>
                <a:latin typeface="Arial"/>
                <a:ea typeface="Arial"/>
                <a:cs typeface="Arial"/>
                <a:sym typeface="Arial"/>
              </a:rPr>
              <a:t>Remote Shell</a:t>
            </a:r>
          </a:p>
          <a:p>
            <a:pPr marL="74087" marR="0" lvl="0" indent="-74087" algn="l" defTabSz="914400" rtl="0" eaLnBrk="1" fontAlgn="auto" latinLnBrk="0" hangingPunct="1">
              <a:lnSpc>
                <a:spcPct val="100000"/>
              </a:lnSpc>
              <a:spcBef>
                <a:spcPts val="0"/>
              </a:spcBef>
              <a:spcAft>
                <a:spcPts val="0"/>
              </a:spcAft>
              <a:buClr>
                <a:srgbClr val="009CDE"/>
              </a:buClr>
              <a:buSzPts val="1400"/>
              <a:buFont typeface="Arial"/>
              <a:buChar char="•"/>
              <a:tabLst/>
              <a:defRPr/>
            </a:pPr>
            <a:r>
              <a:rPr kumimoji="0" lang="en-US" sz="933" b="0" i="0" u="none" strike="noStrike" kern="1200" cap="none" spc="0" normalizeH="0" baseline="0" noProof="0">
                <a:ln>
                  <a:noFill/>
                </a:ln>
                <a:solidFill>
                  <a:srgbClr val="595959"/>
                </a:solidFill>
                <a:effectLst/>
                <a:uLnTx/>
                <a:uFillTx/>
                <a:latin typeface="Arial"/>
                <a:ea typeface="Arial"/>
                <a:cs typeface="Arial"/>
                <a:sym typeface="Arial"/>
              </a:rPr>
              <a:t>Firewall Control</a:t>
            </a:r>
          </a:p>
          <a:p>
            <a:pPr marL="74087" marR="0" lvl="0" indent="-74087" algn="l" defTabSz="914400" rtl="0" eaLnBrk="1" fontAlgn="auto" latinLnBrk="0" hangingPunct="1">
              <a:lnSpc>
                <a:spcPct val="100000"/>
              </a:lnSpc>
              <a:spcBef>
                <a:spcPts val="0"/>
              </a:spcBef>
              <a:spcAft>
                <a:spcPts val="0"/>
              </a:spcAft>
              <a:buClr>
                <a:srgbClr val="009CDE"/>
              </a:buClr>
              <a:buSzPts val="1400"/>
              <a:buFont typeface="Arial"/>
              <a:buChar char="•"/>
              <a:tabLst/>
              <a:defRPr/>
            </a:pPr>
            <a:r>
              <a:rPr kumimoji="0" lang="en-US" sz="933" b="0" i="0" u="none" strike="noStrike" kern="1200" cap="none" spc="0" normalizeH="0" baseline="0" noProof="0">
                <a:ln>
                  <a:noFill/>
                </a:ln>
                <a:solidFill>
                  <a:srgbClr val="595959"/>
                </a:solidFill>
                <a:effectLst/>
                <a:uLnTx/>
                <a:uFillTx/>
                <a:latin typeface="Arial"/>
                <a:ea typeface="Arial"/>
                <a:cs typeface="Arial"/>
                <a:sym typeface="Arial"/>
              </a:rPr>
              <a:t>Device Control</a:t>
            </a:r>
          </a:p>
          <a:p>
            <a:pPr marL="74087" marR="0" lvl="0" indent="-74087" algn="l" defTabSz="914400" rtl="0" eaLnBrk="1" fontAlgn="auto" latinLnBrk="0" hangingPunct="1">
              <a:lnSpc>
                <a:spcPct val="100000"/>
              </a:lnSpc>
              <a:spcBef>
                <a:spcPts val="0"/>
              </a:spcBef>
              <a:spcAft>
                <a:spcPts val="0"/>
              </a:spcAft>
              <a:buClr>
                <a:srgbClr val="009CDE"/>
              </a:buClr>
              <a:buSzPts val="1400"/>
              <a:buFont typeface="Arial"/>
              <a:buChar char="•"/>
              <a:tabLst/>
              <a:defRPr/>
            </a:pPr>
            <a:r>
              <a:rPr kumimoji="0" lang="en-US" sz="933" b="0" i="0" u="none" strike="noStrike" kern="1200" cap="none" spc="0" normalizeH="0" baseline="0" noProof="0">
                <a:ln>
                  <a:noFill/>
                </a:ln>
                <a:solidFill>
                  <a:srgbClr val="595959"/>
                </a:solidFill>
                <a:effectLst/>
                <a:uLnTx/>
                <a:uFillTx/>
                <a:latin typeface="Arial"/>
                <a:ea typeface="Arial"/>
                <a:cs typeface="Arial"/>
                <a:sym typeface="Arial"/>
              </a:rPr>
              <a:t>K8s/Linux App Control</a:t>
            </a:r>
          </a:p>
        </p:txBody>
      </p:sp>
      <p:sp>
        <p:nvSpPr>
          <p:cNvPr id="1639" name="Google Shape;1639;p15"/>
          <p:cNvSpPr txBox="1">
            <a:spLocks noGrp="1"/>
          </p:cNvSpPr>
          <p:nvPr>
            <p:ph type="body" sz="quarter" idx="10"/>
          </p:nvPr>
        </p:nvSpPr>
        <p:spPr>
          <a:xfrm>
            <a:off x="685800" y="1315507"/>
            <a:ext cx="5791200" cy="1865794"/>
          </a:xfrm>
          <a:prstGeom prst="rect">
            <a:avLst/>
          </a:prstGeom>
          <a:noFill/>
          <a:ln>
            <a:noFill/>
          </a:ln>
        </p:spPr>
        <p:txBody>
          <a:bodyPr spcFirstLastPara="1" vert="horz" wrap="square" lIns="0" tIns="30467" rIns="0" bIns="30467" rtlCol="0" anchor="t" anchorCtr="0">
            <a:noAutofit/>
          </a:bodyPr>
          <a:lstStyle/>
          <a:p>
            <a:pPr marL="0" indent="0">
              <a:lnSpc>
                <a:spcPct val="100000"/>
              </a:lnSpc>
              <a:spcBef>
                <a:spcPts val="400"/>
              </a:spcBef>
              <a:buClr>
                <a:srgbClr val="000000"/>
              </a:buClr>
              <a:buSzPts val="1100"/>
              <a:buNone/>
            </a:pPr>
            <a:r>
              <a:rPr lang="en-US" sz="1600" b="1" dirty="0">
                <a:solidFill>
                  <a:schemeClr val="accent1"/>
                </a:solidFill>
              </a:rPr>
              <a:t>Endpoint Detection &amp; Response (EDR),</a:t>
            </a:r>
          </a:p>
          <a:p>
            <a:pPr marL="0" indent="0">
              <a:lnSpc>
                <a:spcPct val="100000"/>
              </a:lnSpc>
              <a:spcBef>
                <a:spcPts val="400"/>
              </a:spcBef>
              <a:buClr>
                <a:srgbClr val="000000"/>
              </a:buClr>
              <a:buSzPts val="1100"/>
              <a:buNone/>
            </a:pPr>
            <a:r>
              <a:rPr lang="en-US" sz="1600" dirty="0">
                <a:solidFill>
                  <a:schemeClr val="accent5"/>
                </a:solidFill>
              </a:rPr>
              <a:t>A component of RSM Defense NG-XDR, enables rapid threat containment and accelerated recovery. By expanding detection beyond the endpoint context, RSM Defense makes any EDR more valuable.</a:t>
            </a:r>
          </a:p>
          <a:p>
            <a:pPr marL="0" indent="0">
              <a:lnSpc>
                <a:spcPct val="100000"/>
              </a:lnSpc>
              <a:spcBef>
                <a:spcPts val="400"/>
              </a:spcBef>
              <a:buClr>
                <a:srgbClr val="000000"/>
              </a:buClr>
              <a:buSzPts val="1100"/>
              <a:buNone/>
            </a:pPr>
            <a:endParaRPr lang="en-US" sz="1600" dirty="0">
              <a:solidFill>
                <a:schemeClr val="accent5"/>
              </a:solidFill>
            </a:endParaRPr>
          </a:p>
          <a:p>
            <a:pPr marL="0" indent="0">
              <a:lnSpc>
                <a:spcPct val="100000"/>
              </a:lnSpc>
              <a:spcBef>
                <a:spcPts val="400"/>
              </a:spcBef>
              <a:buClr>
                <a:srgbClr val="000000"/>
              </a:buClr>
              <a:buSzPts val="1100"/>
              <a:buNone/>
            </a:pPr>
            <a:r>
              <a:rPr lang="en-US" sz="1600" dirty="0">
                <a:solidFill>
                  <a:schemeClr val="accent5"/>
                </a:solidFill>
              </a:rPr>
              <a:t>Bring your own EDR OR Fully Managed Options.</a:t>
            </a:r>
          </a:p>
        </p:txBody>
      </p:sp>
      <p:sp>
        <p:nvSpPr>
          <p:cNvPr id="1638" name="Google Shape;1638;p15"/>
          <p:cNvSpPr txBox="1">
            <a:spLocks noGrp="1"/>
          </p:cNvSpPr>
          <p:nvPr>
            <p:ph type="sldNum" idx="4294967295"/>
          </p:nvPr>
        </p:nvSpPr>
        <p:spPr>
          <a:xfrm>
            <a:off x="11425238" y="6519863"/>
            <a:ext cx="766762" cy="222250"/>
          </a:xfrm>
          <a:prstGeom prst="rect">
            <a:avLst/>
          </a:prstGeom>
          <a:noFill/>
          <a:ln>
            <a:noFill/>
          </a:ln>
        </p:spPr>
        <p:txBody>
          <a:bodyPr spcFirstLastPara="1"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800" b="0" i="0" u="none" strike="noStrike" kern="1200" cap="none" spc="0" normalizeH="0" baseline="0" noProof="0" smtClean="0">
                <a:ln>
                  <a:noFill/>
                </a:ln>
                <a:solidFill>
                  <a:srgbClr val="7F7F7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8</a:t>
            </a:fld>
            <a:endParaRPr kumimoji="0" lang="en-US" sz="800" b="0" i="0" u="none" strike="noStrike" kern="1200" cap="none" spc="0" normalizeH="0" baseline="0" noProof="0">
              <a:ln>
                <a:noFill/>
              </a:ln>
              <a:solidFill>
                <a:srgbClr val="7F7F7F"/>
              </a:solidFill>
              <a:effectLst/>
              <a:uLnTx/>
              <a:uFillTx/>
              <a:latin typeface="Arial"/>
              <a:cs typeface="Arial"/>
              <a:sym typeface="Arial"/>
            </a:endParaRPr>
          </a:p>
        </p:txBody>
      </p:sp>
      <p:grpSp>
        <p:nvGrpSpPr>
          <p:cNvPr id="1640" name="Google Shape;1640;p15"/>
          <p:cNvGrpSpPr/>
          <p:nvPr/>
        </p:nvGrpSpPr>
        <p:grpSpPr>
          <a:xfrm>
            <a:off x="685800" y="3360824"/>
            <a:ext cx="5264046" cy="359046"/>
            <a:chOff x="840350" y="3158750"/>
            <a:chExt cx="7694100" cy="716835"/>
          </a:xfrm>
        </p:grpSpPr>
        <p:sp>
          <p:nvSpPr>
            <p:cNvPr id="1641" name="Google Shape;1641;p15"/>
            <p:cNvSpPr txBox="1"/>
            <p:nvPr/>
          </p:nvSpPr>
          <p:spPr>
            <a:xfrm>
              <a:off x="840350" y="3158750"/>
              <a:ext cx="1712400" cy="716835"/>
            </a:xfrm>
            <a:prstGeom prst="rect">
              <a:avLst/>
            </a:prstGeom>
            <a:noFill/>
            <a:ln>
              <a:noFill/>
            </a:ln>
          </p:spPr>
          <p:txBody>
            <a:bodyPr spcFirstLastPara="1" wrap="square" lIns="0" tIns="30467" rIns="0" bIns="30467" anchor="t" anchorCtr="0">
              <a:noAutofit/>
            </a:bodyPr>
            <a:lstStyle/>
            <a:p>
              <a:pPr marL="0" marR="0" lvl="0" indent="0" algn="l" defTabSz="914400" rtl="0" eaLnBrk="1" fontAlgn="auto" latinLnBrk="0" hangingPunct="1">
                <a:lnSpc>
                  <a:spcPct val="100000"/>
                </a:lnSpc>
                <a:spcBef>
                  <a:spcPts val="400"/>
                </a:spcBef>
                <a:spcAft>
                  <a:spcPts val="0"/>
                </a:spcAft>
                <a:buClr>
                  <a:srgbClr val="595959"/>
                </a:buClr>
                <a:buSzPts val="1100"/>
                <a:buFontTx/>
                <a:buNone/>
                <a:tabLst/>
                <a:defRPr/>
              </a:pPr>
              <a:r>
                <a:rPr kumimoji="0" lang="en-US" sz="1600" b="1" i="0" u="none" strike="noStrike" kern="1200" cap="none" spc="0" normalizeH="0" baseline="0" noProof="0" dirty="0">
                  <a:ln>
                    <a:noFill/>
                  </a:ln>
                  <a:solidFill>
                    <a:srgbClr val="009CDE"/>
                  </a:solidFill>
                  <a:effectLst/>
                  <a:uLnTx/>
                  <a:uFillTx/>
                  <a:latin typeface="Arial"/>
                  <a:ea typeface="Arial"/>
                  <a:cs typeface="Arial"/>
                  <a:sym typeface="Arial"/>
                </a:rPr>
                <a:t>Outcomes</a:t>
              </a:r>
              <a:endParaRPr kumimoji="0" lang="en-US" sz="1600" b="0" i="0" u="none" strike="noStrike" kern="1200" cap="none" spc="0" normalizeH="0" baseline="0" noProof="0" dirty="0">
                <a:ln>
                  <a:noFill/>
                </a:ln>
                <a:solidFill>
                  <a:srgbClr val="595959"/>
                </a:solidFill>
                <a:effectLst/>
                <a:uLnTx/>
                <a:uFillTx/>
                <a:latin typeface="Arial"/>
                <a:ea typeface="Arial"/>
                <a:cs typeface="Arial"/>
                <a:sym typeface="Arial"/>
              </a:endParaRPr>
            </a:p>
          </p:txBody>
        </p:sp>
        <p:cxnSp>
          <p:nvCxnSpPr>
            <p:cNvPr id="1642" name="Google Shape;1642;p15"/>
            <p:cNvCxnSpPr>
              <a:stCxn id="1641" idx="3"/>
            </p:cNvCxnSpPr>
            <p:nvPr/>
          </p:nvCxnSpPr>
          <p:spPr>
            <a:xfrm flipV="1">
              <a:off x="2552750" y="3479300"/>
              <a:ext cx="5981700" cy="37868"/>
            </a:xfrm>
            <a:prstGeom prst="straightConnector1">
              <a:avLst/>
            </a:prstGeom>
            <a:noFill/>
            <a:ln w="19050" cap="flat" cmpd="sng">
              <a:solidFill>
                <a:srgbClr val="6703E9"/>
              </a:solidFill>
              <a:prstDash val="solid"/>
              <a:round/>
              <a:headEnd type="none" w="sm" len="sm"/>
              <a:tailEnd type="none" w="sm" len="sm"/>
            </a:ln>
          </p:spPr>
        </p:cxnSp>
      </p:grpSp>
      <p:sp>
        <p:nvSpPr>
          <p:cNvPr id="1643" name="Google Shape;1643;p15"/>
          <p:cNvSpPr/>
          <p:nvPr/>
        </p:nvSpPr>
        <p:spPr>
          <a:xfrm>
            <a:off x="685800" y="3739310"/>
            <a:ext cx="5791200" cy="1570019"/>
          </a:xfrm>
          <a:prstGeom prst="rect">
            <a:avLst/>
          </a:prstGeom>
          <a:noFill/>
          <a:ln>
            <a:noFill/>
          </a:ln>
        </p:spPr>
        <p:txBody>
          <a:bodyPr spcFirstLastPara="1" wrap="square" lIns="0" tIns="30467" rIns="0" bIns="30467" anchor="t" anchorCtr="0">
            <a:spAutoFit/>
          </a:bodyPr>
          <a:lstStyle/>
          <a:p>
            <a:pPr marL="304815" marR="0" lvl="0" indent="-304815" algn="l" defTabSz="914400" rtl="0" eaLnBrk="1" fontAlgn="auto" latinLnBrk="0" hangingPunct="1">
              <a:lnSpc>
                <a:spcPct val="100000"/>
              </a:lnSpc>
              <a:spcBef>
                <a:spcPts val="0"/>
              </a:spcBef>
              <a:spcAft>
                <a:spcPts val="0"/>
              </a:spcAft>
              <a:buClr>
                <a:srgbClr val="009CDE"/>
              </a:buClr>
              <a:buSzPts val="2200"/>
              <a:buFont typeface="Noto Sans Symbols"/>
              <a:buChar char="▪"/>
              <a:tabLst/>
              <a:defRPr/>
            </a:pPr>
            <a:r>
              <a:rPr kumimoji="0" lang="en-US" sz="1467" b="0" i="0" u="none" strike="noStrike" kern="1200" cap="none" spc="0" normalizeH="0" baseline="0" noProof="0" dirty="0">
                <a:ln>
                  <a:noFill/>
                </a:ln>
                <a:solidFill>
                  <a:schemeClr val="accent2"/>
                </a:solidFill>
                <a:effectLst/>
                <a:uLnTx/>
                <a:uFillTx/>
                <a:latin typeface="Arial"/>
                <a:ea typeface="Arial"/>
                <a:cs typeface="Arial"/>
                <a:sym typeface="Arial"/>
              </a:rPr>
              <a:t>Improve incident decision support for security operators with prescriptive remediation actions </a:t>
            </a:r>
            <a:endParaRPr kumimoji="0" lang="en-US" sz="933" b="0" i="0" u="none" strike="noStrike" kern="1200" cap="none" spc="0" normalizeH="0" baseline="0" noProof="0" dirty="0">
              <a:ln>
                <a:noFill/>
              </a:ln>
              <a:solidFill>
                <a:schemeClr val="accent2"/>
              </a:solidFill>
              <a:effectLst/>
              <a:uLnTx/>
              <a:uFillTx/>
              <a:latin typeface="Arial"/>
              <a:ea typeface="Arial"/>
              <a:cs typeface="Arial"/>
              <a:sym typeface="Arial"/>
            </a:endParaRPr>
          </a:p>
          <a:p>
            <a:pPr marL="304815" marR="0" lvl="0" indent="-304815" algn="l" defTabSz="914400" rtl="0" eaLnBrk="1" fontAlgn="auto" latinLnBrk="0" hangingPunct="1">
              <a:lnSpc>
                <a:spcPct val="100000"/>
              </a:lnSpc>
              <a:spcBef>
                <a:spcPts val="400"/>
              </a:spcBef>
              <a:spcAft>
                <a:spcPts val="0"/>
              </a:spcAft>
              <a:buClr>
                <a:srgbClr val="009CDE"/>
              </a:buClr>
              <a:buSzPts val="2200"/>
              <a:buFont typeface="Noto Sans Symbols"/>
              <a:buChar char="▪"/>
              <a:tabLst/>
              <a:defRPr/>
            </a:pPr>
            <a:r>
              <a:rPr kumimoji="0" lang="en-US" sz="1467" b="0" i="0" u="none" strike="noStrike" kern="1200" cap="none" spc="0" normalizeH="0" baseline="0" noProof="0" dirty="0">
                <a:ln>
                  <a:noFill/>
                </a:ln>
                <a:solidFill>
                  <a:schemeClr val="accent2"/>
                </a:solidFill>
                <a:effectLst/>
                <a:uLnTx/>
                <a:uFillTx/>
                <a:latin typeface="Arial"/>
                <a:ea typeface="Arial"/>
                <a:cs typeface="Arial"/>
                <a:sym typeface="Arial"/>
              </a:rPr>
              <a:t>Reduce Mean Time to Respond and Recover with robust native and 3rd-party responses </a:t>
            </a:r>
            <a:endParaRPr kumimoji="0" lang="en-US" sz="933" b="0" i="0" u="none" strike="noStrike" kern="1200" cap="none" spc="0" normalizeH="0" baseline="0" noProof="0" dirty="0">
              <a:ln>
                <a:noFill/>
              </a:ln>
              <a:solidFill>
                <a:schemeClr val="accent2"/>
              </a:solidFill>
              <a:effectLst/>
              <a:uLnTx/>
              <a:uFillTx/>
              <a:latin typeface="Arial"/>
              <a:ea typeface="Arial"/>
              <a:cs typeface="Arial"/>
              <a:sym typeface="Arial"/>
            </a:endParaRPr>
          </a:p>
          <a:p>
            <a:pPr marL="304815" marR="0" lvl="0" indent="-304815" algn="l" defTabSz="914400" rtl="0" eaLnBrk="1" fontAlgn="auto" latinLnBrk="0" hangingPunct="1">
              <a:lnSpc>
                <a:spcPct val="100000"/>
              </a:lnSpc>
              <a:spcBef>
                <a:spcPts val="400"/>
              </a:spcBef>
              <a:spcAft>
                <a:spcPts val="400"/>
              </a:spcAft>
              <a:buClr>
                <a:srgbClr val="009CDE"/>
              </a:buClr>
              <a:buSzPts val="2200"/>
              <a:buFont typeface="Noto Sans Symbols"/>
              <a:buChar char="▪"/>
              <a:tabLst/>
              <a:defRPr/>
            </a:pPr>
            <a:r>
              <a:rPr kumimoji="0" lang="en-US" sz="1467" b="0" i="0" u="none" strike="noStrike" kern="1200" cap="none" spc="0" normalizeH="0" baseline="0" noProof="0" dirty="0">
                <a:ln>
                  <a:noFill/>
                </a:ln>
                <a:solidFill>
                  <a:schemeClr val="accent2"/>
                </a:solidFill>
                <a:effectLst/>
                <a:uLnTx/>
                <a:uFillTx/>
                <a:latin typeface="Arial"/>
                <a:ea typeface="Arial"/>
                <a:cs typeface="Arial"/>
                <a:sym typeface="Arial"/>
              </a:rPr>
              <a:t>Automate uniform remediation &amp; recovery across Windows, Mac, and Linux</a:t>
            </a:r>
            <a:endParaRPr kumimoji="0" lang="en-US" sz="933" b="0" i="0" u="none" strike="noStrike" kern="1200" cap="none" spc="0" normalizeH="0" baseline="0" noProof="0" dirty="0">
              <a:ln>
                <a:noFill/>
              </a:ln>
              <a:solidFill>
                <a:schemeClr val="accent2"/>
              </a:solidFill>
              <a:effectLst/>
              <a:uLnTx/>
              <a:uFillTx/>
              <a:latin typeface="Arial"/>
              <a:ea typeface="Arial"/>
              <a:cs typeface="Arial"/>
              <a:sym typeface="Arial"/>
            </a:endParaRPr>
          </a:p>
        </p:txBody>
      </p:sp>
      <p:grpSp>
        <p:nvGrpSpPr>
          <p:cNvPr id="2" name="Group 1">
            <a:extLst>
              <a:ext uri="{FF2B5EF4-FFF2-40B4-BE49-F238E27FC236}">
                <a16:creationId xmlns:a16="http://schemas.microsoft.com/office/drawing/2014/main" id="{9A67D4AD-A042-0AD2-2627-ED3D95B9D6D8}"/>
              </a:ext>
            </a:extLst>
          </p:cNvPr>
          <p:cNvGrpSpPr/>
          <p:nvPr/>
        </p:nvGrpSpPr>
        <p:grpSpPr>
          <a:xfrm>
            <a:off x="6707983" y="1453778"/>
            <a:ext cx="5100636" cy="3497604"/>
            <a:chOff x="6324603" y="1453778"/>
            <a:chExt cx="5100636" cy="3497604"/>
          </a:xfrm>
        </p:grpSpPr>
        <p:sp>
          <p:nvSpPr>
            <p:cNvPr id="1609" name="Google Shape;1609;p15"/>
            <p:cNvSpPr/>
            <p:nvPr/>
          </p:nvSpPr>
          <p:spPr>
            <a:xfrm>
              <a:off x="6324603" y="1453778"/>
              <a:ext cx="5100636" cy="3251657"/>
            </a:xfrm>
            <a:prstGeom prst="roundRect">
              <a:avLst/>
            </a:prstGeom>
            <a:gradFill flip="none" rotWithShape="1">
              <a:gsLst>
                <a:gs pos="0">
                  <a:srgbClr val="E7E8F2">
                    <a:shade val="30000"/>
                    <a:satMod val="115000"/>
                  </a:srgbClr>
                </a:gs>
                <a:gs pos="50000">
                  <a:srgbClr val="E7E8F2">
                    <a:shade val="67500"/>
                    <a:satMod val="115000"/>
                  </a:srgbClr>
                </a:gs>
                <a:gs pos="100000">
                  <a:srgbClr val="E7E8F2">
                    <a:shade val="100000"/>
                    <a:satMod val="115000"/>
                  </a:srgbClr>
                </a:gs>
              </a:gsLst>
              <a:lin ang="10800000" scaled="1"/>
              <a:tileRect/>
            </a:gradFill>
            <a:ln>
              <a:noFill/>
            </a:ln>
          </p:spPr>
          <p:txBody>
            <a:bodyPr spcFirstLastPara="1" wrap="square" lIns="60950" tIns="30467" rIns="60950" bIns="30467"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lang="en-US" sz="933" b="0"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1644" name="Google Shape;1644;p15" descr="Graphical user interface, Teams&#10;&#10;Description automatically generated"/>
            <p:cNvPicPr preferRelativeResize="0"/>
            <p:nvPr/>
          </p:nvPicPr>
          <p:blipFill rotWithShape="1">
            <a:blip r:embed="rId8">
              <a:alphaModFix/>
            </a:blip>
            <a:srcRect/>
            <a:stretch/>
          </p:blipFill>
          <p:spPr>
            <a:xfrm>
              <a:off x="6966703" y="1554770"/>
              <a:ext cx="4301530" cy="2737337"/>
            </a:xfrm>
            <a:prstGeom prst="rect">
              <a:avLst/>
            </a:prstGeom>
            <a:noFill/>
            <a:ln>
              <a:noFill/>
            </a:ln>
          </p:spPr>
        </p:pic>
        <p:pic>
          <p:nvPicPr>
            <p:cNvPr id="1645" name="Google Shape;1645;p15"/>
            <p:cNvPicPr preferRelativeResize="0"/>
            <p:nvPr/>
          </p:nvPicPr>
          <p:blipFill rotWithShape="1">
            <a:blip r:embed="rId9">
              <a:alphaModFix/>
            </a:blip>
            <a:srcRect r="46183"/>
            <a:stretch/>
          </p:blipFill>
          <p:spPr>
            <a:xfrm>
              <a:off x="6424746" y="3626315"/>
              <a:ext cx="2557929" cy="528190"/>
            </a:xfrm>
            <a:prstGeom prst="rect">
              <a:avLst/>
            </a:prstGeom>
            <a:noFill/>
            <a:ln>
              <a:noFill/>
            </a:ln>
          </p:spPr>
        </p:pic>
        <p:pic>
          <p:nvPicPr>
            <p:cNvPr id="1646" name="Google Shape;1646;p15"/>
            <p:cNvPicPr preferRelativeResize="0"/>
            <p:nvPr/>
          </p:nvPicPr>
          <p:blipFill rotWithShape="1">
            <a:blip r:embed="rId10">
              <a:alphaModFix/>
            </a:blip>
            <a:srcRect/>
            <a:stretch/>
          </p:blipFill>
          <p:spPr>
            <a:xfrm>
              <a:off x="7313598" y="4023385"/>
              <a:ext cx="3320813" cy="927997"/>
            </a:xfrm>
            <a:prstGeom prst="rect">
              <a:avLst/>
            </a:prstGeom>
            <a:noFill/>
            <a:ln>
              <a:noFill/>
            </a:ln>
          </p:spPr>
        </p:pic>
      </p:grpSp>
      <p:sp>
        <p:nvSpPr>
          <p:cNvPr id="3" name="Title 1">
            <a:extLst>
              <a:ext uri="{FF2B5EF4-FFF2-40B4-BE49-F238E27FC236}">
                <a16:creationId xmlns:a16="http://schemas.microsoft.com/office/drawing/2014/main" id="{0B652FED-CE7D-9DB2-170B-08E944ECA262}"/>
              </a:ext>
            </a:extLst>
          </p:cNvPr>
          <p:cNvSpPr txBox="1">
            <a:spLocks/>
          </p:cNvSpPr>
          <p:nvPr/>
        </p:nvSpPr>
        <p:spPr>
          <a:xfrm>
            <a:off x="609600" y="418804"/>
            <a:ext cx="10010775" cy="554038"/>
          </a:xfrm>
          <a:prstGeom prst="rect">
            <a:avLst/>
          </a:prstGeom>
          <a:noFill/>
          <a:ln>
            <a:noFill/>
          </a:ln>
        </p:spPr>
        <p:txBody>
          <a:bodyPr spcFirstLastPara="1" vert="horz" wrap="square" lIns="91440" tIns="45720" rIns="91440" bIns="45720" rtlCol="0" anchor="ctr" anchorCtr="0">
            <a:normAutofit fontScale="90000" lnSpcReduction="10000"/>
          </a:bodyPr>
          <a:lst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a:lstStyle>
          <a:p>
            <a:pPr>
              <a:buClr>
                <a:schemeClr val="dk1"/>
              </a:buClr>
              <a:buSzPts val="5800"/>
              <a:buFont typeface="Arial"/>
              <a:buNone/>
            </a:pPr>
            <a:r>
              <a:rPr lang="en-US" dirty="0"/>
              <a:t>EDR Services</a:t>
            </a:r>
          </a:p>
        </p:txBody>
      </p:sp>
    </p:spTree>
    <p:extLst>
      <p:ext uri="{BB962C8B-B14F-4D97-AF65-F5344CB8AC3E}">
        <p14:creationId xmlns:p14="http://schemas.microsoft.com/office/powerpoint/2010/main" val="46896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608"/>
        <p:cNvGrpSpPr/>
        <p:nvPr/>
      </p:nvGrpSpPr>
      <p:grpSpPr>
        <a:xfrm>
          <a:off x="0" y="0"/>
          <a:ext cx="0" cy="0"/>
          <a:chOff x="0" y="0"/>
          <a:chExt cx="0" cy="0"/>
        </a:xfrm>
      </p:grpSpPr>
      <p:sp>
        <p:nvSpPr>
          <p:cNvPr id="1638" name="Google Shape;1638;p15"/>
          <p:cNvSpPr txBox="1">
            <a:spLocks noGrp="1"/>
          </p:cNvSpPr>
          <p:nvPr>
            <p:ph type="sldNum" sz="quarter" idx="4"/>
          </p:nvPr>
        </p:nvSpPr>
        <p:spPr>
          <a:prstGeom prst="rect">
            <a:avLst/>
          </a:prstGeom>
          <a:noFill/>
          <a:ln>
            <a:noFill/>
          </a:ln>
        </p:spPr>
        <p:txBody>
          <a:bodyPr spcFirstLastPara="1"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800" b="0" i="0" u="none" strike="noStrike" kern="1200" cap="none" spc="0" normalizeH="0" baseline="0" noProof="0" smtClean="0">
                <a:ln>
                  <a:noFill/>
                </a:ln>
                <a:solidFill>
                  <a:srgbClr val="7F7F7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9</a:t>
            </a:fld>
            <a:endParaRPr kumimoji="0" lang="en-US" sz="800" b="0" i="0" u="none" strike="noStrike" kern="1200" cap="none" spc="0" normalizeH="0" baseline="0" noProof="0">
              <a:ln>
                <a:noFill/>
              </a:ln>
              <a:solidFill>
                <a:srgbClr val="7F7F7F"/>
              </a:solidFill>
              <a:effectLst/>
              <a:uLnTx/>
              <a:uFillTx/>
              <a:latin typeface="Arial"/>
              <a:cs typeface="Arial"/>
              <a:sym typeface="Arial"/>
            </a:endParaRPr>
          </a:p>
        </p:txBody>
      </p:sp>
      <p:sp>
        <p:nvSpPr>
          <p:cNvPr id="1639" name="Google Shape;1639;p15"/>
          <p:cNvSpPr txBox="1">
            <a:spLocks noGrp="1"/>
          </p:cNvSpPr>
          <p:nvPr>
            <p:ph type="body" idx="4294967295"/>
          </p:nvPr>
        </p:nvSpPr>
        <p:spPr>
          <a:xfrm>
            <a:off x="413312" y="2529836"/>
            <a:ext cx="5979492" cy="3084513"/>
          </a:xfrm>
          <a:prstGeom prst="rect">
            <a:avLst/>
          </a:prstGeom>
          <a:noFill/>
          <a:ln>
            <a:noFill/>
          </a:ln>
        </p:spPr>
        <p:txBody>
          <a:bodyPr spcFirstLastPara="1" vert="horz" wrap="square" lIns="0" tIns="30467" rIns="0" bIns="30467" rtlCol="0" anchor="t" anchorCtr="0">
            <a:noAutofit/>
          </a:bodyPr>
          <a:lstStyle/>
          <a:p>
            <a:pPr marL="0" indent="0">
              <a:lnSpc>
                <a:spcPct val="100000"/>
              </a:lnSpc>
              <a:spcBef>
                <a:spcPts val="400"/>
              </a:spcBef>
              <a:buSzPts val="1100"/>
              <a:buNone/>
            </a:pPr>
            <a:r>
              <a:rPr lang="en-US" sz="1400" dirty="0">
                <a:solidFill>
                  <a:schemeClr val="accent1"/>
                </a:solidFill>
                <a:latin typeface="Arial"/>
                <a:cs typeface="Arial"/>
              </a:rPr>
              <a:t>Easy to Manage</a:t>
            </a:r>
          </a:p>
          <a:p>
            <a:pPr marL="0" indent="0">
              <a:lnSpc>
                <a:spcPct val="100000"/>
              </a:lnSpc>
              <a:spcBef>
                <a:spcPts val="400"/>
              </a:spcBef>
              <a:buSzPts val="1100"/>
              <a:buNone/>
            </a:pPr>
            <a:r>
              <a:rPr lang="en-US" sz="1200" dirty="0">
                <a:solidFill>
                  <a:schemeClr val="accent5"/>
                </a:solidFill>
                <a:latin typeface="Arial"/>
                <a:cs typeface="Arial"/>
              </a:rPr>
              <a:t>● Supports the major mobile platforms (iOS, Android, Chrome OS)</a:t>
            </a:r>
          </a:p>
          <a:p>
            <a:pPr marL="0" indent="0">
              <a:lnSpc>
                <a:spcPct val="100000"/>
              </a:lnSpc>
              <a:spcBef>
                <a:spcPts val="400"/>
              </a:spcBef>
              <a:buSzPts val="1100"/>
              <a:buNone/>
            </a:pPr>
            <a:r>
              <a:rPr lang="en-US" sz="1200" dirty="0">
                <a:solidFill>
                  <a:schemeClr val="accent5"/>
                </a:solidFill>
                <a:latin typeface="Arial"/>
                <a:cs typeface="Arial"/>
              </a:rPr>
              <a:t>● Zero touch deployments</a:t>
            </a:r>
          </a:p>
          <a:p>
            <a:pPr marL="0" indent="0">
              <a:lnSpc>
                <a:spcPct val="100000"/>
              </a:lnSpc>
              <a:spcBef>
                <a:spcPts val="400"/>
              </a:spcBef>
              <a:buSzPts val="1100"/>
              <a:buNone/>
            </a:pPr>
            <a:r>
              <a:rPr lang="en-US" sz="1200" dirty="0">
                <a:solidFill>
                  <a:schemeClr val="accent5"/>
                </a:solidFill>
                <a:latin typeface="Arial"/>
                <a:cs typeface="Arial"/>
              </a:rPr>
              <a:t>● Compatible with leading </a:t>
            </a:r>
            <a:r>
              <a:rPr lang="en-US" sz="1200" dirty="0" err="1">
                <a:solidFill>
                  <a:schemeClr val="accent5"/>
                </a:solidFill>
                <a:latin typeface="Arial"/>
                <a:cs typeface="Arial"/>
              </a:rPr>
              <a:t>MDMs</a:t>
            </a:r>
            <a:r>
              <a:rPr lang="en-US" sz="1200" dirty="0">
                <a:solidFill>
                  <a:schemeClr val="accent5"/>
                </a:solidFill>
                <a:latin typeface="Arial"/>
                <a:cs typeface="Arial"/>
              </a:rPr>
              <a:t>. However, MDM optional.</a:t>
            </a:r>
          </a:p>
          <a:p>
            <a:pPr marL="0" indent="0">
              <a:lnSpc>
                <a:spcPct val="100000"/>
              </a:lnSpc>
              <a:spcBef>
                <a:spcPts val="400"/>
              </a:spcBef>
              <a:buSzPts val="1100"/>
              <a:buNone/>
            </a:pPr>
            <a:r>
              <a:rPr lang="en-US" sz="1200" dirty="0">
                <a:solidFill>
                  <a:schemeClr val="accent5"/>
                </a:solidFill>
                <a:latin typeface="Arial"/>
                <a:cs typeface="Arial"/>
              </a:rPr>
              <a:t>● Easy on batteries. </a:t>
            </a:r>
          </a:p>
          <a:p>
            <a:pPr marL="0" indent="0">
              <a:lnSpc>
                <a:spcPct val="100000"/>
              </a:lnSpc>
              <a:spcBef>
                <a:spcPts val="400"/>
              </a:spcBef>
              <a:buSzPts val="1100"/>
              <a:buNone/>
            </a:pPr>
            <a:endParaRPr lang="en-US" sz="1200" dirty="0">
              <a:solidFill>
                <a:schemeClr val="accent5"/>
              </a:solidFill>
              <a:latin typeface="Arial"/>
              <a:cs typeface="Arial"/>
            </a:endParaRPr>
          </a:p>
          <a:p>
            <a:pPr marL="0" indent="0">
              <a:lnSpc>
                <a:spcPct val="100000"/>
              </a:lnSpc>
              <a:spcBef>
                <a:spcPts val="400"/>
              </a:spcBef>
              <a:buSzPts val="1100"/>
              <a:buNone/>
            </a:pPr>
            <a:r>
              <a:rPr lang="en-US" sz="1400" dirty="0">
                <a:solidFill>
                  <a:schemeClr val="accent1"/>
                </a:solidFill>
                <a:latin typeface="Arial"/>
                <a:cs typeface="Arial"/>
              </a:rPr>
              <a:t>Autonomous AI Protection &amp; Visibility</a:t>
            </a:r>
          </a:p>
          <a:p>
            <a:pPr marL="0" indent="0">
              <a:lnSpc>
                <a:spcPct val="100000"/>
              </a:lnSpc>
              <a:spcBef>
                <a:spcPts val="400"/>
              </a:spcBef>
              <a:buSzPts val="1100"/>
              <a:buNone/>
            </a:pPr>
            <a:r>
              <a:rPr lang="en-US" sz="1200" dirty="0">
                <a:solidFill>
                  <a:schemeClr val="accent5"/>
                </a:solidFill>
                <a:latin typeface="Arial"/>
                <a:cs typeface="Arial"/>
              </a:rPr>
              <a:t>● On-device, real time, adaptive behavioral threat protection</a:t>
            </a:r>
          </a:p>
          <a:p>
            <a:pPr marL="0" indent="0">
              <a:lnSpc>
                <a:spcPct val="100000"/>
              </a:lnSpc>
              <a:spcBef>
                <a:spcPts val="400"/>
              </a:spcBef>
              <a:buSzPts val="1100"/>
              <a:buNone/>
            </a:pPr>
            <a:r>
              <a:rPr lang="en-US" sz="1200" dirty="0">
                <a:solidFill>
                  <a:schemeClr val="accent5"/>
                </a:solidFill>
                <a:latin typeface="Arial"/>
                <a:cs typeface="Arial"/>
              </a:rPr>
              <a:t>● Known &amp; unknown malware, phishing, exploits, MITM protection</a:t>
            </a:r>
          </a:p>
          <a:p>
            <a:pPr marL="0" indent="0">
              <a:lnSpc>
                <a:spcPct val="100000"/>
              </a:lnSpc>
              <a:spcBef>
                <a:spcPts val="400"/>
              </a:spcBef>
              <a:buSzPts val="1100"/>
              <a:buNone/>
            </a:pPr>
            <a:r>
              <a:rPr lang="en-US" sz="1200" dirty="0">
                <a:solidFill>
                  <a:schemeClr val="accent5"/>
                </a:solidFill>
                <a:latin typeface="Arial"/>
                <a:cs typeface="Arial"/>
              </a:rPr>
              <a:t>● Supports conditional access &amp; orchestrated response</a:t>
            </a:r>
          </a:p>
          <a:p>
            <a:pPr marL="0" indent="0">
              <a:lnSpc>
                <a:spcPct val="100000"/>
              </a:lnSpc>
              <a:spcBef>
                <a:spcPts val="400"/>
              </a:spcBef>
              <a:buSzPts val="1100"/>
              <a:buNone/>
            </a:pPr>
            <a:endParaRPr lang="en-US" sz="1200" dirty="0">
              <a:solidFill>
                <a:schemeClr val="accent5"/>
              </a:solidFill>
              <a:latin typeface="Arial"/>
              <a:cs typeface="Arial"/>
            </a:endParaRPr>
          </a:p>
          <a:p>
            <a:pPr marL="0" indent="0">
              <a:lnSpc>
                <a:spcPct val="100000"/>
              </a:lnSpc>
              <a:spcBef>
                <a:spcPts val="400"/>
              </a:spcBef>
              <a:buSzPts val="1100"/>
              <a:buNone/>
            </a:pPr>
            <a:r>
              <a:rPr lang="en-US" sz="1400" dirty="0">
                <a:solidFill>
                  <a:schemeClr val="accent1"/>
                </a:solidFill>
                <a:latin typeface="Arial"/>
                <a:cs typeface="Arial"/>
              </a:rPr>
              <a:t>Privacy by Design</a:t>
            </a:r>
          </a:p>
          <a:p>
            <a:pPr marL="0" indent="0">
              <a:lnSpc>
                <a:spcPct val="100000"/>
              </a:lnSpc>
              <a:spcBef>
                <a:spcPts val="400"/>
              </a:spcBef>
              <a:buSzPts val="1100"/>
              <a:buNone/>
            </a:pPr>
            <a:r>
              <a:rPr lang="en-US" sz="1200" dirty="0">
                <a:solidFill>
                  <a:schemeClr val="accent5"/>
                </a:solidFill>
                <a:latin typeface="Arial"/>
                <a:cs typeface="Arial"/>
              </a:rPr>
              <a:t>● Balances data privacy with security</a:t>
            </a:r>
          </a:p>
          <a:p>
            <a:pPr marL="0" indent="0">
              <a:lnSpc>
                <a:spcPct val="100000"/>
              </a:lnSpc>
              <a:spcBef>
                <a:spcPts val="400"/>
              </a:spcBef>
              <a:buSzPts val="1100"/>
              <a:buNone/>
            </a:pPr>
            <a:r>
              <a:rPr lang="en-US" sz="1200" dirty="0">
                <a:solidFill>
                  <a:schemeClr val="accent5"/>
                </a:solidFill>
                <a:latin typeface="Arial"/>
                <a:cs typeface="Arial"/>
              </a:rPr>
              <a:t>● BYOD safe. Never collects user (owner) content or messages.</a:t>
            </a:r>
          </a:p>
          <a:p>
            <a:pPr marL="0" indent="0">
              <a:lnSpc>
                <a:spcPct val="100000"/>
              </a:lnSpc>
              <a:spcBef>
                <a:spcPts val="400"/>
              </a:spcBef>
              <a:buSzPts val="1100"/>
              <a:buNone/>
            </a:pPr>
            <a:r>
              <a:rPr lang="en-US" sz="1200" dirty="0">
                <a:solidFill>
                  <a:schemeClr val="accent5"/>
                </a:solidFill>
                <a:latin typeface="Arial"/>
                <a:cs typeface="Arial"/>
              </a:rPr>
              <a:t>● Can disable collection of app inventory and network details</a:t>
            </a:r>
          </a:p>
          <a:p>
            <a:pPr marL="0" indent="0">
              <a:lnSpc>
                <a:spcPct val="100000"/>
              </a:lnSpc>
              <a:spcBef>
                <a:spcPts val="400"/>
              </a:spcBef>
              <a:buSzPts val="1100"/>
              <a:buNone/>
            </a:pPr>
            <a:endParaRPr lang="en-US" sz="1200" dirty="0">
              <a:solidFill>
                <a:schemeClr val="dk1"/>
              </a:solidFill>
              <a:latin typeface="Arial"/>
              <a:cs typeface="Arial"/>
            </a:endParaRPr>
          </a:p>
        </p:txBody>
      </p:sp>
      <p:grpSp>
        <p:nvGrpSpPr>
          <p:cNvPr id="4" name="Group 3">
            <a:extLst>
              <a:ext uri="{FF2B5EF4-FFF2-40B4-BE49-F238E27FC236}">
                <a16:creationId xmlns:a16="http://schemas.microsoft.com/office/drawing/2014/main" id="{1371B028-E517-D8F0-05A7-247D2126CFC9}"/>
              </a:ext>
            </a:extLst>
          </p:cNvPr>
          <p:cNvGrpSpPr/>
          <p:nvPr/>
        </p:nvGrpSpPr>
        <p:grpSpPr>
          <a:xfrm>
            <a:off x="6392803" y="2764266"/>
            <a:ext cx="4603633" cy="2500243"/>
            <a:chOff x="6961246" y="1267656"/>
            <a:chExt cx="4603633" cy="2500243"/>
          </a:xfrm>
        </p:grpSpPr>
        <p:pic>
          <p:nvPicPr>
            <p:cNvPr id="3" name="Picture 2" descr="A screenshot of a phone&#10;&#10;Description automatically generated">
              <a:extLst>
                <a:ext uri="{FF2B5EF4-FFF2-40B4-BE49-F238E27FC236}">
                  <a16:creationId xmlns:a16="http://schemas.microsoft.com/office/drawing/2014/main" id="{C50F2215-344F-8672-F2C5-565A462C0708}"/>
                </a:ext>
              </a:extLst>
            </p:cNvPr>
            <p:cNvPicPr>
              <a:picLocks noChangeAspect="1"/>
            </p:cNvPicPr>
            <p:nvPr/>
          </p:nvPicPr>
          <p:blipFill>
            <a:blip r:embed="rId3"/>
            <a:stretch>
              <a:fillRect/>
            </a:stretch>
          </p:blipFill>
          <p:spPr>
            <a:xfrm>
              <a:off x="6961246" y="1267656"/>
              <a:ext cx="4603633" cy="2500243"/>
            </a:xfrm>
            <a:prstGeom prst="rect">
              <a:avLst/>
            </a:prstGeom>
          </p:spPr>
        </p:pic>
        <p:pic>
          <p:nvPicPr>
            <p:cNvPr id="2" name="Picture 1" descr="A close-up of a logo&#10;&#10;Description automatically generated">
              <a:extLst>
                <a:ext uri="{FF2B5EF4-FFF2-40B4-BE49-F238E27FC236}">
                  <a16:creationId xmlns:a16="http://schemas.microsoft.com/office/drawing/2014/main" id="{90496A44-3E14-A2B8-5652-FDE0F416F6D9}"/>
                </a:ext>
              </a:extLst>
            </p:cNvPr>
            <p:cNvPicPr>
              <a:picLocks noChangeAspect="1"/>
            </p:cNvPicPr>
            <p:nvPr/>
          </p:nvPicPr>
          <p:blipFill>
            <a:blip r:embed="rId4"/>
            <a:stretch>
              <a:fillRect/>
            </a:stretch>
          </p:blipFill>
          <p:spPr>
            <a:xfrm>
              <a:off x="6961246" y="2926804"/>
              <a:ext cx="2869110" cy="682173"/>
            </a:xfrm>
            <a:prstGeom prst="rect">
              <a:avLst/>
            </a:prstGeom>
            <a:effectLst>
              <a:outerShdw blurRad="50800" dist="38100" dir="5400000" algn="t" rotWithShape="0">
                <a:prstClr val="black">
                  <a:alpha val="40000"/>
                </a:prstClr>
              </a:outerShdw>
              <a:softEdge rad="31750"/>
            </a:effectLst>
          </p:spPr>
        </p:pic>
      </p:grpSp>
      <p:sp>
        <p:nvSpPr>
          <p:cNvPr id="6" name="TextBox 5">
            <a:extLst>
              <a:ext uri="{FF2B5EF4-FFF2-40B4-BE49-F238E27FC236}">
                <a16:creationId xmlns:a16="http://schemas.microsoft.com/office/drawing/2014/main" id="{7E4BFCEB-C2B7-B39A-96CA-6FE593574C85}"/>
              </a:ext>
            </a:extLst>
          </p:cNvPr>
          <p:cNvSpPr txBox="1"/>
          <p:nvPr/>
        </p:nvSpPr>
        <p:spPr>
          <a:xfrm>
            <a:off x="341391" y="1545655"/>
            <a:ext cx="10635711" cy="830997"/>
          </a:xfrm>
          <a:prstGeom prst="rect">
            <a:avLst/>
          </a:prstGeom>
          <a:noFill/>
        </p:spPr>
        <p:txBody>
          <a:bodyPr wrap="square" rtlCol="0">
            <a:spAutoFit/>
          </a:bodyPr>
          <a:lstStyle/>
          <a:p>
            <a:r>
              <a:rPr lang="en-US" sz="1600" dirty="0">
                <a:solidFill>
                  <a:schemeClr val="accent5"/>
                </a:solidFill>
              </a:rPr>
              <a:t>RSM Defense is committed to cover all your attack surfaces, even mobile. Work happens anywhere at anytime and mobile is a critical component of how distributed and modern enterprises verify trust and identities, but mobile devices also access many of the same critical company data and resources that servers and endpoints do. </a:t>
            </a:r>
          </a:p>
        </p:txBody>
      </p:sp>
      <p:pic>
        <p:nvPicPr>
          <p:cNvPr id="8" name="Picture 7">
            <a:extLst>
              <a:ext uri="{FF2B5EF4-FFF2-40B4-BE49-F238E27FC236}">
                <a16:creationId xmlns:a16="http://schemas.microsoft.com/office/drawing/2014/main" id="{51E7E416-09C4-FDE7-C623-337001216155}"/>
              </a:ext>
            </a:extLst>
          </p:cNvPr>
          <p:cNvPicPr>
            <a:picLocks noChangeAspect="1"/>
          </p:cNvPicPr>
          <p:nvPr/>
        </p:nvPicPr>
        <p:blipFill>
          <a:blip r:embed="rId5"/>
          <a:stretch>
            <a:fillRect/>
          </a:stretch>
        </p:blipFill>
        <p:spPr>
          <a:xfrm>
            <a:off x="5394208" y="5341101"/>
            <a:ext cx="6600825" cy="863445"/>
          </a:xfrm>
          <a:prstGeom prst="rect">
            <a:avLst/>
          </a:prstGeom>
        </p:spPr>
      </p:pic>
      <p:sp>
        <p:nvSpPr>
          <p:cNvPr id="7" name="Title 1">
            <a:extLst>
              <a:ext uri="{FF2B5EF4-FFF2-40B4-BE49-F238E27FC236}">
                <a16:creationId xmlns:a16="http://schemas.microsoft.com/office/drawing/2014/main" id="{CA336364-1267-8A2B-BFA0-BC72B5984BD3}"/>
              </a:ext>
            </a:extLst>
          </p:cNvPr>
          <p:cNvSpPr txBox="1">
            <a:spLocks/>
          </p:cNvSpPr>
          <p:nvPr/>
        </p:nvSpPr>
        <p:spPr>
          <a:xfrm>
            <a:off x="609600" y="418804"/>
            <a:ext cx="10010775" cy="554038"/>
          </a:xfrm>
          <a:prstGeom prst="rect">
            <a:avLst/>
          </a:prstGeom>
          <a:noFill/>
          <a:ln>
            <a:noFill/>
          </a:ln>
        </p:spPr>
        <p:txBody>
          <a:bodyPr spcFirstLastPara="1" vert="horz" wrap="square" lIns="91440" tIns="45720" rIns="91440" bIns="45720" rtlCol="0" anchor="ctr" anchorCtr="0">
            <a:normAutofit fontScale="90000" lnSpcReduction="10000"/>
          </a:bodyPr>
          <a:lst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a:lstStyle>
          <a:p>
            <a:pPr>
              <a:buClr>
                <a:schemeClr val="dk1"/>
              </a:buClr>
              <a:buSzPts val="5800"/>
              <a:buFont typeface="Arial"/>
              <a:buNone/>
            </a:pPr>
            <a:r>
              <a:rPr lang="en-US" dirty="0"/>
              <a:t>Mobile Threat Defense </a:t>
            </a:r>
          </a:p>
        </p:txBody>
      </p:sp>
    </p:spTree>
    <p:extLst>
      <p:ext uri="{BB962C8B-B14F-4D97-AF65-F5344CB8AC3E}">
        <p14:creationId xmlns:p14="http://schemas.microsoft.com/office/powerpoint/2010/main" val="18510982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1F93C8A0-F486-9347-9CED-4E8BC5769311}"/>
              </a:ext>
            </a:extLst>
          </p:cNvPr>
          <p:cNvSpPr>
            <a:spLocks noGrp="1"/>
          </p:cNvSpPr>
          <p:nvPr>
            <p:ph type="body" sz="quarter" idx="10"/>
          </p:nvPr>
        </p:nvSpPr>
        <p:spPr/>
        <p:txBody>
          <a:bodyPr/>
          <a:lstStyle/>
          <a:p>
            <a:r>
              <a:rPr lang="en-US"/>
              <a:t> </a:t>
            </a:r>
          </a:p>
        </p:txBody>
      </p:sp>
      <p:sp>
        <p:nvSpPr>
          <p:cNvPr id="2" name="Title 1">
            <a:extLst>
              <a:ext uri="{FF2B5EF4-FFF2-40B4-BE49-F238E27FC236}">
                <a16:creationId xmlns:a16="http://schemas.microsoft.com/office/drawing/2014/main" id="{FA261850-5C84-82BC-8DF0-A93F99B0EF7B}"/>
              </a:ext>
            </a:extLst>
          </p:cNvPr>
          <p:cNvSpPr>
            <a:spLocks noGrp="1"/>
          </p:cNvSpPr>
          <p:nvPr>
            <p:ph type="title" idx="4294967295"/>
          </p:nvPr>
        </p:nvSpPr>
        <p:spPr>
          <a:xfrm>
            <a:off x="609600" y="709613"/>
            <a:ext cx="11582400" cy="554037"/>
          </a:xfrm>
        </p:spPr>
        <p:txBody>
          <a:bodyPr/>
          <a:lstStyle/>
          <a:p>
            <a:r>
              <a:rPr lang="en-US" dirty="0"/>
              <a:t>Strength in numbers</a:t>
            </a:r>
          </a:p>
        </p:txBody>
      </p:sp>
      <p:sp>
        <p:nvSpPr>
          <p:cNvPr id="4" name="Slide Number Placeholder 5">
            <a:extLst>
              <a:ext uri="{FF2B5EF4-FFF2-40B4-BE49-F238E27FC236}">
                <a16:creationId xmlns:a16="http://schemas.microsoft.com/office/drawing/2014/main" id="{804C5A88-12CE-C199-1FB8-4612130A6ED7}"/>
              </a:ext>
            </a:extLst>
          </p:cNvPr>
          <p:cNvSpPr>
            <a:spLocks noGrp="1"/>
          </p:cNvSpPr>
          <p:nvPr>
            <p:ph type="sldNum" sz="quarter" idx="4294967295"/>
          </p:nvPr>
        </p:nvSpPr>
        <p:spPr>
          <a:xfrm>
            <a:off x="11591925" y="6345238"/>
            <a:ext cx="600075" cy="15398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88B8D"/>
                </a:solidFill>
                <a:effectLst/>
                <a:uLnTx/>
                <a:uFillTx/>
                <a:latin typeface="Arial"/>
                <a:ea typeface="+mn-ea"/>
                <a:cs typeface="+mn-cs"/>
              </a:rPr>
              <a:t>RSM | </a:t>
            </a:r>
            <a:fld id="{D3664AF6-26E3-4378-990F-C4F4E21208D6}" type="slidenum">
              <a:rPr kumimoji="0" lang="en-GB" sz="1000" b="0" i="0" u="none" strike="noStrike" kern="1200" cap="none" spc="0" normalizeH="0" baseline="0" noProof="0" dirty="0" smtClean="0">
                <a:ln>
                  <a:noFill/>
                </a:ln>
                <a:solidFill>
                  <a:srgbClr val="888B8D"/>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GB" sz="1000" b="0" i="0" u="none" strike="noStrike" kern="1200" cap="none" spc="0" normalizeH="0" baseline="0" noProof="0">
              <a:ln>
                <a:noFill/>
              </a:ln>
              <a:solidFill>
                <a:srgbClr val="888B8D"/>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1D79E0F8-D39A-E63A-1744-18C5AD88416B}"/>
              </a:ext>
            </a:extLst>
          </p:cNvPr>
          <p:cNvGrpSpPr/>
          <p:nvPr/>
        </p:nvGrpSpPr>
        <p:grpSpPr>
          <a:xfrm>
            <a:off x="689852" y="2094019"/>
            <a:ext cx="10393301" cy="3372431"/>
            <a:chOff x="814558" y="1869026"/>
            <a:chExt cx="10621792" cy="4379373"/>
          </a:xfrm>
        </p:grpSpPr>
        <p:pic>
          <p:nvPicPr>
            <p:cNvPr id="36" name="Picture 35">
              <a:extLst>
                <a:ext uri="{FF2B5EF4-FFF2-40B4-BE49-F238E27FC236}">
                  <a16:creationId xmlns:a16="http://schemas.microsoft.com/office/drawing/2014/main" id="{F987772F-CE09-F67E-45D2-E82281B18757}"/>
                </a:ext>
              </a:extLst>
            </p:cNvPr>
            <p:cNvPicPr>
              <a:picLocks noChangeAspect="1"/>
            </p:cNvPicPr>
            <p:nvPr/>
          </p:nvPicPr>
          <p:blipFill rotWithShape="1">
            <a:blip r:embed="rId3" cstate="email">
              <a:alphaModFix amt="70000"/>
              <a:extLst>
                <a:ext uri="{BEBA8EAE-BF5A-486C-A8C5-ECC9F3942E4B}">
                  <a14:imgProps xmlns:a14="http://schemas.microsoft.com/office/drawing/2010/main">
                    <a14:imgLayer r:embed="rId4">
                      <a14:imgEffect>
                        <a14:brightnessContrast bright="6000"/>
                      </a14:imgEffect>
                    </a14:imgLayer>
                  </a14:imgProps>
                </a:ext>
                <a:ext uri="{28A0092B-C50C-407E-A947-70E740481C1C}">
                  <a14:useLocalDpi xmlns:a14="http://schemas.microsoft.com/office/drawing/2010/main"/>
                </a:ext>
              </a:extLst>
            </a:blip>
            <a:srcRect/>
            <a:stretch/>
          </p:blipFill>
          <p:spPr>
            <a:xfrm>
              <a:off x="814558" y="1875262"/>
              <a:ext cx="10621792" cy="4373137"/>
            </a:xfrm>
            <a:prstGeom prst="rect">
              <a:avLst/>
            </a:prstGeom>
          </p:spPr>
        </p:pic>
        <p:sp>
          <p:nvSpPr>
            <p:cNvPr id="120" name="Rectangle 119">
              <a:extLst>
                <a:ext uri="{FF2B5EF4-FFF2-40B4-BE49-F238E27FC236}">
                  <a16:creationId xmlns:a16="http://schemas.microsoft.com/office/drawing/2014/main" id="{B26E6678-D2D2-FD1B-30B1-77593F320116}"/>
                </a:ext>
              </a:extLst>
            </p:cNvPr>
            <p:cNvSpPr/>
            <p:nvPr/>
          </p:nvSpPr>
          <p:spPr>
            <a:xfrm>
              <a:off x="814558" y="1869026"/>
              <a:ext cx="10621792" cy="4373136"/>
            </a:xfrm>
            <a:prstGeom prst="rect">
              <a:avLst/>
            </a:prstGeom>
            <a:solidFill>
              <a:srgbClr val="000000">
                <a:alpha val="4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pSp>
      <p:sp>
        <p:nvSpPr>
          <p:cNvPr id="6" name="Rectangle 5">
            <a:extLst>
              <a:ext uri="{FF2B5EF4-FFF2-40B4-BE49-F238E27FC236}">
                <a16:creationId xmlns:a16="http://schemas.microsoft.com/office/drawing/2014/main" id="{E715B9AD-90B2-1F99-30D2-10F270058137}"/>
              </a:ext>
            </a:extLst>
          </p:cNvPr>
          <p:cNvSpPr/>
          <p:nvPr/>
        </p:nvSpPr>
        <p:spPr>
          <a:xfrm>
            <a:off x="720332" y="2094020"/>
            <a:ext cx="10248910" cy="937089"/>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5" name="Title 5">
            <a:extLst>
              <a:ext uri="{FF2B5EF4-FFF2-40B4-BE49-F238E27FC236}">
                <a16:creationId xmlns:a16="http://schemas.microsoft.com/office/drawing/2014/main" id="{75B464A8-0CE0-2877-6DC1-79FA579015A8}"/>
              </a:ext>
            </a:extLst>
          </p:cNvPr>
          <p:cNvSpPr txBox="1">
            <a:spLocks noChangeArrowheads="1"/>
          </p:cNvSpPr>
          <p:nvPr/>
        </p:nvSpPr>
        <p:spPr bwMode="auto">
          <a:xfrm>
            <a:off x="720333" y="2094020"/>
            <a:ext cx="2819950" cy="937089"/>
          </a:xfrm>
          <a:prstGeom prst="rect">
            <a:avLst/>
          </a:prstGeom>
          <a:noFill/>
          <a:ln w="9525">
            <a:noFill/>
            <a:miter lim="800000"/>
            <a:headEnd/>
            <a:tailEnd/>
          </a:ln>
        </p:spPr>
        <p:txBody>
          <a:bodyPr lIns="91440" tIns="0" rIns="0" bIns="0" anchor="ctr"/>
          <a:lstStyle>
            <a:lvl1pPr>
              <a:spcBef>
                <a:spcPts val="1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685800" indent="-228600">
              <a:spcBef>
                <a:spcPts val="500"/>
              </a:spcBef>
              <a:buFont typeface="Calibri" panose="020F050202020403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ts val="500"/>
              </a:spcBef>
              <a:buFont typeface="Calibri" panose="020F050202020403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90000"/>
              </a:lnSpc>
              <a:spcBef>
                <a:spcPct val="0"/>
              </a:spcBef>
              <a:spcAft>
                <a:spcPts val="0"/>
              </a:spcAft>
              <a:buClrTx/>
              <a:buSzTx/>
              <a:buFont typeface="Arial" panose="020B0604020202020204" pitchFamily="34" charset="0"/>
              <a:buNone/>
              <a:tabLst/>
              <a:defRPr/>
            </a:pPr>
            <a:r>
              <a:rPr kumimoji="0" lang="en-US" altLang="en-US" sz="2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SM </a:t>
            </a:r>
            <a:br>
              <a:rPr kumimoji="0" lang="en-US" altLang="en-US" sz="2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sz="2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ternational</a:t>
            </a:r>
          </a:p>
        </p:txBody>
      </p:sp>
      <p:sp>
        <p:nvSpPr>
          <p:cNvPr id="7" name="TextBox 38">
            <a:extLst>
              <a:ext uri="{FF2B5EF4-FFF2-40B4-BE49-F238E27FC236}">
                <a16:creationId xmlns:a16="http://schemas.microsoft.com/office/drawing/2014/main" id="{40B8A0A7-B245-F834-8A23-4D338B5CB5CA}"/>
              </a:ext>
            </a:extLst>
          </p:cNvPr>
          <p:cNvSpPr txBox="1">
            <a:spLocks noChangeArrowheads="1"/>
          </p:cNvSpPr>
          <p:nvPr/>
        </p:nvSpPr>
        <p:spPr bwMode="auto">
          <a:xfrm>
            <a:off x="9789015" y="2206881"/>
            <a:ext cx="990163" cy="6504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anchor="ctr">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120</a:t>
            </a:r>
            <a:br>
              <a:rPr kumimoji="0" lang="en-US" alt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mn-cs"/>
              </a:rPr>
            </a:br>
            <a:r>
              <a:rPr kumimoji="0" lang="en-US" alt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countries</a:t>
            </a:r>
          </a:p>
        </p:txBody>
      </p:sp>
      <p:sp>
        <p:nvSpPr>
          <p:cNvPr id="8" name="Title 5">
            <a:extLst>
              <a:ext uri="{FF2B5EF4-FFF2-40B4-BE49-F238E27FC236}">
                <a16:creationId xmlns:a16="http://schemas.microsoft.com/office/drawing/2014/main" id="{5B4D6816-2B14-8D1F-EDC1-AA4E03C93D08}"/>
              </a:ext>
            </a:extLst>
          </p:cNvPr>
          <p:cNvSpPr txBox="1">
            <a:spLocks noChangeArrowheads="1"/>
          </p:cNvSpPr>
          <p:nvPr/>
        </p:nvSpPr>
        <p:spPr bwMode="auto">
          <a:xfrm>
            <a:off x="3508562" y="2206881"/>
            <a:ext cx="2194178" cy="6504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spcBef>
                <a:spcPts val="1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685800" indent="-228600">
              <a:spcBef>
                <a:spcPts val="500"/>
              </a:spcBef>
              <a:buFont typeface="Calibri" panose="020F050202020403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ts val="500"/>
              </a:spcBef>
              <a:buFont typeface="Calibri" panose="020F050202020403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30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9.4B</a:t>
            </a:r>
            <a:br>
              <a:rPr kumimoji="0" lang="en-US" alt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evenues in calendar 2023</a:t>
            </a:r>
          </a:p>
        </p:txBody>
      </p:sp>
      <p:sp>
        <p:nvSpPr>
          <p:cNvPr id="9" name="Title 5">
            <a:extLst>
              <a:ext uri="{FF2B5EF4-FFF2-40B4-BE49-F238E27FC236}">
                <a16:creationId xmlns:a16="http://schemas.microsoft.com/office/drawing/2014/main" id="{796E6E4B-F744-EF6A-4D1E-E4B6E3DFC82A}"/>
              </a:ext>
            </a:extLst>
          </p:cNvPr>
          <p:cNvSpPr txBox="1">
            <a:spLocks noChangeArrowheads="1"/>
          </p:cNvSpPr>
          <p:nvPr/>
        </p:nvSpPr>
        <p:spPr bwMode="auto">
          <a:xfrm>
            <a:off x="7992539" y="2206881"/>
            <a:ext cx="1165171" cy="6504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spcBef>
                <a:spcPts val="1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685800" indent="-228600">
              <a:spcBef>
                <a:spcPts val="500"/>
              </a:spcBef>
              <a:buFont typeface="Calibri" panose="020F050202020403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ts val="500"/>
              </a:spcBef>
              <a:buFont typeface="Calibri" panose="020F050202020403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Arial"/>
                <a:ea typeface="+mn-ea"/>
                <a:cs typeface="Arial"/>
              </a:rPr>
              <a:t>64,000</a:t>
            </a:r>
            <a:br>
              <a:rPr kumimoji="0" lang="en-US" altLang="en-US" sz="1400" b="0" i="0" u="none" strike="noStrike" kern="1200" cap="none" spc="0" normalizeH="0" baseline="0" noProof="0">
                <a:ln>
                  <a:noFill/>
                </a:ln>
                <a:solidFill>
                  <a:srgbClr val="141439"/>
                </a:solidFill>
                <a:effectLst/>
                <a:uLnTx/>
                <a:uFillTx/>
                <a:latin typeface="Arial" panose="020B0604020202020204" pitchFamily="34" charset="0"/>
                <a:ea typeface="+mn-ea"/>
                <a:cs typeface="Arial" panose="020B0604020202020204" pitchFamily="34" charset="0"/>
              </a:rPr>
            </a:br>
            <a:r>
              <a:rPr kumimoji="0" lang="en-US" altLang="en-US" sz="1400" b="0" i="0" u="none" strike="noStrike" kern="1200" cap="none" spc="0" normalizeH="0" baseline="0" noProof="0">
                <a:ln>
                  <a:noFill/>
                </a:ln>
                <a:solidFill>
                  <a:srgbClr val="FFFFFF"/>
                </a:solidFill>
                <a:effectLst/>
                <a:uLnTx/>
                <a:uFillTx/>
                <a:latin typeface="Arial"/>
                <a:ea typeface="+mn-ea"/>
                <a:cs typeface="Arial"/>
              </a:rPr>
              <a:t>people</a:t>
            </a:r>
          </a:p>
        </p:txBody>
      </p:sp>
      <p:sp>
        <p:nvSpPr>
          <p:cNvPr id="10" name="Title 5">
            <a:extLst>
              <a:ext uri="{FF2B5EF4-FFF2-40B4-BE49-F238E27FC236}">
                <a16:creationId xmlns:a16="http://schemas.microsoft.com/office/drawing/2014/main" id="{DF508A64-E88D-C332-EB01-B74A7C8CDF69}"/>
              </a:ext>
            </a:extLst>
          </p:cNvPr>
          <p:cNvSpPr txBox="1">
            <a:spLocks noChangeArrowheads="1"/>
          </p:cNvSpPr>
          <p:nvPr/>
        </p:nvSpPr>
        <p:spPr bwMode="auto">
          <a:xfrm>
            <a:off x="6408407" y="2206881"/>
            <a:ext cx="986722" cy="6504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spcBef>
                <a:spcPts val="1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685800" indent="-228600">
              <a:spcBef>
                <a:spcPts val="500"/>
              </a:spcBef>
              <a:buFont typeface="Calibri" panose="020F050202020403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ts val="500"/>
              </a:spcBef>
              <a:buFont typeface="Calibri" panose="020F050202020403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820</a:t>
            </a:r>
            <a:r>
              <a:rPr kumimoji="0" lang="en-US" alt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br>
              <a:rPr kumimoji="0" lang="en-US" alt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ffices</a:t>
            </a:r>
          </a:p>
        </p:txBody>
      </p:sp>
      <p:cxnSp>
        <p:nvCxnSpPr>
          <p:cNvPr id="11" name="Straight Connector 10">
            <a:extLst>
              <a:ext uri="{FF2B5EF4-FFF2-40B4-BE49-F238E27FC236}">
                <a16:creationId xmlns:a16="http://schemas.microsoft.com/office/drawing/2014/main" id="{F52C3046-CFC2-D61D-98AF-58DF6165AD78}"/>
              </a:ext>
            </a:extLst>
          </p:cNvPr>
          <p:cNvCxnSpPr/>
          <p:nvPr/>
        </p:nvCxnSpPr>
        <p:spPr>
          <a:xfrm>
            <a:off x="3281241" y="2288161"/>
            <a:ext cx="0" cy="54864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3E38655-52D3-ECC4-F092-8CDC51FAC639}"/>
              </a:ext>
            </a:extLst>
          </p:cNvPr>
          <p:cNvCxnSpPr/>
          <p:nvPr/>
        </p:nvCxnSpPr>
        <p:spPr>
          <a:xfrm>
            <a:off x="6181086" y="2288161"/>
            <a:ext cx="0" cy="54864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4B8DFC5-3CB9-1742-5D09-8E51EF211D1D}"/>
              </a:ext>
            </a:extLst>
          </p:cNvPr>
          <p:cNvCxnSpPr/>
          <p:nvPr/>
        </p:nvCxnSpPr>
        <p:spPr>
          <a:xfrm>
            <a:off x="7765218" y="2288161"/>
            <a:ext cx="0" cy="54864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D696B4D-55E7-3957-0B6F-CC2E7D44FDD1}"/>
              </a:ext>
            </a:extLst>
          </p:cNvPr>
          <p:cNvCxnSpPr/>
          <p:nvPr/>
        </p:nvCxnSpPr>
        <p:spPr>
          <a:xfrm>
            <a:off x="9561693" y="2288161"/>
            <a:ext cx="0" cy="54864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5128D2FC-92F5-DE24-CA8C-EFE561912596}"/>
              </a:ext>
            </a:extLst>
          </p:cNvPr>
          <p:cNvSpPr/>
          <p:nvPr/>
        </p:nvSpPr>
        <p:spPr>
          <a:xfrm>
            <a:off x="720332" y="3217589"/>
            <a:ext cx="10248910" cy="22488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7" name="Title 5">
            <a:extLst>
              <a:ext uri="{FF2B5EF4-FFF2-40B4-BE49-F238E27FC236}">
                <a16:creationId xmlns:a16="http://schemas.microsoft.com/office/drawing/2014/main" id="{87870139-C552-17BE-BD4E-1689000CACEF}"/>
              </a:ext>
            </a:extLst>
          </p:cNvPr>
          <p:cNvSpPr txBox="1">
            <a:spLocks noChangeArrowheads="1"/>
          </p:cNvSpPr>
          <p:nvPr/>
        </p:nvSpPr>
        <p:spPr bwMode="auto">
          <a:xfrm>
            <a:off x="689852" y="3227749"/>
            <a:ext cx="4619925" cy="419993"/>
          </a:xfrm>
          <a:prstGeom prst="rect">
            <a:avLst/>
          </a:prstGeom>
          <a:noFill/>
          <a:ln w="9525">
            <a:noFill/>
            <a:miter lim="800000"/>
            <a:headEnd/>
            <a:tailEnd/>
          </a:ln>
        </p:spPr>
        <p:txBody>
          <a:bodyPr lIns="137160" tIns="91440" rIns="0" bIns="0" anchor="t"/>
          <a:lstStyle>
            <a:lvl1pPr>
              <a:spcBef>
                <a:spcPts val="1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685800" indent="-228600">
              <a:spcBef>
                <a:spcPts val="500"/>
              </a:spcBef>
              <a:buFont typeface="Calibri" panose="020F050202020403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ts val="500"/>
              </a:spcBef>
              <a:buFont typeface="Calibri" panose="020F050202020403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mbined RSM US and RSM Canada</a:t>
            </a:r>
          </a:p>
        </p:txBody>
      </p:sp>
      <p:sp>
        <p:nvSpPr>
          <p:cNvPr id="19" name="Title 5">
            <a:extLst>
              <a:ext uri="{FF2B5EF4-FFF2-40B4-BE49-F238E27FC236}">
                <a16:creationId xmlns:a16="http://schemas.microsoft.com/office/drawing/2014/main" id="{B5C2C89E-CE7C-8848-39DE-AC658A29ACD5}"/>
              </a:ext>
            </a:extLst>
          </p:cNvPr>
          <p:cNvSpPr txBox="1">
            <a:spLocks noChangeArrowheads="1"/>
          </p:cNvSpPr>
          <p:nvPr/>
        </p:nvSpPr>
        <p:spPr bwMode="auto">
          <a:xfrm>
            <a:off x="2493928" y="3800142"/>
            <a:ext cx="1434713" cy="1417320"/>
          </a:xfrm>
          <a:prstGeom prst="rect">
            <a:avLst/>
          </a:prstGeom>
          <a:noFill/>
          <a:ln w="15875">
            <a:solidFill>
              <a:schemeClr val="bg1"/>
            </a:solidFill>
            <a:prstDash val="sysDot"/>
            <a:miter lim="800000"/>
            <a:headEnd/>
            <a:tailEnd/>
          </a:ln>
          <a:extLst>
            <a:ext uri="{909E8E84-426E-40DD-AFC4-6F175D3DCCD1}">
              <a14:hiddenFill xmlns:a14="http://schemas.microsoft.com/office/drawing/2010/main">
                <a:solidFill>
                  <a:srgbClr val="FFFFFF"/>
                </a:solidFill>
              </a14:hiddenFill>
            </a:ext>
          </a:extLst>
        </p:spPr>
        <p:txBody>
          <a:bodyPr lIns="91440" tIns="91440" rIns="91440" bIns="91440" anchor="t"/>
          <a:lstStyle>
            <a:lvl1pPr>
              <a:spcBef>
                <a:spcPts val="1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685800" indent="-228600">
              <a:spcBef>
                <a:spcPts val="500"/>
              </a:spcBef>
              <a:buFont typeface="Calibri" panose="020F050202020403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ts val="500"/>
              </a:spcBef>
              <a:buFont typeface="Calibri" panose="020F050202020403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30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1,150</a:t>
            </a:r>
            <a:br>
              <a:rPr kumimoji="0" lang="en-US" alt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br>
            <a:r>
              <a:rPr kumimoji="0" lang="en-US" alt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partners and principals in fiscal 2023</a:t>
            </a:r>
          </a:p>
        </p:txBody>
      </p:sp>
      <p:sp>
        <p:nvSpPr>
          <p:cNvPr id="20" name="Title 5">
            <a:extLst>
              <a:ext uri="{FF2B5EF4-FFF2-40B4-BE49-F238E27FC236}">
                <a16:creationId xmlns:a16="http://schemas.microsoft.com/office/drawing/2014/main" id="{69E740CB-34B9-4A88-B81C-E0E97603CCDB}"/>
              </a:ext>
            </a:extLst>
          </p:cNvPr>
          <p:cNvSpPr txBox="1">
            <a:spLocks noChangeArrowheads="1"/>
          </p:cNvSpPr>
          <p:nvPr/>
        </p:nvSpPr>
        <p:spPr bwMode="auto">
          <a:xfrm>
            <a:off x="4155839" y="3800142"/>
            <a:ext cx="1434713" cy="1417320"/>
          </a:xfrm>
          <a:prstGeom prst="rect">
            <a:avLst/>
          </a:prstGeom>
          <a:noFill/>
          <a:ln w="15875">
            <a:solidFill>
              <a:schemeClr val="bg1"/>
            </a:solidFill>
            <a:prstDash val="sysDot"/>
            <a:miter lim="800000"/>
            <a:headEnd/>
            <a:tailEnd/>
          </a:ln>
          <a:extLst>
            <a:ext uri="{909E8E84-426E-40DD-AFC4-6F175D3DCCD1}">
              <a14:hiddenFill xmlns:a14="http://schemas.microsoft.com/office/drawing/2010/main">
                <a:solidFill>
                  <a:srgbClr val="FFFFFF"/>
                </a:solidFill>
              </a14:hiddenFill>
            </a:ext>
          </a:extLst>
        </p:spPr>
        <p:txBody>
          <a:bodyPr lIns="91440" tIns="91440" rIns="91440" bIns="91440" anchor="t"/>
          <a:lstStyle>
            <a:lvl1pPr>
              <a:spcBef>
                <a:spcPts val="1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685800" indent="-228600">
              <a:spcBef>
                <a:spcPts val="500"/>
              </a:spcBef>
              <a:buFont typeface="Calibri" panose="020F050202020403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ts val="500"/>
              </a:spcBef>
              <a:buFont typeface="Calibri" panose="020F050202020403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5,462</a:t>
            </a:r>
            <a:br>
              <a:rPr kumimoji="0" lang="en-US" alt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mployees in fiscal 2023</a:t>
            </a:r>
          </a:p>
        </p:txBody>
      </p:sp>
      <p:sp>
        <p:nvSpPr>
          <p:cNvPr id="21" name="Title 5">
            <a:extLst>
              <a:ext uri="{FF2B5EF4-FFF2-40B4-BE49-F238E27FC236}">
                <a16:creationId xmlns:a16="http://schemas.microsoft.com/office/drawing/2014/main" id="{205E0017-3A7F-9D43-506B-F93BD7175697}"/>
              </a:ext>
            </a:extLst>
          </p:cNvPr>
          <p:cNvSpPr txBox="1">
            <a:spLocks noChangeArrowheads="1"/>
          </p:cNvSpPr>
          <p:nvPr/>
        </p:nvSpPr>
        <p:spPr bwMode="auto">
          <a:xfrm>
            <a:off x="832017" y="3800142"/>
            <a:ext cx="1434713" cy="1417320"/>
          </a:xfrm>
          <a:prstGeom prst="rect">
            <a:avLst/>
          </a:prstGeom>
          <a:noFill/>
          <a:ln w="15875">
            <a:solidFill>
              <a:schemeClr val="bg1"/>
            </a:solidFill>
            <a:prstDash val="sysDot"/>
            <a:miter lim="800000"/>
            <a:headEnd/>
            <a:tailEnd/>
          </a:ln>
          <a:extLst>
            <a:ext uri="{909E8E84-426E-40DD-AFC4-6F175D3DCCD1}">
              <a14:hiddenFill xmlns:a14="http://schemas.microsoft.com/office/drawing/2010/main">
                <a:solidFill>
                  <a:srgbClr val="FFFFFF"/>
                </a:solidFill>
              </a14:hiddenFill>
            </a:ext>
          </a:extLst>
        </p:spPr>
        <p:txBody>
          <a:bodyPr lIns="91440" tIns="91440" rIns="91440" bIns="91440" anchor="t"/>
          <a:lstStyle>
            <a:lvl1pPr>
              <a:spcBef>
                <a:spcPts val="1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685800" indent="-228600">
              <a:spcBef>
                <a:spcPts val="500"/>
              </a:spcBef>
              <a:buFont typeface="Calibri" panose="020F050202020403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ts val="500"/>
              </a:spcBef>
              <a:buFont typeface="Calibri" panose="020F050202020403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30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7B</a:t>
            </a:r>
            <a:br>
              <a:rPr kumimoji="0" lang="en-US" alt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evenue in fiscal 2023</a:t>
            </a:r>
          </a:p>
        </p:txBody>
      </p:sp>
      <p:sp>
        <p:nvSpPr>
          <p:cNvPr id="22" name="Title 5">
            <a:extLst>
              <a:ext uri="{FF2B5EF4-FFF2-40B4-BE49-F238E27FC236}">
                <a16:creationId xmlns:a16="http://schemas.microsoft.com/office/drawing/2014/main" id="{8D6B9C4C-17D1-32D8-F3C8-0748737896A5}"/>
              </a:ext>
            </a:extLst>
          </p:cNvPr>
          <p:cNvSpPr txBox="1">
            <a:spLocks noChangeArrowheads="1"/>
          </p:cNvSpPr>
          <p:nvPr/>
        </p:nvSpPr>
        <p:spPr bwMode="auto">
          <a:xfrm>
            <a:off x="6000390" y="3227749"/>
            <a:ext cx="4653365" cy="419993"/>
          </a:xfrm>
          <a:prstGeom prst="rect">
            <a:avLst/>
          </a:prstGeom>
          <a:noFill/>
          <a:ln w="9525">
            <a:noFill/>
            <a:miter lim="800000"/>
            <a:headEnd/>
            <a:tailEnd/>
          </a:ln>
        </p:spPr>
        <p:txBody>
          <a:bodyPr lIns="0" tIns="91440" rIns="0" bIns="0" anchor="t"/>
          <a:lstStyle>
            <a:lvl1pPr>
              <a:spcBef>
                <a:spcPts val="1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685800" indent="-228600">
              <a:spcBef>
                <a:spcPts val="500"/>
              </a:spcBef>
              <a:buFont typeface="Calibri" panose="020F050202020403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ts val="500"/>
              </a:spcBef>
              <a:buFont typeface="Calibri" panose="020F050202020403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evenue mix</a:t>
            </a:r>
          </a:p>
        </p:txBody>
      </p:sp>
      <p:grpSp>
        <p:nvGrpSpPr>
          <p:cNvPr id="60" name="Group 59">
            <a:extLst>
              <a:ext uri="{FF2B5EF4-FFF2-40B4-BE49-F238E27FC236}">
                <a16:creationId xmlns:a16="http://schemas.microsoft.com/office/drawing/2014/main" id="{29C44ADA-0A36-065F-C87D-F35657904077}"/>
              </a:ext>
            </a:extLst>
          </p:cNvPr>
          <p:cNvGrpSpPr/>
          <p:nvPr/>
        </p:nvGrpSpPr>
        <p:grpSpPr>
          <a:xfrm>
            <a:off x="7038199" y="3727100"/>
            <a:ext cx="1319135" cy="1316937"/>
            <a:chOff x="7313950" y="3998510"/>
            <a:chExt cx="1319135" cy="1316937"/>
          </a:xfrm>
        </p:grpSpPr>
        <p:sp>
          <p:nvSpPr>
            <p:cNvPr id="24" name="Oval 23">
              <a:extLst>
                <a:ext uri="{FF2B5EF4-FFF2-40B4-BE49-F238E27FC236}">
                  <a16:creationId xmlns:a16="http://schemas.microsoft.com/office/drawing/2014/main" id="{7D9CC72D-9E2F-692A-55CC-0BD37B49A14C}"/>
                </a:ext>
              </a:extLst>
            </p:cNvPr>
            <p:cNvSpPr/>
            <p:nvPr/>
          </p:nvSpPr>
          <p:spPr>
            <a:xfrm>
              <a:off x="7499117" y="4149083"/>
              <a:ext cx="991407" cy="991406"/>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25" name="Chart 24">
              <a:extLst>
                <a:ext uri="{FF2B5EF4-FFF2-40B4-BE49-F238E27FC236}">
                  <a16:creationId xmlns:a16="http://schemas.microsoft.com/office/drawing/2014/main" id="{FE582589-89D7-BE9B-EA3B-3CFC62BEB3D3}"/>
                </a:ext>
              </a:extLst>
            </p:cNvPr>
            <p:cNvGraphicFramePr/>
            <p:nvPr/>
          </p:nvGraphicFramePr>
          <p:xfrm>
            <a:off x="7313950" y="3998510"/>
            <a:ext cx="1319135" cy="1316937"/>
          </p:xfrm>
          <a:graphic>
            <a:graphicData uri="http://schemas.openxmlformats.org/drawingml/2006/chart">
              <c:chart xmlns:c="http://schemas.openxmlformats.org/drawingml/2006/chart" xmlns:r="http://schemas.openxmlformats.org/officeDocument/2006/relationships" r:id="rId5"/>
            </a:graphicData>
          </a:graphic>
        </p:graphicFrame>
      </p:grpSp>
      <p:grpSp>
        <p:nvGrpSpPr>
          <p:cNvPr id="63" name="Group 62">
            <a:extLst>
              <a:ext uri="{FF2B5EF4-FFF2-40B4-BE49-F238E27FC236}">
                <a16:creationId xmlns:a16="http://schemas.microsoft.com/office/drawing/2014/main" id="{F46BAB47-74C4-2B85-F15D-99A962E6B547}"/>
              </a:ext>
            </a:extLst>
          </p:cNvPr>
          <p:cNvGrpSpPr/>
          <p:nvPr/>
        </p:nvGrpSpPr>
        <p:grpSpPr>
          <a:xfrm>
            <a:off x="5851244" y="3710713"/>
            <a:ext cx="1319135" cy="1316937"/>
            <a:chOff x="8544092" y="3998510"/>
            <a:chExt cx="1319135" cy="1316937"/>
          </a:xfrm>
        </p:grpSpPr>
        <p:sp>
          <p:nvSpPr>
            <p:cNvPr id="28" name="Oval 27">
              <a:extLst>
                <a:ext uri="{FF2B5EF4-FFF2-40B4-BE49-F238E27FC236}">
                  <a16:creationId xmlns:a16="http://schemas.microsoft.com/office/drawing/2014/main" id="{414F378C-B1F6-DB35-B21F-C398E94544D2}"/>
                </a:ext>
              </a:extLst>
            </p:cNvPr>
            <p:cNvSpPr/>
            <p:nvPr/>
          </p:nvSpPr>
          <p:spPr>
            <a:xfrm>
              <a:off x="8729259" y="4149083"/>
              <a:ext cx="991407" cy="991406"/>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32" name="Chart 31">
              <a:extLst>
                <a:ext uri="{FF2B5EF4-FFF2-40B4-BE49-F238E27FC236}">
                  <a16:creationId xmlns:a16="http://schemas.microsoft.com/office/drawing/2014/main" id="{24AE7CC5-89FB-F402-D89D-BC650FB7EEC4}"/>
                </a:ext>
              </a:extLst>
            </p:cNvPr>
            <p:cNvGraphicFramePr/>
            <p:nvPr/>
          </p:nvGraphicFramePr>
          <p:xfrm>
            <a:off x="8544092" y="3998510"/>
            <a:ext cx="1319135" cy="1316937"/>
          </p:xfrm>
          <a:graphic>
            <a:graphicData uri="http://schemas.openxmlformats.org/drawingml/2006/chart">
              <c:chart xmlns:c="http://schemas.openxmlformats.org/drawingml/2006/chart" xmlns:r="http://schemas.openxmlformats.org/officeDocument/2006/relationships" r:id="rId6"/>
            </a:graphicData>
          </a:graphic>
        </p:graphicFrame>
      </p:grpSp>
      <p:grpSp>
        <p:nvGrpSpPr>
          <p:cNvPr id="62" name="Group 61">
            <a:extLst>
              <a:ext uri="{FF2B5EF4-FFF2-40B4-BE49-F238E27FC236}">
                <a16:creationId xmlns:a16="http://schemas.microsoft.com/office/drawing/2014/main" id="{23318929-F4D6-EDB3-318B-9334ED52628F}"/>
              </a:ext>
            </a:extLst>
          </p:cNvPr>
          <p:cNvGrpSpPr/>
          <p:nvPr/>
        </p:nvGrpSpPr>
        <p:grpSpPr>
          <a:xfrm>
            <a:off x="9498484" y="3727100"/>
            <a:ext cx="1319135" cy="1316937"/>
            <a:chOff x="9774235" y="3998510"/>
            <a:chExt cx="1319135" cy="1316937"/>
          </a:xfrm>
        </p:grpSpPr>
        <p:sp>
          <p:nvSpPr>
            <p:cNvPr id="33" name="Oval 32">
              <a:extLst>
                <a:ext uri="{FF2B5EF4-FFF2-40B4-BE49-F238E27FC236}">
                  <a16:creationId xmlns:a16="http://schemas.microsoft.com/office/drawing/2014/main" id="{F0A1B7DE-5D9D-9948-E479-3AA31B831107}"/>
                </a:ext>
              </a:extLst>
            </p:cNvPr>
            <p:cNvSpPr/>
            <p:nvPr/>
          </p:nvSpPr>
          <p:spPr>
            <a:xfrm>
              <a:off x="9938099" y="4149083"/>
              <a:ext cx="991407" cy="991406"/>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34" name="Chart 33">
              <a:extLst>
                <a:ext uri="{FF2B5EF4-FFF2-40B4-BE49-F238E27FC236}">
                  <a16:creationId xmlns:a16="http://schemas.microsoft.com/office/drawing/2014/main" id="{4B0541F4-E880-148A-169D-D4AE6EA7C256}"/>
                </a:ext>
              </a:extLst>
            </p:cNvPr>
            <p:cNvGraphicFramePr/>
            <p:nvPr/>
          </p:nvGraphicFramePr>
          <p:xfrm>
            <a:off x="9774235" y="3998510"/>
            <a:ext cx="1319135" cy="1316937"/>
          </p:xfrm>
          <a:graphic>
            <a:graphicData uri="http://schemas.openxmlformats.org/drawingml/2006/chart">
              <c:chart xmlns:c="http://schemas.openxmlformats.org/drawingml/2006/chart" xmlns:r="http://schemas.openxmlformats.org/officeDocument/2006/relationships" r:id="rId7"/>
            </a:graphicData>
          </a:graphic>
        </p:graphicFrame>
      </p:grpSp>
      <p:sp>
        <p:nvSpPr>
          <p:cNvPr id="37" name="Title 5">
            <a:extLst>
              <a:ext uri="{FF2B5EF4-FFF2-40B4-BE49-F238E27FC236}">
                <a16:creationId xmlns:a16="http://schemas.microsoft.com/office/drawing/2014/main" id="{F0CAD558-AFB6-F023-09B9-1838F81F50AD}"/>
              </a:ext>
            </a:extLst>
          </p:cNvPr>
          <p:cNvSpPr txBox="1">
            <a:spLocks noChangeArrowheads="1"/>
          </p:cNvSpPr>
          <p:nvPr/>
        </p:nvSpPr>
        <p:spPr bwMode="auto">
          <a:xfrm>
            <a:off x="7485828" y="4209638"/>
            <a:ext cx="521150" cy="35186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spcBef>
                <a:spcPts val="1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685800" indent="-228600">
              <a:spcBef>
                <a:spcPts val="500"/>
              </a:spcBef>
              <a:buFont typeface="Calibri" panose="020F050202020403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ts val="500"/>
              </a:spcBef>
              <a:buFont typeface="Calibri" panose="020F050202020403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300"/>
              </a:spcAft>
              <a:buClrTx/>
              <a:buSzTx/>
              <a:buFontTx/>
              <a:buNone/>
              <a:tabLst/>
              <a:defRPr/>
            </a:pPr>
            <a:r>
              <a:rPr kumimoji="0" lang="en-US" alt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3%</a:t>
            </a:r>
          </a:p>
        </p:txBody>
      </p:sp>
      <p:sp>
        <p:nvSpPr>
          <p:cNvPr id="38" name="Title 5">
            <a:extLst>
              <a:ext uri="{FF2B5EF4-FFF2-40B4-BE49-F238E27FC236}">
                <a16:creationId xmlns:a16="http://schemas.microsoft.com/office/drawing/2014/main" id="{94924A81-50A3-79C0-1B8A-56E2BE38422F}"/>
              </a:ext>
            </a:extLst>
          </p:cNvPr>
          <p:cNvSpPr txBox="1">
            <a:spLocks noChangeArrowheads="1"/>
          </p:cNvSpPr>
          <p:nvPr/>
        </p:nvSpPr>
        <p:spPr bwMode="auto">
          <a:xfrm>
            <a:off x="8667334" y="4209638"/>
            <a:ext cx="521150" cy="35186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spcBef>
                <a:spcPts val="1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685800" indent="-228600">
              <a:spcBef>
                <a:spcPts val="500"/>
              </a:spcBef>
              <a:buFont typeface="Calibri" panose="020F050202020403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ts val="500"/>
              </a:spcBef>
              <a:buFont typeface="Calibri" panose="020F050202020403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300"/>
              </a:spcAft>
              <a:buClrTx/>
              <a:buSzTx/>
              <a:buFontTx/>
              <a:buNone/>
              <a:tabLst/>
              <a:defRPr/>
            </a:pPr>
            <a:r>
              <a:rPr kumimoji="0" lang="en-US" altLang="en-US" sz="1600" b="0" i="0" u="none" strike="noStrike" kern="1200" cap="none" spc="0" normalizeH="0" baseline="0" noProof="0">
                <a:ln>
                  <a:noFill/>
                </a:ln>
                <a:solidFill>
                  <a:srgbClr val="FFFFFF"/>
                </a:solidFill>
                <a:effectLst/>
                <a:uLnTx/>
                <a:uFillTx/>
                <a:latin typeface="Arial"/>
                <a:ea typeface="+mn-ea"/>
                <a:cs typeface="Arial"/>
              </a:rPr>
              <a:t>28%</a:t>
            </a:r>
          </a:p>
        </p:txBody>
      </p:sp>
      <p:sp>
        <p:nvSpPr>
          <p:cNvPr id="39" name="Title 5">
            <a:extLst>
              <a:ext uri="{FF2B5EF4-FFF2-40B4-BE49-F238E27FC236}">
                <a16:creationId xmlns:a16="http://schemas.microsoft.com/office/drawing/2014/main" id="{36499F78-46C6-055B-219E-9FC47176AC97}"/>
              </a:ext>
            </a:extLst>
          </p:cNvPr>
          <p:cNvSpPr txBox="1">
            <a:spLocks noChangeArrowheads="1"/>
          </p:cNvSpPr>
          <p:nvPr/>
        </p:nvSpPr>
        <p:spPr bwMode="auto">
          <a:xfrm>
            <a:off x="7139384" y="5033525"/>
            <a:ext cx="1104542" cy="29337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t"/>
          <a:lstStyle>
            <a:lvl1pPr>
              <a:spcBef>
                <a:spcPts val="1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685800" indent="-228600">
              <a:spcBef>
                <a:spcPts val="500"/>
              </a:spcBef>
              <a:buFont typeface="Calibri" panose="020F050202020403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ts val="500"/>
              </a:spcBef>
              <a:buFont typeface="Calibri" panose="020F050202020403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300"/>
              </a:spcAft>
              <a:buClrTx/>
              <a:buSzTx/>
              <a:buFontTx/>
              <a:buNone/>
              <a:tabLst/>
              <a:defRPr/>
            </a:pPr>
            <a:r>
              <a:rPr kumimoji="0" lang="en-US" alt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x</a:t>
            </a:r>
          </a:p>
        </p:txBody>
      </p:sp>
      <p:sp>
        <p:nvSpPr>
          <p:cNvPr id="40" name="Title 5">
            <a:extLst>
              <a:ext uri="{FF2B5EF4-FFF2-40B4-BE49-F238E27FC236}">
                <a16:creationId xmlns:a16="http://schemas.microsoft.com/office/drawing/2014/main" id="{594AC24F-260D-4B4B-BA30-11C334EA1776}"/>
              </a:ext>
            </a:extLst>
          </p:cNvPr>
          <p:cNvSpPr txBox="1">
            <a:spLocks noChangeArrowheads="1"/>
          </p:cNvSpPr>
          <p:nvPr/>
        </p:nvSpPr>
        <p:spPr bwMode="auto">
          <a:xfrm>
            <a:off x="8381749" y="5033525"/>
            <a:ext cx="1104542" cy="29337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t"/>
          <a:lstStyle>
            <a:lvl1pPr>
              <a:spcBef>
                <a:spcPts val="1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685800" indent="-228600">
              <a:spcBef>
                <a:spcPts val="500"/>
              </a:spcBef>
              <a:buFont typeface="Calibri" panose="020F050202020403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ts val="500"/>
              </a:spcBef>
              <a:buFont typeface="Calibri" panose="020F050202020403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30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rgbClr val="FFFFFF"/>
                </a:solidFill>
                <a:effectLst/>
                <a:uLnTx/>
                <a:uFillTx/>
                <a:latin typeface="Arial"/>
                <a:ea typeface="+mn-ea"/>
                <a:cs typeface="Arial"/>
              </a:rPr>
              <a:t>Assurance</a:t>
            </a:r>
            <a:endParaRPr kumimoji="0" lang="en-US" sz="2800" b="0" i="0" u="none" strike="noStrike" kern="1200" cap="none" spc="0" normalizeH="0" baseline="0" noProof="0">
              <a:ln>
                <a:noFill/>
              </a:ln>
              <a:solidFill>
                <a:srgbClr val="141439"/>
              </a:solidFill>
              <a:effectLst/>
              <a:uLnTx/>
              <a:uFillTx/>
              <a:latin typeface="Arial" panose="020B0604020202020204" pitchFamily="34" charset="0"/>
              <a:ea typeface="+mn-ea"/>
              <a:cs typeface="Arial" panose="020B0604020202020204" pitchFamily="34" charset="0"/>
            </a:endParaRPr>
          </a:p>
        </p:txBody>
      </p:sp>
      <p:sp>
        <p:nvSpPr>
          <p:cNvPr id="41" name="Title 5">
            <a:extLst>
              <a:ext uri="{FF2B5EF4-FFF2-40B4-BE49-F238E27FC236}">
                <a16:creationId xmlns:a16="http://schemas.microsoft.com/office/drawing/2014/main" id="{CEEBD649-A2BC-6810-DF9B-81BDAD13A3E9}"/>
              </a:ext>
            </a:extLst>
          </p:cNvPr>
          <p:cNvSpPr txBox="1">
            <a:spLocks noChangeArrowheads="1"/>
          </p:cNvSpPr>
          <p:nvPr/>
        </p:nvSpPr>
        <p:spPr bwMode="auto">
          <a:xfrm>
            <a:off x="9638450" y="5033525"/>
            <a:ext cx="1104542" cy="29337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t"/>
          <a:lstStyle>
            <a:lvl1pPr>
              <a:spcBef>
                <a:spcPts val="1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685800" indent="-228600">
              <a:spcBef>
                <a:spcPts val="500"/>
              </a:spcBef>
              <a:buFont typeface="Calibri" panose="020F050202020403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ts val="500"/>
              </a:spcBef>
              <a:buFont typeface="Calibri" panose="020F050202020403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300"/>
              </a:spcAft>
              <a:buClrTx/>
              <a:buSzTx/>
              <a:buFontTx/>
              <a:buNone/>
              <a:tabLst/>
              <a:defRPr/>
            </a:pPr>
            <a:r>
              <a:rPr kumimoji="0" lang="en-US" alt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ther</a:t>
            </a:r>
          </a:p>
        </p:txBody>
      </p:sp>
      <p:sp>
        <p:nvSpPr>
          <p:cNvPr id="42" name="Title 5">
            <a:extLst>
              <a:ext uri="{FF2B5EF4-FFF2-40B4-BE49-F238E27FC236}">
                <a16:creationId xmlns:a16="http://schemas.microsoft.com/office/drawing/2014/main" id="{EAAF2110-45BC-F3DF-C43F-859AAED0FD21}"/>
              </a:ext>
            </a:extLst>
          </p:cNvPr>
          <p:cNvSpPr txBox="1">
            <a:spLocks noChangeArrowheads="1"/>
          </p:cNvSpPr>
          <p:nvPr/>
        </p:nvSpPr>
        <p:spPr bwMode="auto">
          <a:xfrm>
            <a:off x="9897476" y="4209638"/>
            <a:ext cx="521150" cy="35186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spcBef>
                <a:spcPts val="1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685800" indent="-228600">
              <a:spcBef>
                <a:spcPts val="500"/>
              </a:spcBef>
              <a:buFont typeface="Calibri" panose="020F050202020403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ts val="500"/>
              </a:spcBef>
              <a:buFont typeface="Calibri" panose="020F050202020403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300"/>
              </a:spcAft>
              <a:buClrTx/>
              <a:buSzTx/>
              <a:buFontTx/>
              <a:buNone/>
              <a:tabLst/>
              <a:defRPr/>
            </a:pPr>
            <a:r>
              <a:rPr kumimoji="0" lang="en-US" alt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1%</a:t>
            </a:r>
          </a:p>
        </p:txBody>
      </p:sp>
      <p:grpSp>
        <p:nvGrpSpPr>
          <p:cNvPr id="57" name="Group 56">
            <a:extLst>
              <a:ext uri="{FF2B5EF4-FFF2-40B4-BE49-F238E27FC236}">
                <a16:creationId xmlns:a16="http://schemas.microsoft.com/office/drawing/2014/main" id="{1D299890-4596-402A-97D9-FE8860AFC592}"/>
              </a:ext>
            </a:extLst>
          </p:cNvPr>
          <p:cNvGrpSpPr/>
          <p:nvPr/>
        </p:nvGrpSpPr>
        <p:grpSpPr>
          <a:xfrm>
            <a:off x="8261926" y="3710713"/>
            <a:ext cx="1319135" cy="1316937"/>
            <a:chOff x="6096000" y="3998510"/>
            <a:chExt cx="1319135" cy="1316937"/>
          </a:xfrm>
        </p:grpSpPr>
        <p:graphicFrame>
          <p:nvGraphicFramePr>
            <p:cNvPr id="23" name="Chart 22">
              <a:extLst>
                <a:ext uri="{FF2B5EF4-FFF2-40B4-BE49-F238E27FC236}">
                  <a16:creationId xmlns:a16="http://schemas.microsoft.com/office/drawing/2014/main" id="{04DD9A95-174D-4069-C567-3449C1426535}"/>
                </a:ext>
              </a:extLst>
            </p:cNvPr>
            <p:cNvGraphicFramePr/>
            <p:nvPr/>
          </p:nvGraphicFramePr>
          <p:xfrm>
            <a:off x="6096000" y="3998510"/>
            <a:ext cx="1319135" cy="1316937"/>
          </p:xfrm>
          <a:graphic>
            <a:graphicData uri="http://schemas.openxmlformats.org/drawingml/2006/chart">
              <c:chart xmlns:c="http://schemas.openxmlformats.org/drawingml/2006/chart" xmlns:r="http://schemas.openxmlformats.org/officeDocument/2006/relationships" r:id="rId8"/>
            </a:graphicData>
          </a:graphic>
        </p:graphicFrame>
        <p:sp>
          <p:nvSpPr>
            <p:cNvPr id="43" name="Oval 42">
              <a:extLst>
                <a:ext uri="{FF2B5EF4-FFF2-40B4-BE49-F238E27FC236}">
                  <a16:creationId xmlns:a16="http://schemas.microsoft.com/office/drawing/2014/main" id="{B11C4E84-AD95-CC7A-6EAE-9B51068C1A8C}"/>
                </a:ext>
              </a:extLst>
            </p:cNvPr>
            <p:cNvSpPr/>
            <p:nvPr/>
          </p:nvSpPr>
          <p:spPr>
            <a:xfrm>
              <a:off x="6276141" y="4140668"/>
              <a:ext cx="991407" cy="991406"/>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pSp>
      <p:sp>
        <p:nvSpPr>
          <p:cNvPr id="58" name="Title 5">
            <a:extLst>
              <a:ext uri="{FF2B5EF4-FFF2-40B4-BE49-F238E27FC236}">
                <a16:creationId xmlns:a16="http://schemas.microsoft.com/office/drawing/2014/main" id="{E5D7C429-58E5-2183-2E88-37A23B4BA76B}"/>
              </a:ext>
            </a:extLst>
          </p:cNvPr>
          <p:cNvSpPr txBox="1">
            <a:spLocks noChangeArrowheads="1"/>
          </p:cNvSpPr>
          <p:nvPr/>
        </p:nvSpPr>
        <p:spPr bwMode="auto">
          <a:xfrm>
            <a:off x="5927545" y="5023012"/>
            <a:ext cx="1104542" cy="29337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t"/>
          <a:lstStyle>
            <a:lvl1pPr>
              <a:spcBef>
                <a:spcPts val="1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685800" indent="-228600">
              <a:spcBef>
                <a:spcPts val="500"/>
              </a:spcBef>
              <a:buFont typeface="Calibri" panose="020F050202020403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ts val="500"/>
              </a:spcBef>
              <a:buFont typeface="Calibri" panose="020F050202020403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30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rgbClr val="FFFFFF"/>
                </a:solidFill>
                <a:effectLst/>
                <a:uLnTx/>
                <a:uFillTx/>
                <a:latin typeface="Arial"/>
                <a:ea typeface="+mn-ea"/>
                <a:cs typeface="Arial"/>
              </a:rPr>
              <a:t>Consulting</a:t>
            </a:r>
            <a:endParaRPr kumimoji="0" lang="en-US" sz="2800" b="0" i="0" u="none" strike="noStrike" kern="1200" cap="none" spc="0" normalizeH="0" baseline="0" noProof="0">
              <a:ln>
                <a:noFill/>
              </a:ln>
              <a:solidFill>
                <a:srgbClr val="141439"/>
              </a:solidFill>
              <a:effectLst/>
              <a:uLnTx/>
              <a:uFillTx/>
              <a:latin typeface="Arial" panose="020B0604020202020204" pitchFamily="34" charset="0"/>
              <a:ea typeface="+mn-ea"/>
              <a:cs typeface="Arial" panose="020B0604020202020204" pitchFamily="34" charset="0"/>
            </a:endParaRPr>
          </a:p>
        </p:txBody>
      </p:sp>
      <p:sp>
        <p:nvSpPr>
          <p:cNvPr id="59" name="Title 5">
            <a:extLst>
              <a:ext uri="{FF2B5EF4-FFF2-40B4-BE49-F238E27FC236}">
                <a16:creationId xmlns:a16="http://schemas.microsoft.com/office/drawing/2014/main" id="{B0655AFD-D9CC-6643-50C2-8E8C2D3B78D2}"/>
              </a:ext>
            </a:extLst>
          </p:cNvPr>
          <p:cNvSpPr txBox="1">
            <a:spLocks noChangeArrowheads="1"/>
          </p:cNvSpPr>
          <p:nvPr/>
        </p:nvSpPr>
        <p:spPr bwMode="auto">
          <a:xfrm>
            <a:off x="6252651" y="4209638"/>
            <a:ext cx="521150" cy="35186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spcBef>
                <a:spcPts val="1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685800" indent="-228600">
              <a:spcBef>
                <a:spcPts val="500"/>
              </a:spcBef>
              <a:buFont typeface="Calibri" panose="020F050202020403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ts val="500"/>
              </a:spcBef>
              <a:buFont typeface="Calibri" panose="020F050202020403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500"/>
              </a:spcBef>
              <a:spcAft>
                <a:spcPct val="0"/>
              </a:spcAft>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300"/>
              </a:spcAft>
              <a:buClrTx/>
              <a:buSzTx/>
              <a:buFontTx/>
              <a:buNone/>
              <a:tabLst/>
              <a:defRPr/>
            </a:pPr>
            <a:r>
              <a:rPr kumimoji="0" lang="en-US" altLang="en-US" sz="1600" b="0" i="0" u="none" strike="noStrike" kern="1200" cap="none" spc="0" normalizeH="0" baseline="0" noProof="0">
                <a:ln>
                  <a:noFill/>
                </a:ln>
                <a:solidFill>
                  <a:srgbClr val="FFFFFF"/>
                </a:solidFill>
                <a:effectLst/>
                <a:uLnTx/>
                <a:uFillTx/>
                <a:latin typeface="Arial"/>
                <a:ea typeface="+mn-ea"/>
                <a:cs typeface="Arial"/>
              </a:rPr>
              <a:t>38%</a:t>
            </a:r>
          </a:p>
        </p:txBody>
      </p:sp>
    </p:spTree>
    <p:extLst>
      <p:ext uri="{BB962C8B-B14F-4D97-AF65-F5344CB8AC3E}">
        <p14:creationId xmlns:p14="http://schemas.microsoft.com/office/powerpoint/2010/main" val="313228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608"/>
        <p:cNvGrpSpPr/>
        <p:nvPr/>
      </p:nvGrpSpPr>
      <p:grpSpPr>
        <a:xfrm>
          <a:off x="0" y="0"/>
          <a:ext cx="0" cy="0"/>
          <a:chOff x="0" y="0"/>
          <a:chExt cx="0" cy="0"/>
        </a:xfrm>
      </p:grpSpPr>
      <p:sp>
        <p:nvSpPr>
          <p:cNvPr id="1638" name="Google Shape;1638;p15"/>
          <p:cNvSpPr txBox="1">
            <a:spLocks noGrp="1"/>
          </p:cNvSpPr>
          <p:nvPr>
            <p:ph type="sldNum" idx="4294967295"/>
          </p:nvPr>
        </p:nvSpPr>
        <p:spPr>
          <a:xfrm>
            <a:off x="11425238" y="6519863"/>
            <a:ext cx="766762" cy="222250"/>
          </a:xfrm>
          <a:prstGeom prst="rect">
            <a:avLst/>
          </a:prstGeom>
          <a:noFill/>
          <a:ln>
            <a:noFill/>
          </a:ln>
        </p:spPr>
        <p:txBody>
          <a:bodyPr spcFirstLastPara="1"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800" b="0" i="0" u="none" strike="noStrike" kern="1200" cap="none" spc="0" normalizeH="0" baseline="0" noProof="0" smtClean="0">
                <a:ln>
                  <a:noFill/>
                </a:ln>
                <a:solidFill>
                  <a:srgbClr val="7F7F7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0</a:t>
            </a:fld>
            <a:endParaRPr kumimoji="0" lang="en-US" sz="800" b="0" i="0" u="none" strike="noStrike" kern="1200" cap="none" spc="0" normalizeH="0" baseline="0" noProof="0">
              <a:ln>
                <a:noFill/>
              </a:ln>
              <a:solidFill>
                <a:srgbClr val="7F7F7F"/>
              </a:solidFill>
              <a:effectLst/>
              <a:uLnTx/>
              <a:uFillTx/>
              <a:latin typeface="Arial"/>
              <a:cs typeface="Arial"/>
              <a:sym typeface="Arial"/>
            </a:endParaRPr>
          </a:p>
        </p:txBody>
      </p:sp>
      <p:sp>
        <p:nvSpPr>
          <p:cNvPr id="1639" name="Google Shape;1639;p15"/>
          <p:cNvSpPr txBox="1">
            <a:spLocks noGrp="1"/>
          </p:cNvSpPr>
          <p:nvPr>
            <p:ph type="body" idx="4294967295"/>
          </p:nvPr>
        </p:nvSpPr>
        <p:spPr>
          <a:xfrm>
            <a:off x="725428" y="3508538"/>
            <a:ext cx="6162997" cy="1274762"/>
          </a:xfrm>
          <a:prstGeom prst="rect">
            <a:avLst/>
          </a:prstGeom>
          <a:noFill/>
          <a:ln>
            <a:noFill/>
          </a:ln>
        </p:spPr>
        <p:txBody>
          <a:bodyPr spcFirstLastPara="1" wrap="square" lIns="0" tIns="30467" rIns="0" bIns="30467" anchor="t" anchorCtr="0">
            <a:spAutoFit/>
          </a:bodyPr>
          <a:lstStyle/>
          <a:p>
            <a:pPr marL="171450" indent="-171450">
              <a:lnSpc>
                <a:spcPct val="150000"/>
              </a:lnSpc>
              <a:spcBef>
                <a:spcPts val="0"/>
              </a:spcBef>
              <a:buClr>
                <a:srgbClr val="009CDE"/>
              </a:buClr>
              <a:buSzPct val="150000"/>
              <a:buChar char="•"/>
            </a:pPr>
            <a:r>
              <a:rPr lang="en-US" sz="1050" dirty="0">
                <a:solidFill>
                  <a:schemeClr val="accent2"/>
                </a:solidFill>
                <a:latin typeface="+mn-lt"/>
                <a:cs typeface="+mn-cs"/>
              </a:rPr>
              <a:t>Deploys in seconds</a:t>
            </a:r>
          </a:p>
          <a:p>
            <a:pPr marL="171450" indent="-171450">
              <a:lnSpc>
                <a:spcPct val="150000"/>
              </a:lnSpc>
              <a:spcBef>
                <a:spcPts val="0"/>
              </a:spcBef>
              <a:buClr>
                <a:srgbClr val="009CDE"/>
              </a:buClr>
              <a:buSzPct val="150000"/>
              <a:buChar char="•"/>
            </a:pPr>
            <a:r>
              <a:rPr lang="en-US" sz="1050" dirty="0">
                <a:solidFill>
                  <a:schemeClr val="accent2"/>
                </a:solidFill>
                <a:latin typeface="+mn-lt"/>
                <a:cs typeface="+mn-cs"/>
              </a:rPr>
              <a:t>DNS resolver – built-in support for DNSSEC, DNS over HTTPS, and DNS over TLS</a:t>
            </a:r>
          </a:p>
          <a:p>
            <a:pPr marL="171450" indent="-171450">
              <a:lnSpc>
                <a:spcPct val="150000"/>
              </a:lnSpc>
              <a:spcBef>
                <a:spcPts val="0"/>
              </a:spcBef>
              <a:buClr>
                <a:srgbClr val="009CDE"/>
              </a:buClr>
              <a:buSzPct val="150000"/>
              <a:buChar char="•"/>
            </a:pPr>
            <a:r>
              <a:rPr lang="en-US" sz="1050" dirty="0">
                <a:solidFill>
                  <a:schemeClr val="accent2"/>
                </a:solidFill>
                <a:latin typeface="+mn-lt"/>
                <a:cs typeface="+mn-cs"/>
              </a:rPr>
              <a:t>Real-time native integrations with SentinelOne and Microsoft Defender for Endpoint</a:t>
            </a:r>
          </a:p>
          <a:p>
            <a:pPr marL="171450" indent="-171450">
              <a:lnSpc>
                <a:spcPct val="150000"/>
              </a:lnSpc>
              <a:spcBef>
                <a:spcPts val="0"/>
              </a:spcBef>
              <a:buClr>
                <a:srgbClr val="009CDE"/>
              </a:buClr>
              <a:buSzPct val="150000"/>
              <a:buChar char="•"/>
            </a:pPr>
            <a:r>
              <a:rPr lang="en-US" sz="1050" dirty="0">
                <a:solidFill>
                  <a:schemeClr val="accent2"/>
                </a:solidFill>
                <a:latin typeface="+mn-lt"/>
                <a:cs typeface="+mn-cs"/>
              </a:rPr>
              <a:t>Windows, Mac, iOS, and Android coverage </a:t>
            </a:r>
          </a:p>
          <a:p>
            <a:pPr marL="171450" indent="-171450">
              <a:lnSpc>
                <a:spcPct val="150000"/>
              </a:lnSpc>
              <a:spcBef>
                <a:spcPts val="0"/>
              </a:spcBef>
              <a:buClr>
                <a:srgbClr val="009CDE"/>
              </a:buClr>
              <a:buSzPct val="150000"/>
              <a:buChar char="•"/>
            </a:pPr>
            <a:r>
              <a:rPr lang="en-US" sz="1050" dirty="0">
                <a:solidFill>
                  <a:schemeClr val="accent2"/>
                </a:solidFill>
                <a:latin typeface="+mn-lt"/>
                <a:cs typeface="+mn-cs"/>
              </a:rPr>
              <a:t>Block harmful or inappropriate web content</a:t>
            </a:r>
          </a:p>
        </p:txBody>
      </p:sp>
      <p:sp>
        <p:nvSpPr>
          <p:cNvPr id="6" name="TextBox 5">
            <a:extLst>
              <a:ext uri="{FF2B5EF4-FFF2-40B4-BE49-F238E27FC236}">
                <a16:creationId xmlns:a16="http://schemas.microsoft.com/office/drawing/2014/main" id="{7E4BFCEB-C2B7-B39A-96CA-6FE593574C85}"/>
              </a:ext>
            </a:extLst>
          </p:cNvPr>
          <p:cNvSpPr txBox="1"/>
          <p:nvPr/>
        </p:nvSpPr>
        <p:spPr>
          <a:xfrm>
            <a:off x="609600" y="1254827"/>
            <a:ext cx="5874358" cy="181588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5"/>
                </a:solidFill>
                <a:effectLst/>
                <a:uLnTx/>
                <a:uFillTx/>
                <a:latin typeface="Arial" panose="020B0604020202020204"/>
                <a:ea typeface="+mn-ea"/>
                <a:cs typeface="+mn-cs"/>
              </a:rPr>
              <a:t>RSM Defense has partnered with HYAS to further protect our clients, enforce security, and block command and control communication used by attacke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accent5"/>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5"/>
                </a:solidFill>
                <a:effectLst/>
                <a:uLnTx/>
                <a:uFillTx/>
                <a:latin typeface="Arial" panose="020B0604020202020204"/>
                <a:ea typeface="+mn-ea"/>
                <a:cs typeface="+mn-cs"/>
              </a:rPr>
              <a:t>HYAS collects DNS data and organizes it in a comprehensive database, providing you a crucial advantage in staying ahead of cyber criminals. </a:t>
            </a:r>
          </a:p>
        </p:txBody>
      </p:sp>
      <p:pic>
        <p:nvPicPr>
          <p:cNvPr id="9" name="Graphic 8" descr="A logo with a black background&#10;&#10;Description automatically generated">
            <a:extLst>
              <a:ext uri="{FF2B5EF4-FFF2-40B4-BE49-F238E27FC236}">
                <a16:creationId xmlns:a16="http://schemas.microsoft.com/office/drawing/2014/main" id="{5C53A8E8-3C40-FA96-7129-80DDEA1057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96200" y="1434905"/>
            <a:ext cx="762000" cy="769351"/>
          </a:xfrm>
          <a:prstGeom prst="rect">
            <a:avLst/>
          </a:prstGeom>
        </p:spPr>
      </p:pic>
      <p:pic>
        <p:nvPicPr>
          <p:cNvPr id="4" name="Picture 3">
            <a:extLst>
              <a:ext uri="{FF2B5EF4-FFF2-40B4-BE49-F238E27FC236}">
                <a16:creationId xmlns:a16="http://schemas.microsoft.com/office/drawing/2014/main" id="{BC106B3E-672E-6533-0A40-5C15DF1ED3F7}"/>
              </a:ext>
            </a:extLst>
          </p:cNvPr>
          <p:cNvPicPr>
            <a:picLocks noChangeAspect="1"/>
          </p:cNvPicPr>
          <p:nvPr/>
        </p:nvPicPr>
        <p:blipFill>
          <a:blip r:embed="rId5"/>
          <a:stretch>
            <a:fillRect/>
          </a:stretch>
        </p:blipFill>
        <p:spPr>
          <a:xfrm>
            <a:off x="9357774" y="1317650"/>
            <a:ext cx="2487609" cy="3450980"/>
          </a:xfrm>
          <a:prstGeom prst="rect">
            <a:avLst/>
          </a:prstGeom>
        </p:spPr>
      </p:pic>
      <p:grpSp>
        <p:nvGrpSpPr>
          <p:cNvPr id="7" name="Google Shape;1640;p15">
            <a:extLst>
              <a:ext uri="{FF2B5EF4-FFF2-40B4-BE49-F238E27FC236}">
                <a16:creationId xmlns:a16="http://schemas.microsoft.com/office/drawing/2014/main" id="{16FD0A75-BCFD-D6F0-0ACB-F5E1D8AFFC0D}"/>
              </a:ext>
            </a:extLst>
          </p:cNvPr>
          <p:cNvGrpSpPr/>
          <p:nvPr/>
        </p:nvGrpSpPr>
        <p:grpSpPr>
          <a:xfrm>
            <a:off x="725428" y="3156943"/>
            <a:ext cx="5059039" cy="433697"/>
            <a:chOff x="802038" y="3153676"/>
            <a:chExt cx="7694099" cy="641100"/>
          </a:xfrm>
        </p:grpSpPr>
        <p:sp>
          <p:nvSpPr>
            <p:cNvPr id="8" name="Google Shape;1641;p15">
              <a:extLst>
                <a:ext uri="{FF2B5EF4-FFF2-40B4-BE49-F238E27FC236}">
                  <a16:creationId xmlns:a16="http://schemas.microsoft.com/office/drawing/2014/main" id="{FA0861A1-8311-D5BB-D148-C875DB04E5CB}"/>
                </a:ext>
              </a:extLst>
            </p:cNvPr>
            <p:cNvSpPr txBox="1"/>
            <p:nvPr/>
          </p:nvSpPr>
          <p:spPr>
            <a:xfrm>
              <a:off x="802038" y="3153676"/>
              <a:ext cx="1712399" cy="641100"/>
            </a:xfrm>
            <a:prstGeom prst="rect">
              <a:avLst/>
            </a:prstGeom>
            <a:noFill/>
            <a:ln>
              <a:noFill/>
            </a:ln>
          </p:spPr>
          <p:txBody>
            <a:bodyPr spcFirstLastPara="1" wrap="square" lIns="0" tIns="30467" rIns="0" bIns="30467" anchor="t" anchorCtr="0">
              <a:noAutofit/>
            </a:bodyPr>
            <a:lstStyle/>
            <a:p>
              <a:pPr marL="0" marR="0" lvl="0" indent="0" algn="l" defTabSz="914400" rtl="0" eaLnBrk="1" fontAlgn="auto" latinLnBrk="0" hangingPunct="1">
                <a:lnSpc>
                  <a:spcPct val="100000"/>
                </a:lnSpc>
                <a:spcBef>
                  <a:spcPts val="400"/>
                </a:spcBef>
                <a:spcAft>
                  <a:spcPts val="0"/>
                </a:spcAft>
                <a:buClr>
                  <a:srgbClr val="595959"/>
                </a:buClr>
                <a:buSzPts val="1100"/>
                <a:buFontTx/>
                <a:buNone/>
                <a:tabLst/>
                <a:defRPr/>
              </a:pPr>
              <a:r>
                <a:rPr kumimoji="0" lang="en-US" sz="1600" b="1" i="0" u="none" strike="noStrike" kern="1200" cap="none" spc="0" normalizeH="0" baseline="0" noProof="0" dirty="0">
                  <a:ln>
                    <a:noFill/>
                  </a:ln>
                  <a:solidFill>
                    <a:srgbClr val="009CDE"/>
                  </a:solidFill>
                  <a:effectLst/>
                  <a:uLnTx/>
                  <a:uFillTx/>
                  <a:latin typeface="Arial"/>
                  <a:ea typeface="Arial"/>
                  <a:cs typeface="Arial"/>
                  <a:sym typeface="Arial"/>
                </a:rPr>
                <a:t>Outcomes</a:t>
              </a:r>
              <a:endParaRPr kumimoji="0" lang="en-US" sz="1600" b="0" i="0" u="none" strike="noStrike" kern="1200" cap="none" spc="0" normalizeH="0" baseline="0" noProof="0" dirty="0">
                <a:ln>
                  <a:noFill/>
                </a:ln>
                <a:solidFill>
                  <a:srgbClr val="595959"/>
                </a:solidFill>
                <a:effectLst/>
                <a:uLnTx/>
                <a:uFillTx/>
                <a:latin typeface="Arial"/>
                <a:ea typeface="Arial"/>
                <a:cs typeface="Arial"/>
                <a:sym typeface="Arial"/>
              </a:endParaRPr>
            </a:p>
          </p:txBody>
        </p:sp>
        <p:cxnSp>
          <p:nvCxnSpPr>
            <p:cNvPr id="10" name="Google Shape;1642;p15">
              <a:extLst>
                <a:ext uri="{FF2B5EF4-FFF2-40B4-BE49-F238E27FC236}">
                  <a16:creationId xmlns:a16="http://schemas.microsoft.com/office/drawing/2014/main" id="{EC85CDD6-258A-4D74-A3F3-4428D26CDC08}"/>
                </a:ext>
              </a:extLst>
            </p:cNvPr>
            <p:cNvCxnSpPr>
              <a:cxnSpLocks/>
              <a:stCxn id="8" idx="3"/>
            </p:cNvCxnSpPr>
            <p:nvPr/>
          </p:nvCxnSpPr>
          <p:spPr>
            <a:xfrm>
              <a:off x="2514437" y="3474225"/>
              <a:ext cx="5981700" cy="0"/>
            </a:xfrm>
            <a:prstGeom prst="straightConnector1">
              <a:avLst/>
            </a:prstGeom>
            <a:noFill/>
            <a:ln w="19050" cap="flat" cmpd="sng">
              <a:solidFill>
                <a:srgbClr val="7030A0"/>
              </a:solidFill>
              <a:prstDash val="solid"/>
              <a:round/>
              <a:headEnd type="none" w="sm" len="sm"/>
              <a:tailEnd type="none" w="sm" len="sm"/>
            </a:ln>
          </p:spPr>
        </p:cxnSp>
      </p:grpSp>
      <p:grpSp>
        <p:nvGrpSpPr>
          <p:cNvPr id="18" name="Group 17">
            <a:extLst>
              <a:ext uri="{FF2B5EF4-FFF2-40B4-BE49-F238E27FC236}">
                <a16:creationId xmlns:a16="http://schemas.microsoft.com/office/drawing/2014/main" id="{9774BCD3-F040-F605-EF64-AF38AC334DA3}"/>
              </a:ext>
            </a:extLst>
          </p:cNvPr>
          <p:cNvGrpSpPr/>
          <p:nvPr/>
        </p:nvGrpSpPr>
        <p:grpSpPr>
          <a:xfrm>
            <a:off x="725428" y="4759163"/>
            <a:ext cx="8632346" cy="1680033"/>
            <a:chOff x="507678" y="4767397"/>
            <a:chExt cx="8632346" cy="1680033"/>
          </a:xfrm>
        </p:grpSpPr>
        <p:sp>
          <p:nvSpPr>
            <p:cNvPr id="11" name="Google Shape;1641;p15">
              <a:extLst>
                <a:ext uri="{FF2B5EF4-FFF2-40B4-BE49-F238E27FC236}">
                  <a16:creationId xmlns:a16="http://schemas.microsoft.com/office/drawing/2014/main" id="{D856EEA2-3824-5531-47B2-64FF0B0FCCD8}"/>
                </a:ext>
              </a:extLst>
            </p:cNvPr>
            <p:cNvSpPr txBox="1"/>
            <p:nvPr/>
          </p:nvSpPr>
          <p:spPr>
            <a:xfrm>
              <a:off x="507678" y="5078984"/>
              <a:ext cx="8632346" cy="1368446"/>
            </a:xfrm>
            <a:prstGeom prst="rect">
              <a:avLst/>
            </a:prstGeom>
            <a:noFill/>
            <a:ln>
              <a:noFill/>
            </a:ln>
          </p:spPr>
          <p:txBody>
            <a:bodyPr spcFirstLastPara="1" wrap="square" lIns="0" tIns="30467" rIns="0" bIns="30467" anchor="t" anchorCtr="0">
              <a:noAutofit/>
            </a:bodyPr>
            <a:lstStyle/>
            <a:p>
              <a:pPr marL="171450" marR="0" lvl="0" indent="-171450" algn="l" defTabSz="914400" rtl="0" eaLnBrk="1" fontAlgn="auto" latinLnBrk="0" hangingPunct="1">
                <a:lnSpc>
                  <a:spcPct val="150000"/>
                </a:lnSpc>
                <a:spcBef>
                  <a:spcPts val="400"/>
                </a:spcBef>
                <a:spcAft>
                  <a:spcPts val="0"/>
                </a:spcAft>
                <a:buClr>
                  <a:srgbClr val="009CDE"/>
                </a:buClr>
                <a:buSzPct val="150000"/>
                <a:buFont typeface="Arial" panose="020B0604020202020204" pitchFamily="34" charset="0"/>
                <a:buChar char="•"/>
                <a:tabLst/>
                <a:defRPr/>
              </a:pPr>
              <a:r>
                <a:rPr kumimoji="0" lang="en-US" sz="1050" b="0" i="0" u="none" strike="noStrike" kern="1200" cap="none" spc="0" normalizeH="0" baseline="0" noProof="0" dirty="0">
                  <a:ln>
                    <a:noFill/>
                  </a:ln>
                  <a:solidFill>
                    <a:schemeClr val="accent5"/>
                  </a:solidFill>
                  <a:effectLst/>
                  <a:uLnTx/>
                  <a:uFillTx/>
                  <a:latin typeface="Arial"/>
                  <a:ea typeface="+mn-ea"/>
                  <a:cs typeface="Arial"/>
                </a:rPr>
                <a:t>Identify and block adversary infrastructure to thwart data breaches, ransomware, and other threats.</a:t>
              </a:r>
            </a:p>
            <a:p>
              <a:pPr marL="171450" marR="0" lvl="0" indent="-171450" algn="l" defTabSz="914400" rtl="0" eaLnBrk="1" fontAlgn="auto" latinLnBrk="0" hangingPunct="1">
                <a:lnSpc>
                  <a:spcPct val="150000"/>
                </a:lnSpc>
                <a:spcBef>
                  <a:spcPts val="400"/>
                </a:spcBef>
                <a:spcAft>
                  <a:spcPts val="0"/>
                </a:spcAft>
                <a:buClr>
                  <a:srgbClr val="009CDE"/>
                </a:buClr>
                <a:buSzPct val="150000"/>
                <a:buFont typeface="Arial" panose="020B0604020202020204" pitchFamily="34" charset="0"/>
                <a:buChar char="•"/>
                <a:tabLst/>
                <a:defRPr/>
              </a:pPr>
              <a:r>
                <a:rPr kumimoji="0" lang="en-US" sz="1050" b="0" i="0" u="none" strike="noStrike" kern="1200" cap="none" spc="0" normalizeH="0" baseline="0" noProof="0" dirty="0">
                  <a:ln>
                    <a:noFill/>
                  </a:ln>
                  <a:solidFill>
                    <a:schemeClr val="accent5"/>
                  </a:solidFill>
                  <a:effectLst/>
                  <a:uLnTx/>
                  <a:uFillTx/>
                  <a:latin typeface="Arial"/>
                  <a:ea typeface="+mn-ea"/>
                  <a:cs typeface="Arial"/>
                </a:rPr>
                <a:t>Monitor domain lifecycles through a comprehensive graph database, connecting malicious domains, IP addresses, and indicators of compromise.</a:t>
              </a:r>
            </a:p>
            <a:p>
              <a:pPr marL="171450" marR="0" lvl="0" indent="-171450" algn="l" defTabSz="914400" rtl="0" eaLnBrk="1" fontAlgn="auto" latinLnBrk="0" hangingPunct="1">
                <a:lnSpc>
                  <a:spcPct val="150000"/>
                </a:lnSpc>
                <a:spcBef>
                  <a:spcPts val="400"/>
                </a:spcBef>
                <a:spcAft>
                  <a:spcPts val="0"/>
                </a:spcAft>
                <a:buClr>
                  <a:srgbClr val="009CDE"/>
                </a:buClr>
                <a:buSzPct val="150000"/>
                <a:buFont typeface="Arial" panose="020B0604020202020204" pitchFamily="34" charset="0"/>
                <a:buChar char="•"/>
                <a:tabLst/>
                <a:defRPr/>
              </a:pPr>
              <a:r>
                <a:rPr kumimoji="0" lang="en-US" sz="1050" b="0" i="0" u="none" strike="noStrike" kern="1200" cap="none" spc="0" normalizeH="0" baseline="0" noProof="0" dirty="0">
                  <a:ln>
                    <a:noFill/>
                  </a:ln>
                  <a:solidFill>
                    <a:schemeClr val="accent5"/>
                  </a:solidFill>
                  <a:effectLst/>
                  <a:uLnTx/>
                  <a:uFillTx/>
                  <a:latin typeface="Arial"/>
                  <a:ea typeface="+mn-ea"/>
                  <a:cs typeface="Arial"/>
                </a:rPr>
                <a:t>Seamlessly integrate with EDR, XDR, SIEM, SOAR, and firewall systems to enhance threat detection and response capabilities.</a:t>
              </a:r>
            </a:p>
            <a:p>
              <a:pPr marL="171450" marR="0" lvl="0" indent="-171450" algn="l" defTabSz="914400" rtl="0" eaLnBrk="1" fontAlgn="auto" latinLnBrk="0" hangingPunct="1">
                <a:lnSpc>
                  <a:spcPct val="150000"/>
                </a:lnSpc>
                <a:spcBef>
                  <a:spcPts val="400"/>
                </a:spcBef>
                <a:spcAft>
                  <a:spcPts val="0"/>
                </a:spcAft>
                <a:buClr>
                  <a:srgbClr val="009CDE"/>
                </a:buClr>
                <a:buSzPct val="150000"/>
                <a:buFont typeface="Arial" panose="020B0604020202020204" pitchFamily="34" charset="0"/>
                <a:buChar char="•"/>
                <a:tabLst/>
                <a:defRPr/>
              </a:pPr>
              <a:r>
                <a:rPr kumimoji="0" lang="en-US" sz="1050" b="0" i="0" u="none" strike="noStrike" kern="1200" cap="none" spc="0" normalizeH="0" baseline="0" noProof="0" dirty="0">
                  <a:ln>
                    <a:noFill/>
                  </a:ln>
                  <a:solidFill>
                    <a:schemeClr val="accent5"/>
                  </a:solidFill>
                  <a:effectLst/>
                  <a:uLnTx/>
                  <a:uFillTx/>
                  <a:latin typeface="Arial"/>
                  <a:ea typeface="+mn-ea"/>
                  <a:cs typeface="Arial"/>
                </a:rPr>
                <a:t>Outperform other DNS solutions, achieving an impressive detection rate of 85-100% as validated by third-party evaluation from AV-TEST.</a:t>
              </a:r>
              <a:endParaRPr kumimoji="0" lang="en-US" sz="1200" b="0" i="0" u="none" strike="noStrike" kern="1200" cap="none" spc="0" normalizeH="0" baseline="0" noProof="0" dirty="0">
                <a:ln>
                  <a:noFill/>
                </a:ln>
                <a:solidFill>
                  <a:schemeClr val="accent5"/>
                </a:solidFill>
                <a:effectLst/>
                <a:uLnTx/>
                <a:uFillTx/>
                <a:latin typeface="Arial" panose="020B0604020202020204"/>
                <a:ea typeface="+mn-ea"/>
                <a:cs typeface="Arial"/>
              </a:endParaRPr>
            </a:p>
          </p:txBody>
        </p:sp>
        <p:grpSp>
          <p:nvGrpSpPr>
            <p:cNvPr id="17" name="Group 16">
              <a:extLst>
                <a:ext uri="{FF2B5EF4-FFF2-40B4-BE49-F238E27FC236}">
                  <a16:creationId xmlns:a16="http://schemas.microsoft.com/office/drawing/2014/main" id="{A9CD76E0-250A-2EDE-2B9D-69E4872DCDDE}"/>
                </a:ext>
              </a:extLst>
            </p:cNvPr>
            <p:cNvGrpSpPr/>
            <p:nvPr/>
          </p:nvGrpSpPr>
          <p:grpSpPr>
            <a:xfrm>
              <a:off x="507678" y="4767397"/>
              <a:ext cx="6670362" cy="338554"/>
              <a:chOff x="507678" y="4767397"/>
              <a:chExt cx="6670362" cy="338554"/>
            </a:xfrm>
          </p:grpSpPr>
          <p:sp>
            <p:nvSpPr>
              <p:cNvPr id="13" name="TextBox 12">
                <a:extLst>
                  <a:ext uri="{FF2B5EF4-FFF2-40B4-BE49-F238E27FC236}">
                    <a16:creationId xmlns:a16="http://schemas.microsoft.com/office/drawing/2014/main" id="{A9FE748D-B43F-25DD-B5F9-A67112E25779}"/>
                  </a:ext>
                </a:extLst>
              </p:cNvPr>
              <p:cNvSpPr txBox="1"/>
              <p:nvPr/>
            </p:nvSpPr>
            <p:spPr>
              <a:xfrm>
                <a:off x="507678" y="4767397"/>
                <a:ext cx="2804922" cy="338554"/>
              </a:xfrm>
              <a:prstGeom prst="rect">
                <a:avLst/>
              </a:prstGeom>
              <a:noFill/>
              <a:ln>
                <a:noFill/>
              </a:ln>
            </p:spPr>
            <p:txBody>
              <a:bodyPr spcFirstLastPara="1" wrap="square" lIns="0" tIns="30467" rIns="0" bIns="30467" anchor="t" anchorCtr="0">
                <a:noAutofit/>
              </a:bodyPr>
              <a:lstStyle>
                <a:defPPr>
                  <a:defRPr lang="en-US"/>
                </a:defPPr>
                <a:lvl1pPr marR="0" lvl="0" indent="0" fontAlgn="auto">
                  <a:lnSpc>
                    <a:spcPct val="100000"/>
                  </a:lnSpc>
                  <a:spcBef>
                    <a:spcPts val="400"/>
                  </a:spcBef>
                  <a:spcAft>
                    <a:spcPts val="0"/>
                  </a:spcAft>
                  <a:buClr>
                    <a:srgbClr val="595959"/>
                  </a:buClr>
                  <a:buSzPts val="1100"/>
                  <a:buFontTx/>
                  <a:buNone/>
                  <a:tabLst/>
                  <a:defRPr kumimoji="0" sz="1600" b="1" i="0" u="none" strike="noStrike" cap="none" spc="0" normalizeH="0" baseline="0">
                    <a:ln>
                      <a:noFill/>
                    </a:ln>
                    <a:solidFill>
                      <a:srgbClr val="009CDE"/>
                    </a:solidFill>
                    <a:effectLst/>
                    <a:uLnTx/>
                    <a:uFillTx/>
                    <a:latin typeface="Arial"/>
                    <a:ea typeface="Arial"/>
                    <a:cs typeface="Arial"/>
                  </a:defRPr>
                </a:lvl1pPr>
              </a:lstStyle>
              <a:p>
                <a:pPr marL="0" marR="0" lvl="0" indent="0" algn="l" defTabSz="914400" rtl="0" eaLnBrk="1" fontAlgn="auto" latinLnBrk="0" hangingPunct="1">
                  <a:lnSpc>
                    <a:spcPct val="100000"/>
                  </a:lnSpc>
                  <a:spcBef>
                    <a:spcPts val="400"/>
                  </a:spcBef>
                  <a:spcAft>
                    <a:spcPts val="0"/>
                  </a:spcAft>
                  <a:buClr>
                    <a:srgbClr val="595959"/>
                  </a:buClr>
                  <a:buSzPts val="1100"/>
                  <a:buFontTx/>
                  <a:buNone/>
                  <a:tabLst/>
                  <a:defRPr/>
                </a:pPr>
                <a:r>
                  <a:rPr kumimoji="0" lang="en-US" sz="1600" b="1" i="0" u="none" strike="noStrike" kern="1200" cap="none" spc="0" normalizeH="0" baseline="0" noProof="0" dirty="0">
                    <a:ln>
                      <a:noFill/>
                    </a:ln>
                    <a:solidFill>
                      <a:srgbClr val="009CDE"/>
                    </a:solidFill>
                    <a:effectLst/>
                    <a:uLnTx/>
                    <a:uFillTx/>
                    <a:latin typeface="Arial"/>
                    <a:cs typeface="Arial"/>
                    <a:sym typeface="Arial"/>
                  </a:rPr>
                  <a:t>How we protect your brand</a:t>
                </a:r>
                <a:endParaRPr kumimoji="0" lang="en-US" sz="1600" b="1" i="0" u="none" strike="noStrike" kern="1200" cap="none" spc="0" normalizeH="0" baseline="0" noProof="0" dirty="0">
                  <a:ln>
                    <a:noFill/>
                  </a:ln>
                  <a:solidFill>
                    <a:srgbClr val="009CDE"/>
                  </a:solidFill>
                  <a:effectLst/>
                  <a:uLnTx/>
                  <a:uFillTx/>
                  <a:latin typeface="Arial"/>
                  <a:cs typeface="Arial"/>
                </a:endParaRPr>
              </a:p>
            </p:txBody>
          </p:sp>
          <p:cxnSp>
            <p:nvCxnSpPr>
              <p:cNvPr id="16" name="Google Shape;1642;p15">
                <a:extLst>
                  <a:ext uri="{FF2B5EF4-FFF2-40B4-BE49-F238E27FC236}">
                    <a16:creationId xmlns:a16="http://schemas.microsoft.com/office/drawing/2014/main" id="{3DE97409-532D-94F6-4202-37E173B55DDB}"/>
                  </a:ext>
                </a:extLst>
              </p:cNvPr>
              <p:cNvCxnSpPr>
                <a:cxnSpLocks/>
              </p:cNvCxnSpPr>
              <p:nvPr/>
            </p:nvCxnSpPr>
            <p:spPr>
              <a:xfrm>
                <a:off x="3244941" y="4936674"/>
                <a:ext cx="3933099" cy="0"/>
              </a:xfrm>
              <a:prstGeom prst="straightConnector1">
                <a:avLst/>
              </a:prstGeom>
              <a:noFill/>
              <a:ln w="19050" cap="flat" cmpd="sng">
                <a:solidFill>
                  <a:schemeClr val="accent1"/>
                </a:solidFill>
                <a:prstDash val="solid"/>
                <a:round/>
                <a:headEnd type="none" w="sm" len="sm"/>
                <a:tailEnd type="none" w="sm" len="sm"/>
              </a:ln>
            </p:spPr>
          </p:cxnSp>
        </p:grpSp>
      </p:grpSp>
      <p:pic>
        <p:nvPicPr>
          <p:cNvPr id="3" name="Picture 2">
            <a:extLst>
              <a:ext uri="{FF2B5EF4-FFF2-40B4-BE49-F238E27FC236}">
                <a16:creationId xmlns:a16="http://schemas.microsoft.com/office/drawing/2014/main" id="{E4A39BE8-C8C0-A3D6-FB61-1578452A6B9C}"/>
              </a:ext>
            </a:extLst>
          </p:cNvPr>
          <p:cNvPicPr>
            <a:picLocks noChangeAspect="1"/>
          </p:cNvPicPr>
          <p:nvPr/>
        </p:nvPicPr>
        <p:blipFill>
          <a:blip r:embed="rId6"/>
          <a:stretch>
            <a:fillRect/>
          </a:stretch>
        </p:blipFill>
        <p:spPr>
          <a:xfrm>
            <a:off x="6983294" y="2287998"/>
            <a:ext cx="2374480" cy="2480632"/>
          </a:xfrm>
          <a:prstGeom prst="rect">
            <a:avLst/>
          </a:prstGeom>
        </p:spPr>
      </p:pic>
      <p:sp>
        <p:nvSpPr>
          <p:cNvPr id="12" name="Title 1">
            <a:extLst>
              <a:ext uri="{FF2B5EF4-FFF2-40B4-BE49-F238E27FC236}">
                <a16:creationId xmlns:a16="http://schemas.microsoft.com/office/drawing/2014/main" id="{B423E3C5-917D-40ED-C208-510EE93518EE}"/>
              </a:ext>
            </a:extLst>
          </p:cNvPr>
          <p:cNvSpPr txBox="1">
            <a:spLocks/>
          </p:cNvSpPr>
          <p:nvPr/>
        </p:nvSpPr>
        <p:spPr>
          <a:xfrm>
            <a:off x="609600" y="418804"/>
            <a:ext cx="10010775" cy="554038"/>
          </a:xfrm>
          <a:prstGeom prst="rect">
            <a:avLst/>
          </a:prstGeom>
          <a:noFill/>
          <a:ln>
            <a:noFill/>
          </a:ln>
        </p:spPr>
        <p:txBody>
          <a:bodyPr spcFirstLastPara="1" vert="horz" wrap="square" lIns="91440" tIns="45720" rIns="91440" bIns="45720" rtlCol="0" anchor="ctr" anchorCtr="0">
            <a:normAutofit fontScale="90000" lnSpcReduction="10000"/>
          </a:bodyPr>
          <a:lst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a:lstStyle>
          <a:p>
            <a:pPr>
              <a:buClr>
                <a:schemeClr val="dk1"/>
              </a:buClr>
              <a:buSzPts val="5800"/>
              <a:buFont typeface="Arial"/>
              <a:buNone/>
            </a:pPr>
            <a:r>
              <a:rPr lang="en-US" dirty="0"/>
              <a:t>Protective DNS Services</a:t>
            </a:r>
          </a:p>
        </p:txBody>
      </p:sp>
    </p:spTree>
    <p:extLst>
      <p:ext uri="{BB962C8B-B14F-4D97-AF65-F5344CB8AC3E}">
        <p14:creationId xmlns:p14="http://schemas.microsoft.com/office/powerpoint/2010/main" val="36260804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03CCB-FC02-6A45-1014-A3F40E8EE82D}"/>
              </a:ext>
            </a:extLst>
          </p:cNvPr>
          <p:cNvSpPr>
            <a:spLocks noGrp="1"/>
          </p:cNvSpPr>
          <p:nvPr>
            <p:ph type="title"/>
          </p:nvPr>
        </p:nvSpPr>
        <p:spPr>
          <a:xfrm>
            <a:off x="2584800" y="2430000"/>
            <a:ext cx="5492400" cy="1594622"/>
          </a:xfrm>
        </p:spPr>
        <p:txBody>
          <a:bodyPr/>
          <a:lstStyle/>
          <a:p>
            <a:r>
              <a:rPr lang="en-US" dirty="0"/>
              <a:t>More About RSM Defense</a:t>
            </a:r>
          </a:p>
        </p:txBody>
      </p:sp>
    </p:spTree>
    <p:extLst>
      <p:ext uri="{BB962C8B-B14F-4D97-AF65-F5344CB8AC3E}">
        <p14:creationId xmlns:p14="http://schemas.microsoft.com/office/powerpoint/2010/main" val="33489022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8E753D-D26F-4FEB-A2B7-25E3091A6C20}"/>
              </a:ext>
            </a:extLst>
          </p:cNvPr>
          <p:cNvSpPr>
            <a:spLocks noGrp="1"/>
          </p:cNvSpPr>
          <p:nvPr>
            <p:ph type="sldNum" sz="quarter" idx="4"/>
          </p:nvPr>
        </p:nvSpPr>
        <p:spPr/>
        <p:txBody>
          <a:bodyPr/>
          <a:lstStyle/>
          <a:p>
            <a:fld id="{936A99BC-3C9D-4DF8-8B8C-E1FD2BDF0AD4}" type="slidenum">
              <a:rPr lang="en-US" smtClean="0"/>
              <a:pPr/>
              <a:t>22</a:t>
            </a:fld>
            <a:endParaRPr lang="en-US"/>
          </a:p>
        </p:txBody>
      </p:sp>
      <p:grpSp>
        <p:nvGrpSpPr>
          <p:cNvPr id="40" name="Group 39">
            <a:extLst>
              <a:ext uri="{FF2B5EF4-FFF2-40B4-BE49-F238E27FC236}">
                <a16:creationId xmlns:a16="http://schemas.microsoft.com/office/drawing/2014/main" id="{DEBDA186-DB00-471E-9658-B426E276228C}"/>
              </a:ext>
            </a:extLst>
          </p:cNvPr>
          <p:cNvGrpSpPr/>
          <p:nvPr/>
        </p:nvGrpSpPr>
        <p:grpSpPr>
          <a:xfrm>
            <a:off x="508000" y="1364342"/>
            <a:ext cx="10312400" cy="4937760"/>
            <a:chOff x="355709" y="2028191"/>
            <a:chExt cx="5782586" cy="2584788"/>
          </a:xfrm>
        </p:grpSpPr>
        <p:sp>
          <p:nvSpPr>
            <p:cNvPr id="23" name="TextBox 22">
              <a:extLst>
                <a:ext uri="{FF2B5EF4-FFF2-40B4-BE49-F238E27FC236}">
                  <a16:creationId xmlns:a16="http://schemas.microsoft.com/office/drawing/2014/main" id="{2371FCA4-D8C8-4F48-8638-47250765EBE4}"/>
                </a:ext>
              </a:extLst>
            </p:cNvPr>
            <p:cNvSpPr txBox="1">
              <a:spLocks/>
            </p:cNvSpPr>
            <p:nvPr/>
          </p:nvSpPr>
          <p:spPr bwMode="gray">
            <a:xfrm>
              <a:off x="1679220" y="2527794"/>
              <a:ext cx="4102267" cy="130770"/>
            </a:xfrm>
            <a:prstGeom prst="rect">
              <a:avLst/>
            </a:prstGeom>
            <a:noFill/>
          </p:spPr>
          <p:txBody>
            <a:bodyPr wrap="square" lIns="0" tIns="0" rIns="0" bIns="0" rtlCol="0" anchor="t">
              <a:spAutoFit/>
            </a:bodyPr>
            <a:lstStyle/>
            <a:p>
              <a:pPr defTabSz="1175644">
                <a:lnSpc>
                  <a:spcPct val="110000"/>
                </a:lnSpc>
                <a:spcAft>
                  <a:spcPts val="600"/>
                </a:spcAft>
              </a:pPr>
              <a:r>
                <a:rPr lang="en-US" sz="1600" b="1" dirty="0">
                  <a:solidFill>
                    <a:srgbClr val="53A64A"/>
                  </a:solidFill>
                  <a:cs typeface="Arial" panose="020B0604020202020204" pitchFamily="34" charset="0"/>
                </a:rPr>
                <a:t>Predictability &amp; cost savings - an all-inclusive monthly subscription pricing model </a:t>
              </a:r>
            </a:p>
          </p:txBody>
        </p:sp>
        <p:sp>
          <p:nvSpPr>
            <p:cNvPr id="24" name="TextBox 23">
              <a:extLst>
                <a:ext uri="{FF2B5EF4-FFF2-40B4-BE49-F238E27FC236}">
                  <a16:creationId xmlns:a16="http://schemas.microsoft.com/office/drawing/2014/main" id="{05800D5A-5058-4B48-BC52-520FB062C3B1}"/>
                </a:ext>
              </a:extLst>
            </p:cNvPr>
            <p:cNvSpPr txBox="1"/>
            <p:nvPr/>
          </p:nvSpPr>
          <p:spPr bwMode="gray">
            <a:xfrm>
              <a:off x="1085156" y="2071187"/>
              <a:ext cx="4966975" cy="272549"/>
            </a:xfrm>
            <a:prstGeom prst="rect">
              <a:avLst/>
            </a:prstGeom>
            <a:noFill/>
          </p:spPr>
          <p:txBody>
            <a:bodyPr wrap="square" lIns="0" tIns="0" rIns="0" bIns="0" rtlCol="0" anchor="t">
              <a:spAutoFit/>
            </a:bodyPr>
            <a:lstStyle/>
            <a:p>
              <a:pPr defTabSz="1175644">
                <a:lnSpc>
                  <a:spcPct val="110000"/>
                </a:lnSpc>
                <a:spcAft>
                  <a:spcPts val="600"/>
                </a:spcAft>
              </a:pPr>
              <a:r>
                <a:rPr lang="en-US" sz="1600" b="1" dirty="0">
                  <a:solidFill>
                    <a:srgbClr val="00A7E1"/>
                  </a:solidFill>
                  <a:cs typeface="Arial" panose="020B0604020202020204" pitchFamily="34" charset="0"/>
                </a:rPr>
                <a:t>Scalability &amp; coverage – </a:t>
              </a:r>
              <a:r>
                <a:rPr lang="en-US" sz="1600" b="1" dirty="0">
                  <a:solidFill>
                    <a:schemeClr val="accent5"/>
                  </a:solidFill>
                  <a:cs typeface="Arial" panose="020B0604020202020204" pitchFamily="34" charset="0"/>
                </a:rPr>
                <a:t>24/7/365 security operations, threat intel, and incident response &amp; recovery</a:t>
              </a:r>
            </a:p>
          </p:txBody>
        </p:sp>
        <p:sp>
          <p:nvSpPr>
            <p:cNvPr id="25" name="TextBox 24">
              <a:extLst>
                <a:ext uri="{FF2B5EF4-FFF2-40B4-BE49-F238E27FC236}">
                  <a16:creationId xmlns:a16="http://schemas.microsoft.com/office/drawing/2014/main" id="{8C3AFF43-0640-42D2-9195-A1525077B6B5}"/>
                </a:ext>
              </a:extLst>
            </p:cNvPr>
            <p:cNvSpPr txBox="1">
              <a:spLocks/>
            </p:cNvSpPr>
            <p:nvPr/>
          </p:nvSpPr>
          <p:spPr bwMode="gray">
            <a:xfrm>
              <a:off x="1798958" y="3884606"/>
              <a:ext cx="4102267" cy="272549"/>
            </a:xfrm>
            <a:prstGeom prst="rect">
              <a:avLst/>
            </a:prstGeom>
            <a:noFill/>
          </p:spPr>
          <p:txBody>
            <a:bodyPr wrap="square" lIns="0" tIns="0" rIns="0" bIns="0" rtlCol="0" anchor="t">
              <a:spAutoFit/>
            </a:bodyPr>
            <a:lstStyle/>
            <a:p>
              <a:pPr defTabSz="1175644">
                <a:lnSpc>
                  <a:spcPct val="110000"/>
                </a:lnSpc>
                <a:spcAft>
                  <a:spcPts val="600"/>
                </a:spcAft>
              </a:pPr>
              <a:r>
                <a:rPr lang="en-US" sz="1600" b="1" dirty="0">
                  <a:solidFill>
                    <a:srgbClr val="3F9C35"/>
                  </a:solidFill>
                  <a:cs typeface="Arial" panose="020B0604020202020204" pitchFamily="34" charset="0"/>
                </a:rPr>
                <a:t>Infuse continuous intel into everyday security operations allowing for intelligent automated responses</a:t>
              </a:r>
            </a:p>
          </p:txBody>
        </p:sp>
        <p:sp>
          <p:nvSpPr>
            <p:cNvPr id="26" name="TextBox 25">
              <a:extLst>
                <a:ext uri="{FF2B5EF4-FFF2-40B4-BE49-F238E27FC236}">
                  <a16:creationId xmlns:a16="http://schemas.microsoft.com/office/drawing/2014/main" id="{5B570C1D-C35A-4527-9C3A-28D0939B3D67}"/>
                </a:ext>
              </a:extLst>
            </p:cNvPr>
            <p:cNvSpPr txBox="1"/>
            <p:nvPr/>
          </p:nvSpPr>
          <p:spPr bwMode="gray">
            <a:xfrm>
              <a:off x="1143840" y="4344941"/>
              <a:ext cx="4955676" cy="130770"/>
            </a:xfrm>
            <a:prstGeom prst="rect">
              <a:avLst/>
            </a:prstGeom>
            <a:noFill/>
          </p:spPr>
          <p:txBody>
            <a:bodyPr wrap="square" lIns="0" tIns="0" rIns="0" bIns="0" rtlCol="0" anchor="t">
              <a:spAutoFit/>
            </a:bodyPr>
            <a:lstStyle/>
            <a:p>
              <a:pPr defTabSz="1175644">
                <a:lnSpc>
                  <a:spcPct val="110000"/>
                </a:lnSpc>
                <a:spcAft>
                  <a:spcPts val="600"/>
                </a:spcAft>
              </a:pPr>
              <a:r>
                <a:rPr lang="en-US" sz="1600" b="1" dirty="0">
                  <a:solidFill>
                    <a:srgbClr val="009CDE"/>
                  </a:solidFill>
                  <a:cs typeface="Arial" panose="020B0604020202020204" pitchFamily="34" charset="0"/>
                </a:rPr>
                <a:t>Improve the visibility and reliability of your incident detection, response, and recovery activities</a:t>
              </a:r>
            </a:p>
          </p:txBody>
        </p:sp>
        <p:pic>
          <p:nvPicPr>
            <p:cNvPr id="27" name="Picture 26">
              <a:extLst>
                <a:ext uri="{FF2B5EF4-FFF2-40B4-BE49-F238E27FC236}">
                  <a16:creationId xmlns:a16="http://schemas.microsoft.com/office/drawing/2014/main" id="{52A3A685-AFDA-422C-9C45-BA81CF297A3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9204" y="2028191"/>
              <a:ext cx="339176" cy="412331"/>
            </a:xfrm>
            <a:prstGeom prst="rect">
              <a:avLst/>
            </a:prstGeom>
          </p:spPr>
        </p:pic>
        <p:pic>
          <p:nvPicPr>
            <p:cNvPr id="28" name="Picture 27">
              <a:extLst>
                <a:ext uri="{FF2B5EF4-FFF2-40B4-BE49-F238E27FC236}">
                  <a16:creationId xmlns:a16="http://schemas.microsoft.com/office/drawing/2014/main" id="{A9DB6AE7-13D5-4D9E-A0E0-3F68C23E43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78873" y="2419529"/>
              <a:ext cx="266020" cy="502113"/>
            </a:xfrm>
            <a:prstGeom prst="rect">
              <a:avLst/>
            </a:prstGeom>
          </p:spPr>
        </p:pic>
        <p:pic>
          <p:nvPicPr>
            <p:cNvPr id="29" name="Picture 28">
              <a:extLst>
                <a:ext uri="{FF2B5EF4-FFF2-40B4-BE49-F238E27FC236}">
                  <a16:creationId xmlns:a16="http://schemas.microsoft.com/office/drawing/2014/main" id="{C8967098-4486-4AB2-B1DD-806AB0E1684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64175" y="3128592"/>
              <a:ext cx="438933" cy="452234"/>
            </a:xfrm>
            <a:prstGeom prst="rect">
              <a:avLst/>
            </a:prstGeom>
          </p:spPr>
        </p:pic>
        <p:pic>
          <p:nvPicPr>
            <p:cNvPr id="30" name="Picture 29">
              <a:extLst>
                <a:ext uri="{FF2B5EF4-FFF2-40B4-BE49-F238E27FC236}">
                  <a16:creationId xmlns:a16="http://schemas.microsoft.com/office/drawing/2014/main" id="{3E5E506C-9776-4520-8129-9975DE03E03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03709" y="3812023"/>
              <a:ext cx="475511" cy="332525"/>
            </a:xfrm>
            <a:prstGeom prst="rect">
              <a:avLst/>
            </a:prstGeom>
          </p:spPr>
        </p:pic>
        <p:pic>
          <p:nvPicPr>
            <p:cNvPr id="31" name="Picture 30">
              <a:extLst>
                <a:ext uri="{FF2B5EF4-FFF2-40B4-BE49-F238E27FC236}">
                  <a16:creationId xmlns:a16="http://schemas.microsoft.com/office/drawing/2014/main" id="{C3397563-F280-4EA6-8559-393F953BE62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9380" y="3061608"/>
              <a:ext cx="565870" cy="503349"/>
            </a:xfrm>
            <a:prstGeom prst="rect">
              <a:avLst/>
            </a:prstGeom>
          </p:spPr>
        </p:pic>
        <p:sp>
          <p:nvSpPr>
            <p:cNvPr id="32" name="Oval 31">
              <a:extLst>
                <a:ext uri="{FF2B5EF4-FFF2-40B4-BE49-F238E27FC236}">
                  <a16:creationId xmlns:a16="http://schemas.microsoft.com/office/drawing/2014/main" id="{E1E9E073-2AD2-4A89-96AD-1CA211D5AB11}"/>
                </a:ext>
              </a:extLst>
            </p:cNvPr>
            <p:cNvSpPr>
              <a:spLocks noChangeAspect="1"/>
            </p:cNvSpPr>
            <p:nvPr/>
          </p:nvSpPr>
          <p:spPr>
            <a:xfrm>
              <a:off x="355709" y="2892382"/>
              <a:ext cx="853212" cy="853212"/>
            </a:xfrm>
            <a:prstGeom prst="ellipse">
              <a:avLst/>
            </a:prstGeom>
            <a:noFill/>
            <a:ln w="25400" cap="flat" cmpd="sng" algn="ctr">
              <a:solidFill>
                <a:srgbClr val="0070C0"/>
              </a:solidFill>
              <a:prstDash val="lgDash"/>
            </a:ln>
            <a:effectLst/>
          </p:spPr>
          <p:txBody>
            <a:bodyPr rtlCol="0" anchor="ctr"/>
            <a:lstStyle/>
            <a:p>
              <a:pPr marL="0" marR="0" lvl="0" indent="0" algn="ctr" defTabSz="117564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latin typeface="Calibri"/>
                <a:ea typeface="+mn-ea"/>
                <a:cs typeface="+mn-cs"/>
              </a:endParaRPr>
            </a:p>
          </p:txBody>
        </p:sp>
        <p:cxnSp>
          <p:nvCxnSpPr>
            <p:cNvPr id="33" name="Straight Connector 32">
              <a:extLst>
                <a:ext uri="{FF2B5EF4-FFF2-40B4-BE49-F238E27FC236}">
                  <a16:creationId xmlns:a16="http://schemas.microsoft.com/office/drawing/2014/main" id="{4A742108-5892-4673-8608-886501355E8F}"/>
                </a:ext>
              </a:extLst>
            </p:cNvPr>
            <p:cNvCxnSpPr>
              <a:cxnSpLocks noChangeAspect="1"/>
              <a:stCxn id="27" idx="2"/>
              <a:endCxn id="32" idx="0"/>
            </p:cNvCxnSpPr>
            <p:nvPr/>
          </p:nvCxnSpPr>
          <p:spPr>
            <a:xfrm flipH="1">
              <a:off x="782315" y="2440522"/>
              <a:ext cx="6477" cy="451860"/>
            </a:xfrm>
            <a:prstGeom prst="line">
              <a:avLst/>
            </a:prstGeom>
            <a:noFill/>
            <a:ln w="12700" cap="flat" cmpd="sng" algn="ctr">
              <a:solidFill>
                <a:srgbClr val="888B8D"/>
              </a:solidFill>
              <a:prstDash val="lgDash"/>
            </a:ln>
            <a:effectLst/>
          </p:spPr>
        </p:cxnSp>
        <p:cxnSp>
          <p:nvCxnSpPr>
            <p:cNvPr id="34" name="Straight Connector 33">
              <a:extLst>
                <a:ext uri="{FF2B5EF4-FFF2-40B4-BE49-F238E27FC236}">
                  <a16:creationId xmlns:a16="http://schemas.microsoft.com/office/drawing/2014/main" id="{85B210C0-02FD-4BEF-8A68-14AFC834F0D4}"/>
                </a:ext>
              </a:extLst>
            </p:cNvPr>
            <p:cNvCxnSpPr>
              <a:cxnSpLocks noChangeAspect="1"/>
              <a:stCxn id="32" idx="5"/>
              <a:endCxn id="30" idx="1"/>
            </p:cNvCxnSpPr>
            <p:nvPr/>
          </p:nvCxnSpPr>
          <p:spPr>
            <a:xfrm>
              <a:off x="1083971" y="3620644"/>
              <a:ext cx="119738" cy="357642"/>
            </a:xfrm>
            <a:prstGeom prst="line">
              <a:avLst/>
            </a:prstGeom>
            <a:noFill/>
            <a:ln w="12700" cap="flat" cmpd="sng" algn="ctr">
              <a:solidFill>
                <a:srgbClr val="888B8D"/>
              </a:solidFill>
              <a:prstDash val="lgDash"/>
            </a:ln>
            <a:effectLst/>
          </p:spPr>
        </p:cxnSp>
        <p:cxnSp>
          <p:nvCxnSpPr>
            <p:cNvPr id="35" name="Straight Connector 34">
              <a:extLst>
                <a:ext uri="{FF2B5EF4-FFF2-40B4-BE49-F238E27FC236}">
                  <a16:creationId xmlns:a16="http://schemas.microsoft.com/office/drawing/2014/main" id="{7AB4D574-E9B8-4EB8-852C-55643988A646}"/>
                </a:ext>
              </a:extLst>
            </p:cNvPr>
            <p:cNvCxnSpPr>
              <a:cxnSpLocks noChangeAspect="1"/>
              <a:stCxn id="28" idx="1"/>
              <a:endCxn id="32" idx="7"/>
            </p:cNvCxnSpPr>
            <p:nvPr/>
          </p:nvCxnSpPr>
          <p:spPr>
            <a:xfrm flipH="1">
              <a:off x="1083971" y="2670585"/>
              <a:ext cx="194902" cy="346746"/>
            </a:xfrm>
            <a:prstGeom prst="line">
              <a:avLst/>
            </a:prstGeom>
            <a:noFill/>
            <a:ln w="12700" cap="flat" cmpd="sng" algn="ctr">
              <a:solidFill>
                <a:srgbClr val="888B8D"/>
              </a:solidFill>
              <a:prstDash val="lgDash"/>
            </a:ln>
            <a:effectLst/>
          </p:spPr>
        </p:cxnSp>
        <p:cxnSp>
          <p:nvCxnSpPr>
            <p:cNvPr id="36" name="Straight Connector 35">
              <a:extLst>
                <a:ext uri="{FF2B5EF4-FFF2-40B4-BE49-F238E27FC236}">
                  <a16:creationId xmlns:a16="http://schemas.microsoft.com/office/drawing/2014/main" id="{CC9DF6B0-2B1A-42D6-A1F1-219AD15F823E}"/>
                </a:ext>
              </a:extLst>
            </p:cNvPr>
            <p:cNvCxnSpPr>
              <a:cxnSpLocks noChangeAspect="1"/>
              <a:stCxn id="32" idx="4"/>
              <a:endCxn id="38" idx="0"/>
            </p:cNvCxnSpPr>
            <p:nvPr/>
          </p:nvCxnSpPr>
          <p:spPr>
            <a:xfrm flipH="1">
              <a:off x="777103" y="3745594"/>
              <a:ext cx="5212" cy="428452"/>
            </a:xfrm>
            <a:prstGeom prst="line">
              <a:avLst/>
            </a:prstGeom>
            <a:noFill/>
            <a:ln w="12700" cap="flat" cmpd="sng" algn="ctr">
              <a:solidFill>
                <a:srgbClr val="888B8D"/>
              </a:solidFill>
              <a:prstDash val="lgDash"/>
            </a:ln>
            <a:effectLst/>
          </p:spPr>
        </p:cxnSp>
        <p:cxnSp>
          <p:nvCxnSpPr>
            <p:cNvPr id="37" name="Straight Connector 36">
              <a:extLst>
                <a:ext uri="{FF2B5EF4-FFF2-40B4-BE49-F238E27FC236}">
                  <a16:creationId xmlns:a16="http://schemas.microsoft.com/office/drawing/2014/main" id="{0896B867-D8FC-46FC-A9D3-BFDD50C8DD06}"/>
                </a:ext>
              </a:extLst>
            </p:cNvPr>
            <p:cNvCxnSpPr>
              <a:cxnSpLocks noChangeAspect="1"/>
            </p:cNvCxnSpPr>
            <p:nvPr/>
          </p:nvCxnSpPr>
          <p:spPr>
            <a:xfrm flipH="1">
              <a:off x="1215417" y="3359927"/>
              <a:ext cx="234202" cy="11485"/>
            </a:xfrm>
            <a:prstGeom prst="line">
              <a:avLst/>
            </a:prstGeom>
            <a:noFill/>
            <a:ln w="12700" cap="flat" cmpd="sng" algn="ctr">
              <a:solidFill>
                <a:srgbClr val="888B8D"/>
              </a:solidFill>
              <a:prstDash val="lgDash"/>
            </a:ln>
            <a:effectLst/>
          </p:spPr>
        </p:cxnSp>
        <p:pic>
          <p:nvPicPr>
            <p:cNvPr id="38" name="Picture 37">
              <a:extLst>
                <a:ext uri="{FF2B5EF4-FFF2-40B4-BE49-F238E27FC236}">
                  <a16:creationId xmlns:a16="http://schemas.microsoft.com/office/drawing/2014/main" id="{B62BF0DA-381F-4228-BF17-A1EEFA0D352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9420" y="4174046"/>
              <a:ext cx="535366" cy="438933"/>
            </a:xfrm>
            <a:prstGeom prst="rect">
              <a:avLst/>
            </a:prstGeom>
          </p:spPr>
        </p:pic>
        <p:sp>
          <p:nvSpPr>
            <p:cNvPr id="39" name="TextBox 38">
              <a:extLst>
                <a:ext uri="{FF2B5EF4-FFF2-40B4-BE49-F238E27FC236}">
                  <a16:creationId xmlns:a16="http://schemas.microsoft.com/office/drawing/2014/main" id="{9C7ADA8F-B654-4A0F-B1D7-B29DB0371034}"/>
                </a:ext>
              </a:extLst>
            </p:cNvPr>
            <p:cNvSpPr txBox="1"/>
            <p:nvPr/>
          </p:nvSpPr>
          <p:spPr bwMode="gray">
            <a:xfrm>
              <a:off x="1998589" y="3085767"/>
              <a:ext cx="4139706" cy="414329"/>
            </a:xfrm>
            <a:prstGeom prst="rect">
              <a:avLst/>
            </a:prstGeom>
            <a:noFill/>
          </p:spPr>
          <p:txBody>
            <a:bodyPr wrap="square" lIns="0" tIns="0" rIns="0" bIns="0" rtlCol="0" anchor="t">
              <a:spAutoFit/>
            </a:bodyPr>
            <a:lstStyle/>
            <a:p>
              <a:pPr defTabSz="1175644">
                <a:lnSpc>
                  <a:spcPct val="110000"/>
                </a:lnSpc>
                <a:spcAft>
                  <a:spcPts val="600"/>
                </a:spcAft>
              </a:pPr>
              <a:r>
                <a:rPr lang="en-US" sz="1600" b="1" dirty="0">
                  <a:solidFill>
                    <a:srgbClr val="009CDE"/>
                  </a:solidFill>
                  <a:cs typeface="Arial"/>
                </a:rPr>
                <a:t>Personalized interaction with an industry focus and deep technical experience – </a:t>
              </a:r>
              <a:r>
                <a:rPr lang="en-US" sz="1600" b="1" dirty="0">
                  <a:solidFill>
                    <a:schemeClr val="accent5"/>
                  </a:solidFill>
                  <a:cs typeface="Arial"/>
                </a:rPr>
                <a:t>eliminate the hassle of recruiting, managing, and retaining full-time security professionals</a:t>
              </a:r>
            </a:p>
          </p:txBody>
        </p:sp>
      </p:grpSp>
      <p:sp>
        <p:nvSpPr>
          <p:cNvPr id="5" name="Title 1">
            <a:extLst>
              <a:ext uri="{FF2B5EF4-FFF2-40B4-BE49-F238E27FC236}">
                <a16:creationId xmlns:a16="http://schemas.microsoft.com/office/drawing/2014/main" id="{7F2CE813-CC54-C2F7-77A0-E57059332304}"/>
              </a:ext>
            </a:extLst>
          </p:cNvPr>
          <p:cNvSpPr txBox="1">
            <a:spLocks/>
          </p:cNvSpPr>
          <p:nvPr/>
        </p:nvSpPr>
        <p:spPr>
          <a:xfrm>
            <a:off x="609600" y="418804"/>
            <a:ext cx="10010775" cy="554038"/>
          </a:xfrm>
          <a:prstGeom prst="rect">
            <a:avLst/>
          </a:prstGeom>
          <a:noFill/>
          <a:ln>
            <a:noFill/>
          </a:ln>
        </p:spPr>
        <p:txBody>
          <a:bodyPr spcFirstLastPara="1" vert="horz" wrap="square" lIns="91440" tIns="45720" rIns="91440" bIns="45720" rtlCol="0" anchor="ctr" anchorCtr="0">
            <a:normAutofit fontScale="90000" lnSpcReduction="10000"/>
          </a:bodyPr>
          <a:lst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a:lstStyle>
          <a:p>
            <a:pPr>
              <a:buClr>
                <a:schemeClr val="dk1"/>
              </a:buClr>
              <a:buSzPts val="5800"/>
              <a:buFont typeface="Arial"/>
              <a:buNone/>
            </a:pPr>
            <a:r>
              <a:rPr lang="en-US" dirty="0"/>
              <a:t>Client realized benefits from RSM Defense platform</a:t>
            </a:r>
          </a:p>
        </p:txBody>
      </p:sp>
    </p:spTree>
    <p:extLst>
      <p:ext uri="{BB962C8B-B14F-4D97-AF65-F5344CB8AC3E}">
        <p14:creationId xmlns:p14="http://schemas.microsoft.com/office/powerpoint/2010/main" val="33150040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C60729-877F-4759-89CC-EABF8635FA0A}"/>
              </a:ext>
            </a:extLst>
          </p:cNvPr>
          <p:cNvSpPr/>
          <p:nvPr/>
        </p:nvSpPr>
        <p:spPr>
          <a:xfrm>
            <a:off x="8793054" y="3759394"/>
            <a:ext cx="2953114" cy="2024896"/>
          </a:xfrm>
          <a:prstGeom prst="rect">
            <a:avLst/>
          </a:prstGeom>
          <a:blipFill>
            <a:blip r:embed="rId3">
              <a:alphaModFix amt="47000"/>
              <a:duotone>
                <a:schemeClr val="accent2">
                  <a:shade val="45000"/>
                  <a:satMod val="135000"/>
                </a:schemeClr>
                <a:prstClr val="white"/>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a:spLocks noChangeAspect="1"/>
          </p:cNvSpPr>
          <p:nvPr/>
        </p:nvSpPr>
        <p:spPr>
          <a:xfrm>
            <a:off x="1609813" y="4643341"/>
            <a:ext cx="1897776" cy="13439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0341" rIns="40341" anchor="ctr"/>
          <a:lstStyle/>
          <a:p>
            <a:pPr marL="0" marR="0" lvl="0" indent="0" algn="ctr" defTabSz="1037388"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200+ million</a:t>
            </a:r>
          </a:p>
          <a:p>
            <a:pPr marL="0" marR="0" lvl="0" indent="0" algn="ctr" defTabSz="1037388"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rial" panose="020B0604020202020204" pitchFamily="34" charset="0"/>
                <a:cs typeface="Arial" panose="020B0604020202020204" pitchFamily="34" charset="0"/>
              </a:rPr>
              <a:t>Events</a:t>
            </a:r>
            <a:r>
              <a:rPr kumimoji="0" lang="en-US" sz="16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 processed daily</a:t>
            </a:r>
          </a:p>
        </p:txBody>
      </p:sp>
      <p:sp>
        <p:nvSpPr>
          <p:cNvPr id="61" name="Rectangle 60"/>
          <p:cNvSpPr>
            <a:spLocks noChangeAspect="1"/>
          </p:cNvSpPr>
          <p:nvPr/>
        </p:nvSpPr>
        <p:spPr>
          <a:xfrm>
            <a:off x="10173368" y="2249612"/>
            <a:ext cx="1572800" cy="584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0341" rIns="40341" anchor="ctr"/>
          <a:lstStyle/>
          <a:p>
            <a:pPr marL="0" marR="0" lvl="0" indent="0" defTabSz="914400" rtl="0" eaLnBrk="1" fontAlgn="auto" latinLnBrk="0" hangingPunct="1">
              <a:lnSpc>
                <a:spcPts val="1700"/>
              </a:lnSpc>
              <a:spcBef>
                <a:spcPts val="0"/>
              </a:spcBef>
              <a:spcAft>
                <a:spcPts val="0"/>
              </a:spcAft>
              <a:buClrTx/>
              <a:buSzTx/>
              <a:buFontTx/>
              <a:buNone/>
              <a:tabLst/>
              <a:defRPr/>
            </a:pPr>
            <a:r>
              <a:rPr kumimoji="0" lang="en-US" sz="36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3</a:t>
            </a:r>
            <a:r>
              <a:rPr kumimoji="0" lang="en-US" sz="14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RSM Defense cyber hubs across the </a:t>
            </a:r>
            <a:br>
              <a:rPr kumimoji="0" lang="en-US" sz="16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globe</a:t>
            </a:r>
            <a:endPar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pic>
        <p:nvPicPr>
          <p:cNvPr id="18" name="Picture 17"/>
          <p:cNvPicPr>
            <a:picLocks noChangeAspect="1"/>
          </p:cNvPicPr>
          <p:nvPr/>
        </p:nvPicPr>
        <p:blipFill>
          <a:blip r:embed="rId4">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8654022" y="1710188"/>
            <a:ext cx="1442451" cy="1442451"/>
          </a:xfrm>
          <a:prstGeom prst="rect">
            <a:avLst/>
          </a:prstGeom>
        </p:spPr>
      </p:pic>
      <p:sp>
        <p:nvSpPr>
          <p:cNvPr id="2" name="Title 1">
            <a:extLst>
              <a:ext uri="{FF2B5EF4-FFF2-40B4-BE49-F238E27FC236}">
                <a16:creationId xmlns:a16="http://schemas.microsoft.com/office/drawing/2014/main" id="{020F516F-8003-42EA-B119-92BBDE90F1C7}"/>
              </a:ext>
            </a:extLst>
          </p:cNvPr>
          <p:cNvSpPr>
            <a:spLocks noGrp="1"/>
          </p:cNvSpPr>
          <p:nvPr>
            <p:ph type="title"/>
          </p:nvPr>
        </p:nvSpPr>
        <p:spPr/>
        <p:txBody>
          <a:bodyPr vert="horz" lIns="91440" tIns="45720" rIns="91440" bIns="45720" rtlCol="0" anchor="ctr">
            <a:normAutofit fontScale="90000"/>
          </a:bodyPr>
          <a:lstStyle/>
          <a:p>
            <a:r>
              <a:rPr lang="en-US" dirty="0">
                <a:solidFill>
                  <a:srgbClr val="00B0F0"/>
                </a:solidFill>
              </a:rPr>
              <a:t>RSM Defense by the numbers</a:t>
            </a:r>
          </a:p>
        </p:txBody>
      </p:sp>
      <p:sp>
        <p:nvSpPr>
          <p:cNvPr id="3" name="Slide Number Placeholder 2">
            <a:extLst>
              <a:ext uri="{FF2B5EF4-FFF2-40B4-BE49-F238E27FC236}">
                <a16:creationId xmlns:a16="http://schemas.microsoft.com/office/drawing/2014/main" id="{E7E9DC9D-8E49-4C6A-9E90-2C08D1D6A438}"/>
              </a:ext>
            </a:extLst>
          </p:cNvPr>
          <p:cNvSpPr>
            <a:spLocks noGrp="1"/>
          </p:cNvSpPr>
          <p:nvPr>
            <p:ph type="sldNum" sz="quarter" idx="10"/>
          </p:nvPr>
        </p:nvSpPr>
        <p:spPr>
          <a:xfrm>
            <a:off x="9786041" y="6423804"/>
            <a:ext cx="365760" cy="153888"/>
          </a:xfrm>
        </p:spPr>
        <p:txBody>
          <a:bodyPr/>
          <a:lstStyle/>
          <a:p>
            <a:fld id="{5F216A59-F14F-4160-BEAB-21121CD18D5D}" type="slidenum">
              <a:rPr lang="en-US" smtClean="0"/>
              <a:t>23</a:t>
            </a:fld>
            <a:endParaRPr lang="en-US"/>
          </a:p>
        </p:txBody>
      </p:sp>
      <p:sp>
        <p:nvSpPr>
          <p:cNvPr id="23" name="Rectangle 22">
            <a:extLst>
              <a:ext uri="{FF2B5EF4-FFF2-40B4-BE49-F238E27FC236}">
                <a16:creationId xmlns:a16="http://schemas.microsoft.com/office/drawing/2014/main" id="{E737FEE2-70C3-43D1-9B1A-A8C2F323EC72}"/>
              </a:ext>
            </a:extLst>
          </p:cNvPr>
          <p:cNvSpPr>
            <a:spLocks noChangeAspect="1"/>
          </p:cNvSpPr>
          <p:nvPr/>
        </p:nvSpPr>
        <p:spPr>
          <a:xfrm>
            <a:off x="9108278" y="3900224"/>
            <a:ext cx="2408243" cy="1103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0341" rIns="40341" anchor="ctr"/>
          <a:lstStyle/>
          <a:p>
            <a:pPr marL="0" marR="0" lvl="0" indent="0" algn="ctr" defTabSz="1037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35+ </a:t>
            </a:r>
            <a:r>
              <a:rPr kumimoji="0" lang="en-US"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RSM Defense team members</a:t>
            </a:r>
            <a:endParaRPr kumimoji="0" lang="en-US" sz="200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pic>
        <p:nvPicPr>
          <p:cNvPr id="1026" name="Picture 2">
            <a:extLst>
              <a:ext uri="{FF2B5EF4-FFF2-40B4-BE49-F238E27FC236}">
                <a16:creationId xmlns:a16="http://schemas.microsoft.com/office/drawing/2014/main" id="{236045A0-3C6C-405A-A802-EFFAF94A3CC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69455" y="3734395"/>
            <a:ext cx="1388974" cy="1388974"/>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FBE25188-8007-4760-BDEF-1505772BFB98}"/>
              </a:ext>
            </a:extLst>
          </p:cNvPr>
          <p:cNvSpPr>
            <a:spLocks noChangeAspect="1"/>
          </p:cNvSpPr>
          <p:nvPr/>
        </p:nvSpPr>
        <p:spPr>
          <a:xfrm>
            <a:off x="1982006" y="1745613"/>
            <a:ext cx="2185589" cy="137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0341" rIns="40341" anchor="ctr"/>
          <a:lstStyle/>
          <a:p>
            <a:pPr marL="0" marR="0" lvl="0" indent="0" defTabSz="1037388" rtl="0" eaLnBrk="1" fontAlgn="auto" latinLnBrk="0" hangingPunct="1">
              <a:lnSpc>
                <a:spcPct val="100000"/>
              </a:lnSpc>
              <a:spcBef>
                <a:spcPts val="0"/>
              </a:spcBef>
              <a:spcAft>
                <a:spcPts val="0"/>
              </a:spcAft>
              <a:buClrTx/>
              <a:buSzTx/>
              <a:buFontTx/>
              <a:buNone/>
              <a:tabLst/>
              <a:defRPr/>
            </a:pPr>
            <a:r>
              <a:rPr lang="en-US" sz="2400" b="1" dirty="0">
                <a:solidFill>
                  <a:schemeClr val="tx1"/>
                </a:solidFill>
                <a:latin typeface="Arial" panose="020B0604020202020204" pitchFamily="34" charset="0"/>
                <a:cs typeface="Arial" panose="020B0604020202020204" pitchFamily="34" charset="0"/>
              </a:rPr>
              <a:t>6</a:t>
            </a:r>
            <a:r>
              <a:rPr kumimoji="0" lang="en-US" sz="2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000+</a:t>
            </a:r>
          </a:p>
          <a:p>
            <a:pPr marL="0" marR="0" lvl="0" indent="0" defTabSz="1037388"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Arial" panose="020B0604020202020204" pitchFamily="34" charset="0"/>
                <a:cs typeface="Arial" panose="020B0604020202020204" pitchFamily="34" charset="0"/>
              </a:rPr>
              <a:t>Cyberattacks identified and blocked weekly</a:t>
            </a:r>
            <a:endPar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33" name="Rectangle 32">
            <a:extLst>
              <a:ext uri="{FF2B5EF4-FFF2-40B4-BE49-F238E27FC236}">
                <a16:creationId xmlns:a16="http://schemas.microsoft.com/office/drawing/2014/main" id="{BC02D2EE-08B1-489E-A106-1B42A53AA7E4}"/>
              </a:ext>
            </a:extLst>
          </p:cNvPr>
          <p:cNvSpPr>
            <a:spLocks noChangeAspect="1"/>
          </p:cNvSpPr>
          <p:nvPr/>
        </p:nvSpPr>
        <p:spPr>
          <a:xfrm>
            <a:off x="4311240" y="1710188"/>
            <a:ext cx="3564579" cy="3657600"/>
          </a:xfrm>
          <a:prstGeom prst="rect">
            <a:avLst/>
          </a:prstGeom>
          <a:blipFill>
            <a:blip r:embed="rId7">
              <a:alphaModFix amt="47000"/>
              <a:duotone>
                <a:schemeClr val="accent1">
                  <a:shade val="45000"/>
                  <a:satMod val="135000"/>
                </a:schemeClr>
                <a:prstClr val="white"/>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a:spLocks noChangeAspect="1"/>
          </p:cNvSpPr>
          <p:nvPr/>
        </p:nvSpPr>
        <p:spPr>
          <a:xfrm>
            <a:off x="4738003" y="3055747"/>
            <a:ext cx="2808442" cy="1103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0341" rIns="40341"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80</a:t>
            </a:r>
            <a:r>
              <a:rPr kumimoji="0" lang="en-US" sz="3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a:p>
            <a:pPr marL="0" marR="0" lvl="0" indent="0" algn="ctr" defTabSz="1037388"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lients on the RSM Defense platform</a:t>
            </a:r>
          </a:p>
        </p:txBody>
      </p:sp>
      <p:pic>
        <p:nvPicPr>
          <p:cNvPr id="37" name="Picture 36">
            <a:extLst>
              <a:ext uri="{FF2B5EF4-FFF2-40B4-BE49-F238E27FC236}">
                <a16:creationId xmlns:a16="http://schemas.microsoft.com/office/drawing/2014/main" id="{EDF8E20D-60E8-4EE5-9C00-37FBAF955A3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7073" y="1646021"/>
            <a:ext cx="1408038" cy="1409726"/>
          </a:xfrm>
          <a:prstGeom prst="rect">
            <a:avLst/>
          </a:prstGeom>
        </p:spPr>
      </p:pic>
    </p:spTree>
    <p:extLst>
      <p:ext uri="{BB962C8B-B14F-4D97-AF65-F5344CB8AC3E}">
        <p14:creationId xmlns:p14="http://schemas.microsoft.com/office/powerpoint/2010/main" val="22408416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Title 4"/>
          <p:cNvSpPr>
            <a:spLocks noGrp="1"/>
          </p:cNvSpPr>
          <p:nvPr>
            <p:ph type="title"/>
          </p:nvPr>
        </p:nvSpPr>
        <p:spPr/>
        <p:txBody>
          <a:bodyPr/>
          <a:lstStyle/>
          <a:p>
            <a:r>
              <a:rPr lang="en-US" dirty="0"/>
              <a:t>A Client Case Study</a:t>
            </a:r>
          </a:p>
        </p:txBody>
      </p:sp>
      <p:sp>
        <p:nvSpPr>
          <p:cNvPr id="215" name="Slide Number Placeholder 3"/>
          <p:cNvSpPr txBox="1">
            <a:spLocks/>
          </p:cNvSpPr>
          <p:nvPr/>
        </p:nvSpPr>
        <p:spPr>
          <a:xfrm>
            <a:off x="26570" y="6560370"/>
            <a:ext cx="2057400" cy="279664"/>
          </a:xfrm>
          <a:prstGeom prst="rect">
            <a:avLst/>
          </a:prstGeom>
        </p:spPr>
        <p:txBody>
          <a:bodyPr/>
          <a:lstStyle>
            <a:defPPr>
              <a:defRPr lang="en-US"/>
            </a:defPPr>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36A99BC-3C9D-4DF8-8B8C-E1FD2BDF0AD4}" type="slidenum">
              <a:rPr kumimoji="0" lang="en-US" sz="1000" b="0" i="0" u="none" strike="noStrike" kern="1200" cap="none" spc="0" normalizeH="0" baseline="0" noProof="0" smtClean="0">
                <a:ln>
                  <a:noFill/>
                </a:ln>
                <a:solidFill>
                  <a:srgbClr val="595959"/>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22" name="Rectangle 121">
            <a:extLst>
              <a:ext uri="{FF2B5EF4-FFF2-40B4-BE49-F238E27FC236}">
                <a16:creationId xmlns:a16="http://schemas.microsoft.com/office/drawing/2014/main" id="{F8637CA2-05D6-4B19-B4E1-FAF6C9FA74CE}"/>
              </a:ext>
            </a:extLst>
          </p:cNvPr>
          <p:cNvSpPr/>
          <p:nvPr/>
        </p:nvSpPr>
        <p:spPr>
          <a:xfrm>
            <a:off x="686689" y="1458339"/>
            <a:ext cx="2552720" cy="4435654"/>
          </a:xfrm>
          <a:prstGeom prst="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path path="circle">
              <a:fillToRect l="100000" b="100000"/>
            </a:path>
            <a:tileRect t="-100000" r="-10000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dirty="0">
              <a:ln>
                <a:noFill/>
              </a:ln>
              <a:solidFill>
                <a:srgbClr val="009CDE"/>
              </a:solidFill>
              <a:effectLst/>
              <a:uLnTx/>
              <a:uFillTx/>
              <a:latin typeface="Arial" panose="020B0604020202020204"/>
              <a:ea typeface="+mn-ea"/>
              <a:cs typeface="Arial"/>
            </a:endParaRPr>
          </a:p>
          <a:p>
            <a:pPr marL="228589" marR="0" lvl="0" indent="-228589" algn="l" defTabSz="914400" rtl="0" eaLnBrk="1" fontAlgn="auto" latinLnBrk="0" hangingPunct="1">
              <a:lnSpc>
                <a:spcPct val="100000"/>
              </a:lnSpc>
              <a:spcBef>
                <a:spcPts val="0"/>
              </a:spcBef>
              <a:spcAft>
                <a:spcPts val="0"/>
              </a:spcAft>
              <a:buClrTx/>
              <a:buSzTx/>
              <a:buFont typeface="Arial"/>
              <a:buChar char="•"/>
              <a:tabLst/>
              <a:defRPr/>
            </a:pPr>
            <a:endParaRPr kumimoji="0" lang="en-US" sz="900" b="0" i="0" u="none" strike="noStrike" kern="1200" cap="none" spc="0" normalizeH="0" baseline="0" noProof="0" dirty="0">
              <a:ln>
                <a:noFill/>
              </a:ln>
              <a:solidFill>
                <a:srgbClr val="595959"/>
              </a:solidFill>
              <a:effectLst/>
              <a:uLnTx/>
              <a:uFillTx/>
              <a:latin typeface="Arial" panose="020B0604020202020204"/>
              <a:ea typeface="+mn-lt"/>
              <a:cs typeface="Arial" panose="020B0604020202020204"/>
            </a:endParaRPr>
          </a:p>
          <a:p>
            <a:pPr marL="228589" marR="0" lvl="0" indent="-228589" algn="l" defTabSz="914400" rtl="0" eaLnBrk="1" fontAlgn="auto" latinLnBrk="0" hangingPunct="1">
              <a:lnSpc>
                <a:spcPct val="100000"/>
              </a:lnSpc>
              <a:spcBef>
                <a:spcPts val="400"/>
              </a:spcBef>
              <a:spcAft>
                <a:spcPts val="0"/>
              </a:spcAft>
              <a:buClrTx/>
              <a:buSzTx/>
              <a:buFont typeface="Arial"/>
              <a:buChar char="•"/>
              <a:tabLst/>
              <a:defRPr/>
            </a:pPr>
            <a:endParaRPr kumimoji="0" lang="en-US" sz="900" b="0" i="0" u="none" strike="noStrike" kern="1200" cap="none" spc="0" normalizeH="0" baseline="0" noProof="0" dirty="0">
              <a:ln>
                <a:noFill/>
              </a:ln>
              <a:solidFill>
                <a:srgbClr val="595959"/>
              </a:solidFill>
              <a:effectLst/>
              <a:uLnTx/>
              <a:uFillTx/>
              <a:latin typeface="Arial" panose="020B0604020202020204"/>
              <a:ea typeface="+mn-lt"/>
              <a:cs typeface="Arial" panose="020B0604020202020204"/>
            </a:endParaRP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900" b="1" i="0" u="none" strike="noStrike" kern="1200" cap="none" spc="0" normalizeH="0" baseline="0" noProof="0" dirty="0">
                <a:ln>
                  <a:noFill/>
                </a:ln>
                <a:solidFill>
                  <a:srgbClr val="4AAA42"/>
                </a:solidFill>
                <a:effectLst/>
                <a:uLnTx/>
                <a:uFillTx/>
                <a:latin typeface="Arial" panose="020B0604020202020204"/>
                <a:ea typeface="+mn-lt"/>
                <a:cs typeface="Arial" panose="020B0604020202020204"/>
              </a:rPr>
              <a:t>Profile</a:t>
            </a:r>
          </a:p>
          <a:p>
            <a:pPr marL="0" marR="0" lvl="0" indent="0" algn="l" defTabSz="914400" rtl="0" eaLnBrk="1" fontAlgn="auto" latinLnBrk="0" hangingPunct="1">
              <a:lnSpc>
                <a:spcPct val="100000"/>
              </a:lnSpc>
              <a:spcBef>
                <a:spcPts val="400"/>
              </a:spcBef>
              <a:spcAft>
                <a:spcPts val="60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Arial" panose="020B0604020202020204"/>
                <a:ea typeface="+mn-lt"/>
                <a:cs typeface="Calibri" panose="020F0502020204030204" pitchFamily="34" charset="0"/>
              </a:rPr>
              <a:t>Non-profit hospital system with 8 medical centers and 300+ clinics &amp; centers supporting 1.8 million clinic visits annually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900" b="1" i="0" u="none" strike="noStrike" kern="1200" cap="none" spc="0" normalizeH="0" baseline="0" noProof="0" dirty="0">
                <a:ln>
                  <a:noFill/>
                </a:ln>
                <a:solidFill>
                  <a:srgbClr val="4AAA42"/>
                </a:solidFill>
                <a:effectLst/>
                <a:uLnTx/>
                <a:uFillTx/>
                <a:latin typeface="Arial" panose="020B0604020202020204"/>
                <a:ea typeface="+mn-lt"/>
                <a:cs typeface="Arial" panose="020B0604020202020204"/>
              </a:rPr>
              <a:t>The challenge</a:t>
            </a:r>
          </a:p>
          <a:p>
            <a:pPr marL="0" marR="0" lvl="0" indent="0" algn="l" defTabSz="914400" rtl="0" eaLnBrk="1" fontAlgn="auto" latinLnBrk="0" hangingPunct="1">
              <a:lnSpc>
                <a:spcPct val="100000"/>
              </a:lnSpc>
              <a:spcBef>
                <a:spcPts val="400"/>
              </a:spcBef>
              <a:spcAft>
                <a:spcPts val="60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Arial" panose="020B0604020202020204"/>
                <a:ea typeface="+mn-lt"/>
                <a:cs typeface="Calibri" panose="020F0502020204030204" pitchFamily="34" charset="0"/>
              </a:rPr>
              <a:t>NIST-based assessment identified significant gaps in cyber program. Board requested       </a:t>
            </a:r>
            <a:r>
              <a:rPr kumimoji="0" lang="en-US" sz="900" b="0" i="1" u="none" strike="noStrike" kern="1200" cap="none" spc="0" normalizeH="0" baseline="0" noProof="0" dirty="0">
                <a:ln>
                  <a:noFill/>
                </a:ln>
                <a:solidFill>
                  <a:srgbClr val="00A5E0"/>
                </a:solidFill>
                <a:effectLst/>
                <a:uLnTx/>
                <a:uFillTx/>
                <a:latin typeface="Arial" panose="020B0604020202020204"/>
                <a:ea typeface="+mn-lt"/>
                <a:cs typeface="Calibri" panose="020F0502020204030204" pitchFamily="34" charset="0"/>
              </a:rPr>
              <a:t>6 month accelerated program </a:t>
            </a:r>
            <a:r>
              <a:rPr kumimoji="0" lang="en-US" sz="900" b="0" i="0" u="none" strike="noStrike" kern="1200" cap="none" spc="0" normalizeH="0" baseline="0" noProof="0" dirty="0">
                <a:ln>
                  <a:noFill/>
                </a:ln>
                <a:solidFill>
                  <a:srgbClr val="595959"/>
                </a:solidFill>
                <a:effectLst/>
                <a:uLnTx/>
                <a:uFillTx/>
                <a:latin typeface="Arial" panose="020B0604020202020204"/>
                <a:ea typeface="+mn-lt"/>
                <a:cs typeface="Calibri" panose="020F0502020204030204" pitchFamily="34" charset="0"/>
              </a:rPr>
              <a:t>to jumpstart cyber risk mitigation efforts through a portfolio of projects aimed at top risks.</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900" b="1" i="0" u="none" strike="noStrike" kern="1200" cap="none" spc="0" normalizeH="0" baseline="0" noProof="0" dirty="0">
                <a:ln>
                  <a:noFill/>
                </a:ln>
                <a:solidFill>
                  <a:srgbClr val="4AAA42"/>
                </a:solidFill>
                <a:effectLst/>
                <a:uLnTx/>
                <a:uFillTx/>
                <a:latin typeface="Arial" panose="020B0604020202020204"/>
                <a:ea typeface="+mn-lt"/>
                <a:cs typeface="Arial" panose="020B0604020202020204"/>
              </a:rPr>
              <a:t>Key pain points</a:t>
            </a:r>
            <a:endParaRPr kumimoji="0" lang="en-US" sz="900" b="0" i="0" u="none" strike="noStrike" kern="1200" cap="none" spc="0" normalizeH="0" baseline="0" noProof="0" dirty="0">
              <a:ln>
                <a:noFill/>
              </a:ln>
              <a:solidFill>
                <a:srgbClr val="595959"/>
              </a:solidFill>
              <a:effectLst/>
              <a:uLnTx/>
              <a:uFillTx/>
              <a:latin typeface="Arial" panose="020B0604020202020204"/>
              <a:ea typeface="+mn-lt"/>
              <a:cs typeface="Arial" panose="020B0604020202020204"/>
            </a:endParaRPr>
          </a:p>
          <a:p>
            <a:pPr marL="304784" marR="0" lvl="0" indent="-304784" algn="l" defTabSz="914400" rtl="0" eaLnBrk="1" fontAlgn="auto" latinLnBrk="0" hangingPunct="1">
              <a:lnSpc>
                <a:spcPct val="100000"/>
              </a:lnSpc>
              <a:spcBef>
                <a:spcPts val="40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595959"/>
                </a:solidFill>
                <a:effectLst/>
                <a:uLnTx/>
                <a:uFillTx/>
                <a:latin typeface="Arial" panose="020B0604020202020204"/>
                <a:ea typeface="+mn-lt"/>
                <a:cs typeface="Calibri" panose="020F0502020204030204" pitchFamily="34" charset="0"/>
              </a:rPr>
              <a:t>Lack of consistent patching and vulnerability management processes</a:t>
            </a:r>
          </a:p>
          <a:p>
            <a:pPr marL="304784" marR="0" lvl="0" indent="-30478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595959"/>
                </a:solidFill>
                <a:effectLst/>
                <a:uLnTx/>
                <a:uFillTx/>
                <a:latin typeface="Arial" panose="020B0604020202020204"/>
                <a:ea typeface="+mn-lt"/>
                <a:cs typeface="Calibri" panose="020F0502020204030204" pitchFamily="34" charset="0"/>
              </a:rPr>
              <a:t>Significant # of unsupported IT assets</a:t>
            </a:r>
          </a:p>
          <a:p>
            <a:pPr marL="304784" marR="0" lvl="0" indent="-30478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595959"/>
                </a:solidFill>
                <a:effectLst/>
                <a:uLnTx/>
                <a:uFillTx/>
                <a:latin typeface="Arial" panose="020B0604020202020204"/>
                <a:ea typeface="+mn-ea"/>
                <a:cs typeface="Calibri" panose="020F0502020204030204" pitchFamily="34" charset="0"/>
              </a:rPr>
              <a:t>No defined return to service plan from systemic outage (e.g., ransomware)</a:t>
            </a:r>
          </a:p>
          <a:p>
            <a:pPr marL="304784" marR="0" lvl="0" indent="-30478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595959"/>
                </a:solidFill>
                <a:effectLst/>
                <a:uLnTx/>
                <a:uFillTx/>
                <a:latin typeface="Arial" panose="020B0604020202020204"/>
                <a:ea typeface="+mn-ea"/>
                <a:cs typeface="Calibri" panose="020F0502020204030204" pitchFamily="34" charset="0"/>
              </a:rPr>
              <a:t>Inconsistent and missing processes within continuity of operations plans</a:t>
            </a:r>
          </a:p>
          <a:p>
            <a:pPr marL="304784" marR="0" lvl="0" indent="-30478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595959"/>
                </a:solidFill>
                <a:effectLst/>
                <a:uLnTx/>
                <a:uFillTx/>
                <a:latin typeface="Arial" panose="020B0604020202020204"/>
                <a:ea typeface="+mn-ea"/>
                <a:cs typeface="Calibri" panose="020F0502020204030204" pitchFamily="34" charset="0"/>
              </a:rPr>
              <a:t>Limited insights from existing cyber event detection solutions (e.g., SIEM)</a:t>
            </a:r>
          </a:p>
          <a:p>
            <a:pPr marL="304784" marR="0" lvl="0" indent="-30478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595959"/>
                </a:solidFill>
                <a:effectLst/>
                <a:uLnTx/>
                <a:uFillTx/>
                <a:latin typeface="Arial" panose="020B0604020202020204"/>
                <a:ea typeface="+mn-ea"/>
                <a:cs typeface="Calibri" panose="020F0502020204030204" pitchFamily="34" charset="0"/>
              </a:rPr>
              <a:t>Gaps in hardened configuration of Azure cloud environment</a:t>
            </a:r>
          </a:p>
          <a:p>
            <a:pPr marL="304784" marR="0" lvl="0" indent="-30478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595959"/>
                </a:solidFill>
                <a:effectLst/>
                <a:uLnTx/>
                <a:uFillTx/>
                <a:latin typeface="Arial" panose="020B0604020202020204"/>
                <a:ea typeface="+mn-lt"/>
                <a:cs typeface="Calibri" panose="020F0502020204030204" pitchFamily="34" charset="0"/>
              </a:rPr>
              <a:t>Missing web app protections</a:t>
            </a:r>
          </a:p>
        </p:txBody>
      </p:sp>
      <p:sp>
        <p:nvSpPr>
          <p:cNvPr id="123" name="Rectangle 122">
            <a:extLst>
              <a:ext uri="{FF2B5EF4-FFF2-40B4-BE49-F238E27FC236}">
                <a16:creationId xmlns:a16="http://schemas.microsoft.com/office/drawing/2014/main" id="{4FA9D08F-70D1-4A63-A887-2C283F3F9D05}"/>
              </a:ext>
            </a:extLst>
          </p:cNvPr>
          <p:cNvSpPr/>
          <p:nvPr/>
        </p:nvSpPr>
        <p:spPr>
          <a:xfrm>
            <a:off x="3485382" y="1458340"/>
            <a:ext cx="2551176" cy="4435654"/>
          </a:xfrm>
          <a:prstGeom prst="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path path="circle">
              <a:fillToRect l="100000" b="100000"/>
            </a:path>
            <a:tileRect t="-100000" r="-10000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t"/>
          <a:lstStyle/>
          <a:p>
            <a:pPr marL="228589" marR="0" lvl="0" indent="-228589" algn="l" defTabSz="914400" rtl="0" eaLnBrk="1" fontAlgn="auto" latinLnBrk="0" hangingPunct="1">
              <a:lnSpc>
                <a:spcPct val="100000"/>
              </a:lnSpc>
              <a:spcBef>
                <a:spcPts val="0"/>
              </a:spcBef>
              <a:spcAft>
                <a:spcPts val="0"/>
              </a:spcAft>
              <a:buClrTx/>
              <a:buSzTx/>
              <a:buFont typeface="Arial"/>
              <a:buChar char="•"/>
              <a:tabLst/>
              <a:defRPr/>
            </a:pPr>
            <a:endParaRPr kumimoji="0" lang="en-US" sz="900" b="0" i="0" u="none" strike="noStrike" kern="1200" cap="none" spc="0" normalizeH="0" baseline="0" noProof="0">
              <a:ln>
                <a:noFill/>
              </a:ln>
              <a:solidFill>
                <a:srgbClr val="595959"/>
              </a:solidFill>
              <a:effectLst/>
              <a:uLnTx/>
              <a:uFillTx/>
              <a:latin typeface="Arial" panose="020B0604020202020204"/>
              <a:ea typeface="+mn-ea"/>
              <a:cs typeface="Arial"/>
            </a:endParaRPr>
          </a:p>
          <a:p>
            <a:pPr marL="228589" marR="0" lvl="1" indent="-228589" algn="l" defTabSz="914400" rtl="0" eaLnBrk="1" fontAlgn="auto" latinLnBrk="0" hangingPunct="1">
              <a:lnSpc>
                <a:spcPct val="100000"/>
              </a:lnSpc>
              <a:spcBef>
                <a:spcPts val="133"/>
              </a:spcBef>
              <a:spcAft>
                <a:spcPts val="133"/>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595959"/>
              </a:solidFill>
              <a:effectLst/>
              <a:uLnTx/>
              <a:uFillTx/>
              <a:latin typeface="Arial" panose="020B0604020202020204"/>
              <a:ea typeface="+mn-ea"/>
              <a:cs typeface="+mn-cs"/>
            </a:endParaRPr>
          </a:p>
          <a:p>
            <a:pPr marL="228589" marR="0" lvl="0" indent="-228589" algn="l" defTabSz="914400" rtl="0" eaLnBrk="1" fontAlgn="auto" latinLnBrk="0" hangingPunct="1">
              <a:lnSpc>
                <a:spcPct val="100000"/>
              </a:lnSpc>
              <a:spcBef>
                <a:spcPts val="0"/>
              </a:spcBef>
              <a:spcAft>
                <a:spcPts val="0"/>
              </a:spcAft>
              <a:buClrTx/>
              <a:buSzTx/>
              <a:buFont typeface="Arial"/>
              <a:buChar char="•"/>
              <a:tabLst/>
              <a:defRPr/>
            </a:pPr>
            <a:endParaRPr kumimoji="0" lang="en-US" sz="900" b="0" i="0" u="none" strike="noStrike" kern="1200" cap="none" spc="0" normalizeH="0" baseline="0" noProof="0">
              <a:ln>
                <a:noFill/>
              </a:ln>
              <a:solidFill>
                <a:srgbClr val="595959"/>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900" b="1" i="0" u="none" strike="noStrike" kern="1200" cap="none" spc="0" normalizeH="0" baseline="0" noProof="0">
                <a:ln>
                  <a:noFill/>
                </a:ln>
                <a:solidFill>
                  <a:srgbClr val="4AAA42"/>
                </a:solidFill>
                <a:effectLst/>
                <a:uLnTx/>
                <a:uFillTx/>
                <a:latin typeface="Arial" panose="020B0604020202020204"/>
                <a:ea typeface="+mn-lt"/>
                <a:cs typeface="Arial" panose="020B0604020202020204"/>
              </a:rPr>
              <a:t>Key client needs</a:t>
            </a:r>
          </a:p>
          <a:p>
            <a:pPr marL="0" marR="0" lvl="0" indent="0" algn="l" defTabSz="914400" rtl="0" eaLnBrk="1" fontAlgn="auto" latinLnBrk="0" hangingPunct="1">
              <a:lnSpc>
                <a:spcPct val="100000"/>
              </a:lnSpc>
              <a:spcBef>
                <a:spcPts val="400"/>
              </a:spcBef>
              <a:spcAft>
                <a:spcPts val="600"/>
              </a:spcAft>
              <a:buClrTx/>
              <a:buSzTx/>
              <a:buFontTx/>
              <a:buNone/>
              <a:tabLst/>
              <a:defRPr/>
            </a:pPr>
            <a:r>
              <a:rPr kumimoji="0" lang="en-US" sz="900" b="0" i="1" u="none" strike="noStrike" kern="1200" cap="none" spc="0" normalizeH="0" baseline="0" noProof="0">
                <a:ln>
                  <a:noFill/>
                </a:ln>
                <a:solidFill>
                  <a:srgbClr val="00A5E0"/>
                </a:solidFill>
                <a:effectLst/>
                <a:uLnTx/>
                <a:uFillTx/>
                <a:latin typeface="Arial" panose="020B0604020202020204"/>
                <a:ea typeface="+mn-ea"/>
                <a:cs typeface="Calibri" panose="020F0502020204030204" pitchFamily="34" charset="0"/>
              </a:rPr>
              <a:t>Structure a PMO</a:t>
            </a:r>
            <a:r>
              <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Calibri" panose="020F0502020204030204" pitchFamily="34" charset="0"/>
              </a:rPr>
              <a:t> in order to orchestrate delivery of multiple security work streams under accelerated time frames.  </a:t>
            </a:r>
            <a:r>
              <a:rPr kumimoji="0" lang="en-US" sz="900" b="0" i="1" u="none" strike="noStrike" kern="1200" cap="none" spc="0" normalizeH="0" baseline="0" noProof="0">
                <a:ln>
                  <a:noFill/>
                </a:ln>
                <a:solidFill>
                  <a:srgbClr val="00A5E0"/>
                </a:solidFill>
                <a:effectLst/>
                <a:uLnTx/>
                <a:uFillTx/>
                <a:latin typeface="Arial" panose="020B0604020202020204"/>
                <a:ea typeface="+mn-ea"/>
                <a:cs typeface="Calibri" panose="020F0502020204030204" pitchFamily="34" charset="0"/>
              </a:rPr>
              <a:t>Provide subject matter experts</a:t>
            </a:r>
            <a:r>
              <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Calibri" panose="020F0502020204030204" pitchFamily="34" charset="0"/>
              </a:rPr>
              <a:t> to supplement existing cybersecurity organization and bring leading practice insights</a:t>
            </a:r>
          </a:p>
          <a:p>
            <a:pPr marL="0" marR="0" lvl="0" indent="0" algn="l" defTabSz="914400" rtl="0" eaLnBrk="1" fontAlgn="auto" latinLnBrk="0" hangingPunct="1">
              <a:lnSpc>
                <a:spcPct val="100000"/>
              </a:lnSpc>
              <a:spcBef>
                <a:spcPts val="400"/>
              </a:spcBef>
              <a:spcAft>
                <a:spcPts val="600"/>
              </a:spcAft>
              <a:buClrTx/>
              <a:buSzTx/>
              <a:buFontTx/>
              <a:buNone/>
              <a:tabLst/>
              <a:defRPr/>
            </a:pPr>
            <a:r>
              <a:rPr kumimoji="0" lang="en-US" sz="900" b="1" i="0" u="none" strike="noStrike" kern="1200" cap="none" spc="0" normalizeH="0" baseline="0" noProof="0">
                <a:ln>
                  <a:noFill/>
                </a:ln>
                <a:solidFill>
                  <a:srgbClr val="4AAA42"/>
                </a:solidFill>
                <a:effectLst/>
                <a:uLnTx/>
                <a:uFillTx/>
                <a:latin typeface="Arial" panose="020B0604020202020204"/>
                <a:ea typeface="+mn-lt"/>
                <a:cs typeface="Arial" panose="020B0604020202020204"/>
              </a:rPr>
              <a:t>Why RSM?</a:t>
            </a:r>
          </a:p>
          <a:p>
            <a:pPr marL="0" marR="0" lvl="1" indent="0" algn="l" defTabSz="914400" rtl="0" eaLnBrk="1" fontAlgn="auto" latinLnBrk="0" hangingPunct="1">
              <a:lnSpc>
                <a:spcPct val="100000"/>
              </a:lnSpc>
              <a:spcBef>
                <a:spcPts val="400"/>
              </a:spcBef>
              <a:spcAft>
                <a:spcPts val="300"/>
              </a:spcAft>
              <a:buClrTx/>
              <a:buSzTx/>
              <a:buFontTx/>
              <a:buNone/>
              <a:tabLst/>
              <a:defRPr/>
            </a:pPr>
            <a:r>
              <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Calibri" panose="020F0502020204030204" pitchFamily="34" charset="0"/>
              </a:rPr>
              <a:t>After receiving board approval, the CISO selected RSM for our ability to: </a:t>
            </a:r>
          </a:p>
          <a:p>
            <a:pPr marL="304784" marR="0" lvl="1" indent="-30478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1" u="none" strike="noStrike" kern="1200" cap="none" spc="0" normalizeH="0" baseline="0" noProof="0">
                <a:ln>
                  <a:noFill/>
                </a:ln>
                <a:solidFill>
                  <a:srgbClr val="00A5E0"/>
                </a:solidFill>
                <a:effectLst/>
                <a:uLnTx/>
                <a:uFillTx/>
                <a:latin typeface="Arial" panose="020B0604020202020204"/>
                <a:ea typeface="+mn-ea"/>
                <a:cs typeface="Calibri" panose="020F0502020204030204" pitchFamily="34" charset="0"/>
              </a:rPr>
              <a:t>Depth of experience with program oversight</a:t>
            </a:r>
            <a:r>
              <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Calibri" panose="020F0502020204030204" pitchFamily="34" charset="0"/>
              </a:rPr>
              <a:t>, including facilitating steering committee sessions and day-to-day program management office (PMO) activities, and coordinating across 10 project work streams</a:t>
            </a:r>
          </a:p>
          <a:p>
            <a:pPr marL="304784" marR="0" lvl="1" indent="-30478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Calibri" panose="020F0502020204030204" pitchFamily="34" charset="0"/>
              </a:rPr>
              <a:t>Our understanding of client’s requirements and ability to </a:t>
            </a:r>
            <a:r>
              <a:rPr kumimoji="0" lang="en-US" sz="900" b="0" i="1" u="none" strike="noStrike" kern="1200" cap="none" spc="0" normalizeH="0" baseline="0" noProof="0">
                <a:ln>
                  <a:noFill/>
                </a:ln>
                <a:solidFill>
                  <a:srgbClr val="00A5E0"/>
                </a:solidFill>
                <a:effectLst/>
                <a:uLnTx/>
                <a:uFillTx/>
                <a:latin typeface="Arial" panose="020B0604020202020204"/>
                <a:ea typeface="+mn-ea"/>
                <a:cs typeface="Calibri" panose="020F0502020204030204" pitchFamily="34" charset="0"/>
              </a:rPr>
              <a:t>bring cybersecurity transformation, operational experience, and managed security services</a:t>
            </a:r>
          </a:p>
          <a:p>
            <a:pPr marL="304784" marR="0" lvl="1" indent="-30478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Calibri" panose="020F0502020204030204" pitchFamily="34" charset="0"/>
              </a:rPr>
              <a:t>Ability to quick ramp-up and onboard to meet ambitious 6-month timeline</a:t>
            </a:r>
            <a:endPar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mn-cs"/>
            </a:endParaRPr>
          </a:p>
          <a:p>
            <a:pPr marL="228589" marR="0" lvl="1" indent="-228589" algn="l" defTabSz="914400" rtl="0" eaLnBrk="1" fontAlgn="auto" latinLnBrk="0" hangingPunct="1">
              <a:lnSpc>
                <a:spcPct val="100000"/>
              </a:lnSpc>
              <a:spcBef>
                <a:spcPts val="133"/>
              </a:spcBef>
              <a:spcAft>
                <a:spcPts val="133"/>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124" name="Rectangle 123">
            <a:extLst>
              <a:ext uri="{FF2B5EF4-FFF2-40B4-BE49-F238E27FC236}">
                <a16:creationId xmlns:a16="http://schemas.microsoft.com/office/drawing/2014/main" id="{C8B4C0EA-78C6-43AC-B799-1B16F3B849A7}"/>
              </a:ext>
            </a:extLst>
          </p:cNvPr>
          <p:cNvSpPr/>
          <p:nvPr/>
        </p:nvSpPr>
        <p:spPr>
          <a:xfrm>
            <a:off x="6268038" y="1458339"/>
            <a:ext cx="2551176" cy="4435655"/>
          </a:xfrm>
          <a:prstGeom prst="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path path="circle">
              <a:fillToRect l="100000" b="100000"/>
            </a:path>
            <a:tileRect t="-100000" r="-10000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t"/>
          <a:lstStyle/>
          <a:p>
            <a:pPr marL="228589" marR="0" lvl="0" indent="-228589" algn="l" defTabSz="914400" rtl="0" eaLnBrk="1" fontAlgn="auto" latinLnBrk="0" hangingPunct="1">
              <a:lnSpc>
                <a:spcPct val="100000"/>
              </a:lnSpc>
              <a:spcBef>
                <a:spcPts val="0"/>
              </a:spcBef>
              <a:spcAft>
                <a:spcPts val="0"/>
              </a:spcAft>
              <a:buClrTx/>
              <a:buSzTx/>
              <a:buFont typeface="Arial"/>
              <a:buChar char="•"/>
              <a:tabLst/>
              <a:defRPr/>
            </a:pPr>
            <a:endParaRPr kumimoji="0" lang="en-US" sz="900" b="0" i="0" u="none" strike="noStrike" kern="1200" cap="none" spc="0" normalizeH="0" baseline="0" noProof="0">
              <a:ln>
                <a:noFill/>
              </a:ln>
              <a:solidFill>
                <a:srgbClr val="595959"/>
              </a:solidFill>
              <a:effectLst/>
              <a:uLnTx/>
              <a:uFillTx/>
              <a:latin typeface="Arial" panose="020B0604020202020204"/>
              <a:ea typeface="+mn-ea"/>
              <a:cs typeface="Arial"/>
            </a:endParaRPr>
          </a:p>
          <a:p>
            <a:pPr marL="228589" marR="0" lvl="0" indent="-228589" algn="l" defTabSz="914400" rtl="0" eaLnBrk="1" fontAlgn="auto" latinLnBrk="0" hangingPunct="1">
              <a:lnSpc>
                <a:spcPct val="100000"/>
              </a:lnSpc>
              <a:spcBef>
                <a:spcPts val="0"/>
              </a:spcBef>
              <a:spcAft>
                <a:spcPts val="0"/>
              </a:spcAft>
              <a:buClrTx/>
              <a:buSzTx/>
              <a:buFont typeface="Arial"/>
              <a:buChar char="•"/>
              <a:tabLst/>
              <a:defRPr/>
            </a:pPr>
            <a:endParaRPr kumimoji="0" lang="en-US" sz="900" b="0" i="0" u="none" strike="noStrike" kern="1200" cap="none" spc="0" normalizeH="0" baseline="0" noProof="0">
              <a:ln>
                <a:noFill/>
              </a:ln>
              <a:solidFill>
                <a:srgbClr val="595959"/>
              </a:solidFill>
              <a:effectLst/>
              <a:uLnTx/>
              <a:uFillTx/>
              <a:latin typeface="Arial" panose="020B0604020202020204"/>
              <a:ea typeface="+mn-ea"/>
              <a:cs typeface="Arial"/>
            </a:endParaRPr>
          </a:p>
          <a:p>
            <a:pPr marL="228589" marR="0" lvl="0" indent="-228589" algn="l" defTabSz="914400" rtl="0" eaLnBrk="1" fontAlgn="auto" latinLnBrk="0" hangingPunct="1">
              <a:lnSpc>
                <a:spcPct val="100000"/>
              </a:lnSpc>
              <a:spcBef>
                <a:spcPts val="0"/>
              </a:spcBef>
              <a:spcAft>
                <a:spcPts val="0"/>
              </a:spcAft>
              <a:buClrTx/>
              <a:buSzTx/>
              <a:buFont typeface="Arial"/>
              <a:buChar char="•"/>
              <a:tabLst/>
              <a:defRPr/>
            </a:pPr>
            <a:endParaRPr kumimoji="0" lang="en-US" sz="900" b="0" i="0" u="none" strike="noStrike" kern="1200" cap="none" spc="0" normalizeH="0" baseline="0" noProof="0">
              <a:ln>
                <a:noFill/>
              </a:ln>
              <a:solidFill>
                <a:srgbClr val="595959"/>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400"/>
              </a:spcBef>
              <a:spcAft>
                <a:spcPts val="600"/>
              </a:spcAft>
              <a:buClrTx/>
              <a:buSzTx/>
              <a:buFontTx/>
              <a:buNone/>
              <a:tabLst/>
              <a:defRPr/>
            </a:pPr>
            <a:r>
              <a:rPr kumimoji="0" lang="en-US" sz="900" b="1" i="0" u="none" strike="noStrike" kern="1200" cap="none" spc="0" normalizeH="0" baseline="0" noProof="0">
                <a:ln>
                  <a:noFill/>
                </a:ln>
                <a:solidFill>
                  <a:srgbClr val="4AAA42"/>
                </a:solidFill>
                <a:effectLst/>
                <a:uLnTx/>
                <a:uFillTx/>
                <a:latin typeface="Arial" panose="020B0604020202020204"/>
                <a:ea typeface="+mn-lt"/>
                <a:cs typeface="Arial" panose="020B0604020202020204"/>
              </a:rPr>
              <a:t>Results</a:t>
            </a:r>
          </a:p>
          <a:p>
            <a:pPr marL="228594" marR="0" lvl="0" indent="-22859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Calibri" panose="020F0502020204030204" pitchFamily="34" charset="0"/>
              </a:rPr>
              <a:t>Established program management framework to support current and future cyber efforts along with toolkit of templates and accelerators</a:t>
            </a:r>
          </a:p>
          <a:p>
            <a:pPr marL="228594" marR="0" lvl="0" indent="-22859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Calibri" panose="020F0502020204030204" pitchFamily="34" charset="0"/>
              </a:rPr>
              <a:t>Streamlined asset research with consolidation of 9 asset sources into a </a:t>
            </a:r>
            <a:r>
              <a:rPr kumimoji="0" lang="en-US" sz="900" b="0" i="1" u="none" strike="noStrike" kern="1200" cap="none" spc="0" normalizeH="0" baseline="0" noProof="0">
                <a:ln>
                  <a:noFill/>
                </a:ln>
                <a:solidFill>
                  <a:srgbClr val="00A5E0"/>
                </a:solidFill>
                <a:effectLst/>
                <a:uLnTx/>
                <a:uFillTx/>
                <a:latin typeface="Arial" panose="020B0604020202020204"/>
                <a:ea typeface="+mn-ea"/>
                <a:cs typeface="Calibri" panose="020F0502020204030204" pitchFamily="34" charset="0"/>
              </a:rPr>
              <a:t>custom PowerBI tool</a:t>
            </a:r>
          </a:p>
          <a:p>
            <a:pPr marL="228594" marR="0" lvl="0" indent="-22859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Calibri" panose="020F0502020204030204" pitchFamily="34" charset="0"/>
              </a:rPr>
              <a:t>Defined methodology to </a:t>
            </a:r>
            <a:r>
              <a:rPr kumimoji="0" lang="en-US" sz="900" b="0" i="1" u="none" strike="noStrike" kern="1200" cap="none" spc="0" normalizeH="0" baseline="0" noProof="0">
                <a:ln>
                  <a:noFill/>
                </a:ln>
                <a:solidFill>
                  <a:srgbClr val="00A5E0"/>
                </a:solidFill>
                <a:effectLst/>
                <a:uLnTx/>
                <a:uFillTx/>
                <a:latin typeface="Arial" panose="020B0604020202020204"/>
                <a:ea typeface="+mn-ea"/>
                <a:cs typeface="Calibri" panose="020F0502020204030204" pitchFamily="34" charset="0"/>
              </a:rPr>
              <a:t>disposition unsupported assets</a:t>
            </a:r>
            <a:r>
              <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Calibri" panose="020F0502020204030204" pitchFamily="34" charset="0"/>
              </a:rPr>
              <a:t> and applied to     45+ application and 240 hosts+.</a:t>
            </a:r>
          </a:p>
          <a:p>
            <a:pPr marL="228594" marR="0" lvl="0" indent="-22859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1" u="none" strike="noStrike" kern="1200" cap="none" spc="0" normalizeH="0" baseline="0" noProof="0">
                <a:ln>
                  <a:noFill/>
                </a:ln>
                <a:solidFill>
                  <a:srgbClr val="00A5E0"/>
                </a:solidFill>
                <a:effectLst/>
                <a:uLnTx/>
                <a:uFillTx/>
                <a:latin typeface="Arial" panose="020B0604020202020204"/>
                <a:ea typeface="+mn-ea"/>
                <a:cs typeface="Calibri" panose="020F0502020204030204" pitchFamily="34" charset="0"/>
              </a:rPr>
              <a:t>Deployed RSM Defense </a:t>
            </a:r>
            <a:r>
              <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Calibri" panose="020F0502020204030204" pitchFamily="34" charset="0"/>
              </a:rPr>
              <a:t>for on-going vulnerability scanning of 20k+ assets.</a:t>
            </a:r>
          </a:p>
          <a:p>
            <a:pPr marL="228594" marR="0" lvl="0" indent="-22859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Calibri" panose="020F0502020204030204" pitchFamily="34" charset="0"/>
              </a:rPr>
              <a:t>Evaluated and piloted DDoS/WAF solution to protect 50+ web apps</a:t>
            </a:r>
          </a:p>
          <a:p>
            <a:pPr marL="228594" marR="0" lvl="0" indent="-22859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Calibri" panose="020F0502020204030204" pitchFamily="34" charset="0"/>
              </a:rPr>
              <a:t>Identified 50+ cloud configuration gaps and defined roadmap for remediation and future state preventative controls</a:t>
            </a:r>
          </a:p>
          <a:p>
            <a:pPr marL="228594" marR="0" lvl="0" indent="-22859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Calibri" panose="020F0502020204030204" pitchFamily="34" charset="0"/>
              </a:rPr>
              <a:t>Built roadmap to </a:t>
            </a:r>
            <a:r>
              <a:rPr kumimoji="0" lang="en-US" sz="900" b="0" i="1" u="none" strike="noStrike" kern="1200" cap="none" spc="0" normalizeH="0" baseline="0" noProof="0">
                <a:ln>
                  <a:noFill/>
                </a:ln>
                <a:solidFill>
                  <a:srgbClr val="00A5E0"/>
                </a:solidFill>
                <a:effectLst/>
                <a:uLnTx/>
                <a:uFillTx/>
                <a:latin typeface="Arial" panose="020B0604020202020204"/>
                <a:ea typeface="+mn-ea"/>
                <a:cs typeface="Calibri" panose="020F0502020204030204" pitchFamily="34" charset="0"/>
              </a:rPr>
              <a:t>redesign continuity planning for all entities </a:t>
            </a:r>
            <a:r>
              <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Calibri" panose="020F0502020204030204" pitchFamily="34" charset="0"/>
              </a:rPr>
              <a:t>and defined steps to build an enterprise-wide COOP</a:t>
            </a:r>
          </a:p>
          <a:p>
            <a:pPr marL="228594" marR="0" lvl="0" indent="-22859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Calibri" panose="020F0502020204030204" pitchFamily="34" charset="0"/>
              </a:rPr>
              <a:t>Built roadmap for increased alert fidelity through addition of 20+ log sources.  </a:t>
            </a:r>
            <a:r>
              <a:rPr kumimoji="0" lang="en-US" sz="900" b="0" i="1" u="none" strike="noStrike" kern="1200" cap="none" spc="0" normalizeH="0" baseline="0" noProof="0">
                <a:ln>
                  <a:noFill/>
                </a:ln>
                <a:solidFill>
                  <a:srgbClr val="00A5E0"/>
                </a:solidFill>
                <a:effectLst/>
                <a:uLnTx/>
                <a:uFillTx/>
                <a:latin typeface="Arial" panose="020B0604020202020204"/>
                <a:ea typeface="+mn-ea"/>
                <a:cs typeface="Calibri" panose="020F0502020204030204" pitchFamily="34" charset="0"/>
              </a:rPr>
              <a:t>Designed over 100+ new alerts </a:t>
            </a:r>
            <a:r>
              <a:rPr kumimoji="0" lang="en-US" sz="900" b="0" i="0" u="none" strike="noStrike" kern="1200" cap="none" spc="0" normalizeH="0" baseline="0" noProof="0">
                <a:ln>
                  <a:noFill/>
                </a:ln>
                <a:solidFill>
                  <a:srgbClr val="E7E6E6">
                    <a:lumMod val="50000"/>
                  </a:srgbClr>
                </a:solidFill>
                <a:effectLst/>
                <a:uLnTx/>
                <a:uFillTx/>
                <a:latin typeface="Arial" panose="020B0604020202020204"/>
                <a:ea typeface="+mn-ea"/>
                <a:cs typeface="Calibri" panose="020F0502020204030204" pitchFamily="34" charset="0"/>
              </a:rPr>
              <a:t>to warn of potential cyber attack. </a:t>
            </a:r>
          </a:p>
        </p:txBody>
      </p:sp>
      <p:sp>
        <p:nvSpPr>
          <p:cNvPr id="125" name="Arrow: Pentagon 1">
            <a:extLst>
              <a:ext uri="{FF2B5EF4-FFF2-40B4-BE49-F238E27FC236}">
                <a16:creationId xmlns:a16="http://schemas.microsoft.com/office/drawing/2014/main" id="{249B14DF-761B-4953-A13C-9D7B952F7384}"/>
              </a:ext>
            </a:extLst>
          </p:cNvPr>
          <p:cNvSpPr/>
          <p:nvPr/>
        </p:nvSpPr>
        <p:spPr>
          <a:xfrm>
            <a:off x="427853" y="1572319"/>
            <a:ext cx="2823243" cy="285717"/>
          </a:xfrm>
          <a:prstGeom prst="homePlat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panose="020B0604020202020204"/>
                <a:ea typeface="+mn-ea"/>
                <a:cs typeface="+mn-cs"/>
              </a:rPr>
              <a:t>Client background</a:t>
            </a:r>
          </a:p>
        </p:txBody>
      </p:sp>
      <p:sp>
        <p:nvSpPr>
          <p:cNvPr id="126" name="Arrow: Pentagon 14">
            <a:extLst>
              <a:ext uri="{FF2B5EF4-FFF2-40B4-BE49-F238E27FC236}">
                <a16:creationId xmlns:a16="http://schemas.microsoft.com/office/drawing/2014/main" id="{3F85EEBF-005D-48F0-9A8B-EB351CD4E733}"/>
              </a:ext>
            </a:extLst>
          </p:cNvPr>
          <p:cNvSpPr/>
          <p:nvPr/>
        </p:nvSpPr>
        <p:spPr>
          <a:xfrm>
            <a:off x="3329068" y="1565227"/>
            <a:ext cx="2728872" cy="285717"/>
          </a:xfrm>
          <a:prstGeom prst="homePlat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121920" tIns="60960" rIns="121920" bIns="6096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a:ln>
                  <a:noFill/>
                </a:ln>
                <a:solidFill>
                  <a:srgbClr val="FFFFFF"/>
                </a:solidFill>
                <a:effectLst/>
                <a:uLnTx/>
                <a:uFillTx/>
                <a:latin typeface="Arial" panose="020B0604020202020204"/>
                <a:ea typeface="+mn-ea"/>
                <a:cs typeface="Arial"/>
              </a:rPr>
              <a:t>Solution</a:t>
            </a:r>
          </a:p>
        </p:txBody>
      </p:sp>
      <p:sp>
        <p:nvSpPr>
          <p:cNvPr id="127" name="Arrow: Pentagon 15">
            <a:extLst>
              <a:ext uri="{FF2B5EF4-FFF2-40B4-BE49-F238E27FC236}">
                <a16:creationId xmlns:a16="http://schemas.microsoft.com/office/drawing/2014/main" id="{C0FA2769-18E7-4960-AD8D-855C60BC9032}"/>
              </a:ext>
            </a:extLst>
          </p:cNvPr>
          <p:cNvSpPr/>
          <p:nvPr/>
        </p:nvSpPr>
        <p:spPr>
          <a:xfrm>
            <a:off x="6121301" y="1565226"/>
            <a:ext cx="2697913" cy="285717"/>
          </a:xfrm>
          <a:prstGeom prst="homePlat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121920" tIns="60960" rIns="121920" bIns="6096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a:ln>
                  <a:noFill/>
                </a:ln>
                <a:solidFill>
                  <a:srgbClr val="FFFFFF"/>
                </a:solidFill>
                <a:effectLst/>
                <a:uLnTx/>
                <a:uFillTx/>
                <a:latin typeface="Arial" panose="020B0604020202020204"/>
                <a:ea typeface="+mn-ea"/>
                <a:cs typeface="Arial"/>
              </a:rPr>
              <a:t>Impact</a:t>
            </a:r>
            <a:endParaRPr kumimoji="0" lang="en-US" sz="1333"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C61CC855-3692-4964-BA3F-2E2ED1207846}"/>
              </a:ext>
            </a:extLst>
          </p:cNvPr>
          <p:cNvGrpSpPr/>
          <p:nvPr/>
        </p:nvGrpSpPr>
        <p:grpSpPr>
          <a:xfrm>
            <a:off x="9037675" y="1254641"/>
            <a:ext cx="2803578" cy="4742121"/>
            <a:chOff x="9037675" y="1254642"/>
            <a:chExt cx="2803578" cy="4635798"/>
          </a:xfrm>
        </p:grpSpPr>
        <p:grpSp>
          <p:nvGrpSpPr>
            <p:cNvPr id="19" name="Group 18">
              <a:extLst>
                <a:ext uri="{FF2B5EF4-FFF2-40B4-BE49-F238E27FC236}">
                  <a16:creationId xmlns:a16="http://schemas.microsoft.com/office/drawing/2014/main" id="{62D9E902-6A04-418E-9831-50C4BD631156}"/>
                </a:ext>
              </a:extLst>
            </p:cNvPr>
            <p:cNvGrpSpPr/>
            <p:nvPr/>
          </p:nvGrpSpPr>
          <p:grpSpPr>
            <a:xfrm rot="10800000">
              <a:off x="9037675" y="1254642"/>
              <a:ext cx="2784652" cy="524816"/>
              <a:chOff x="1198483" y="1322771"/>
              <a:chExt cx="2620395" cy="914400"/>
            </a:xfrm>
            <a:solidFill>
              <a:schemeClr val="accent1"/>
            </a:solidFill>
          </p:grpSpPr>
          <p:sp>
            <p:nvSpPr>
              <p:cNvPr id="22" name="Rounded Rectangle 2">
                <a:extLst>
                  <a:ext uri="{FF2B5EF4-FFF2-40B4-BE49-F238E27FC236}">
                    <a16:creationId xmlns:a16="http://schemas.microsoft.com/office/drawing/2014/main" id="{BD1E3DA3-4B13-41C4-900F-1A00BAF80369}"/>
                  </a:ext>
                </a:extLst>
              </p:cNvPr>
              <p:cNvSpPr/>
              <p:nvPr/>
            </p:nvSpPr>
            <p:spPr>
              <a:xfrm>
                <a:off x="1253231" y="1322771"/>
                <a:ext cx="2565647" cy="914400"/>
              </a:xfrm>
              <a:prstGeom prst="roundRect">
                <a:avLst>
                  <a:gd name="adj" fmla="val 50000"/>
                </a:avLst>
              </a:prstGeom>
              <a:solidFill>
                <a:srgbClr val="009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A05FBF85-9AF4-4C57-861B-9D1D10ADF313}"/>
                  </a:ext>
                </a:extLst>
              </p:cNvPr>
              <p:cNvSpPr/>
              <p:nvPr/>
            </p:nvSpPr>
            <p:spPr>
              <a:xfrm rot="10800000">
                <a:off x="1198483" y="1322771"/>
                <a:ext cx="2174821" cy="914400"/>
              </a:xfrm>
              <a:prstGeom prst="rect">
                <a:avLst/>
              </a:prstGeom>
              <a:solidFill>
                <a:srgbClr val="009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mn-cs"/>
                  </a:rPr>
                  <a:t>Security Program Management</a:t>
                </a:r>
              </a:p>
            </p:txBody>
          </p:sp>
        </p:grpSp>
        <p:sp>
          <p:nvSpPr>
            <p:cNvPr id="25" name="Oval 24">
              <a:extLst>
                <a:ext uri="{FF2B5EF4-FFF2-40B4-BE49-F238E27FC236}">
                  <a16:creationId xmlns:a16="http://schemas.microsoft.com/office/drawing/2014/main" id="{291D7BD2-A45C-4070-97FE-CFEBC97CCE00}"/>
                </a:ext>
              </a:extLst>
            </p:cNvPr>
            <p:cNvSpPr/>
            <p:nvPr/>
          </p:nvSpPr>
          <p:spPr>
            <a:xfrm>
              <a:off x="9098334" y="1286542"/>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27" name="Group 26">
              <a:extLst>
                <a:ext uri="{FF2B5EF4-FFF2-40B4-BE49-F238E27FC236}">
                  <a16:creationId xmlns:a16="http://schemas.microsoft.com/office/drawing/2014/main" id="{6A1EABE9-3264-43EE-AC5D-DAC13E5C013C}"/>
                </a:ext>
              </a:extLst>
            </p:cNvPr>
            <p:cNvGrpSpPr/>
            <p:nvPr/>
          </p:nvGrpSpPr>
          <p:grpSpPr>
            <a:xfrm rot="10800000">
              <a:off x="9037675" y="1840002"/>
              <a:ext cx="2784652" cy="524816"/>
              <a:chOff x="1198483" y="1322771"/>
              <a:chExt cx="2620395" cy="914400"/>
            </a:xfrm>
            <a:solidFill>
              <a:schemeClr val="accent1"/>
            </a:solidFill>
          </p:grpSpPr>
          <p:sp>
            <p:nvSpPr>
              <p:cNvPr id="28" name="Rounded Rectangle 2">
                <a:extLst>
                  <a:ext uri="{FF2B5EF4-FFF2-40B4-BE49-F238E27FC236}">
                    <a16:creationId xmlns:a16="http://schemas.microsoft.com/office/drawing/2014/main" id="{49C088BA-4B26-4F01-BEDA-92290B2DEDB6}"/>
                  </a:ext>
                </a:extLst>
              </p:cNvPr>
              <p:cNvSpPr/>
              <p:nvPr/>
            </p:nvSpPr>
            <p:spPr>
              <a:xfrm>
                <a:off x="1253231" y="1322771"/>
                <a:ext cx="2565647" cy="914400"/>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33A7A3DF-769D-481A-90F0-8093F97DD11E}"/>
                  </a:ext>
                </a:extLst>
              </p:cNvPr>
              <p:cNvSpPr/>
              <p:nvPr/>
            </p:nvSpPr>
            <p:spPr>
              <a:xfrm rot="10800000">
                <a:off x="1198483" y="1322771"/>
                <a:ext cx="2174821" cy="9144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mn-cs"/>
                  </a:rPr>
                  <a:t>Risk and Compliance</a:t>
                </a:r>
              </a:p>
            </p:txBody>
          </p:sp>
        </p:grpSp>
        <p:grpSp>
          <p:nvGrpSpPr>
            <p:cNvPr id="32" name="Group 31">
              <a:extLst>
                <a:ext uri="{FF2B5EF4-FFF2-40B4-BE49-F238E27FC236}">
                  <a16:creationId xmlns:a16="http://schemas.microsoft.com/office/drawing/2014/main" id="{0B384FBA-21C6-476C-9ED7-EBC53A8A2599}"/>
                </a:ext>
              </a:extLst>
            </p:cNvPr>
            <p:cNvGrpSpPr/>
            <p:nvPr/>
          </p:nvGrpSpPr>
          <p:grpSpPr>
            <a:xfrm rot="10800000">
              <a:off x="9037675" y="2425360"/>
              <a:ext cx="2784652" cy="524816"/>
              <a:chOff x="1198483" y="1322771"/>
              <a:chExt cx="2620395" cy="914400"/>
            </a:xfrm>
            <a:solidFill>
              <a:srgbClr val="00A5E0"/>
            </a:solidFill>
          </p:grpSpPr>
          <p:sp>
            <p:nvSpPr>
              <p:cNvPr id="33" name="Rounded Rectangle 2">
                <a:extLst>
                  <a:ext uri="{FF2B5EF4-FFF2-40B4-BE49-F238E27FC236}">
                    <a16:creationId xmlns:a16="http://schemas.microsoft.com/office/drawing/2014/main" id="{61A3B551-6BDE-4160-AFB4-E723C73DE8D8}"/>
                  </a:ext>
                </a:extLst>
              </p:cNvPr>
              <p:cNvSpPr/>
              <p:nvPr/>
            </p:nvSpPr>
            <p:spPr>
              <a:xfrm>
                <a:off x="1253231" y="1322771"/>
                <a:ext cx="2565647" cy="914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5414EF09-3795-4A2B-AF44-8B0E54060EC9}"/>
                  </a:ext>
                </a:extLst>
              </p:cNvPr>
              <p:cNvSpPr/>
              <p:nvPr/>
            </p:nvSpPr>
            <p:spPr>
              <a:xfrm rot="10800000">
                <a:off x="1198483" y="1322771"/>
                <a:ext cx="2174821" cy="914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mn-cs"/>
                  </a:rPr>
                  <a:t>Security Architecture</a:t>
                </a:r>
              </a:p>
            </p:txBody>
          </p:sp>
        </p:grpSp>
        <p:grpSp>
          <p:nvGrpSpPr>
            <p:cNvPr id="37" name="Group 36">
              <a:extLst>
                <a:ext uri="{FF2B5EF4-FFF2-40B4-BE49-F238E27FC236}">
                  <a16:creationId xmlns:a16="http://schemas.microsoft.com/office/drawing/2014/main" id="{C0593C2F-BAB0-4A69-B18C-5AD9A8DF8A8B}"/>
                </a:ext>
              </a:extLst>
            </p:cNvPr>
            <p:cNvGrpSpPr/>
            <p:nvPr/>
          </p:nvGrpSpPr>
          <p:grpSpPr>
            <a:xfrm rot="10800000">
              <a:off x="9037675" y="3010719"/>
              <a:ext cx="2784652" cy="524816"/>
              <a:chOff x="1198483" y="1322771"/>
              <a:chExt cx="2620395" cy="914400"/>
            </a:xfrm>
            <a:solidFill>
              <a:srgbClr val="00A5E0"/>
            </a:solidFill>
          </p:grpSpPr>
          <p:sp>
            <p:nvSpPr>
              <p:cNvPr id="38" name="Rounded Rectangle 2">
                <a:extLst>
                  <a:ext uri="{FF2B5EF4-FFF2-40B4-BE49-F238E27FC236}">
                    <a16:creationId xmlns:a16="http://schemas.microsoft.com/office/drawing/2014/main" id="{EB215B13-1402-4E4C-8B7E-D83FA15B3BD5}"/>
                  </a:ext>
                </a:extLst>
              </p:cNvPr>
              <p:cNvSpPr/>
              <p:nvPr/>
            </p:nvSpPr>
            <p:spPr>
              <a:xfrm>
                <a:off x="1253231" y="1322771"/>
                <a:ext cx="2565647" cy="914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7673A910-3EAE-434A-B2C4-37000AD1D877}"/>
                  </a:ext>
                </a:extLst>
              </p:cNvPr>
              <p:cNvSpPr/>
              <p:nvPr/>
            </p:nvSpPr>
            <p:spPr>
              <a:xfrm rot="10800000">
                <a:off x="1198483" y="1322771"/>
                <a:ext cx="2174821" cy="914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mn-cs"/>
                  </a:rPr>
                  <a:t>Security Engineering &amp; Operations</a:t>
                </a:r>
              </a:p>
            </p:txBody>
          </p:sp>
        </p:grpSp>
        <p:grpSp>
          <p:nvGrpSpPr>
            <p:cNvPr id="82" name="Group 81">
              <a:extLst>
                <a:ext uri="{FF2B5EF4-FFF2-40B4-BE49-F238E27FC236}">
                  <a16:creationId xmlns:a16="http://schemas.microsoft.com/office/drawing/2014/main" id="{3DF0AFC9-AC18-4167-8B47-A97AD62FC2BC}"/>
                </a:ext>
              </a:extLst>
            </p:cNvPr>
            <p:cNvGrpSpPr/>
            <p:nvPr/>
          </p:nvGrpSpPr>
          <p:grpSpPr>
            <a:xfrm rot="10800000">
              <a:off x="9056601" y="3609546"/>
              <a:ext cx="2784652" cy="524816"/>
              <a:chOff x="1198483" y="1322771"/>
              <a:chExt cx="2620395" cy="914400"/>
            </a:xfrm>
            <a:solidFill>
              <a:schemeClr val="bg1">
                <a:lumMod val="85000"/>
              </a:schemeClr>
            </a:solidFill>
          </p:grpSpPr>
          <p:sp>
            <p:nvSpPr>
              <p:cNvPr id="83" name="Rounded Rectangle 2">
                <a:extLst>
                  <a:ext uri="{FF2B5EF4-FFF2-40B4-BE49-F238E27FC236}">
                    <a16:creationId xmlns:a16="http://schemas.microsoft.com/office/drawing/2014/main" id="{F4DFCA6F-780B-4E00-BB05-421A8AA11C9C}"/>
                  </a:ext>
                </a:extLst>
              </p:cNvPr>
              <p:cNvSpPr/>
              <p:nvPr/>
            </p:nvSpPr>
            <p:spPr>
              <a:xfrm>
                <a:off x="1253231" y="1322771"/>
                <a:ext cx="2565647" cy="914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4" name="Rectangle 83">
                <a:extLst>
                  <a:ext uri="{FF2B5EF4-FFF2-40B4-BE49-F238E27FC236}">
                    <a16:creationId xmlns:a16="http://schemas.microsoft.com/office/drawing/2014/main" id="{102EAC7C-7525-4AF2-A9AB-AA061CE8212D}"/>
                  </a:ext>
                </a:extLst>
              </p:cNvPr>
              <p:cNvSpPr/>
              <p:nvPr/>
            </p:nvSpPr>
            <p:spPr>
              <a:xfrm rot="10800000">
                <a:off x="1198483" y="1322771"/>
                <a:ext cx="2174821" cy="914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mn-cs"/>
                  </a:rPr>
                  <a:t>Information Protection</a:t>
                </a:r>
              </a:p>
            </p:txBody>
          </p:sp>
        </p:grpSp>
        <p:grpSp>
          <p:nvGrpSpPr>
            <p:cNvPr id="87" name="Group 86">
              <a:extLst>
                <a:ext uri="{FF2B5EF4-FFF2-40B4-BE49-F238E27FC236}">
                  <a16:creationId xmlns:a16="http://schemas.microsoft.com/office/drawing/2014/main" id="{FF81CED3-1A95-4759-AA7B-8E4D01DD1B04}"/>
                </a:ext>
              </a:extLst>
            </p:cNvPr>
            <p:cNvGrpSpPr/>
            <p:nvPr/>
          </p:nvGrpSpPr>
          <p:grpSpPr>
            <a:xfrm rot="10800000">
              <a:off x="9056601" y="4194906"/>
              <a:ext cx="2784652" cy="524816"/>
              <a:chOff x="1198483" y="1322771"/>
              <a:chExt cx="2620395" cy="914400"/>
            </a:xfrm>
            <a:solidFill>
              <a:schemeClr val="bg1">
                <a:lumMod val="85000"/>
              </a:schemeClr>
            </a:solidFill>
          </p:grpSpPr>
          <p:sp>
            <p:nvSpPr>
              <p:cNvPr id="88" name="Rounded Rectangle 2">
                <a:extLst>
                  <a:ext uri="{FF2B5EF4-FFF2-40B4-BE49-F238E27FC236}">
                    <a16:creationId xmlns:a16="http://schemas.microsoft.com/office/drawing/2014/main" id="{06769899-F57E-4AC0-80C8-B9F9F7B59E86}"/>
                  </a:ext>
                </a:extLst>
              </p:cNvPr>
              <p:cNvSpPr/>
              <p:nvPr/>
            </p:nvSpPr>
            <p:spPr>
              <a:xfrm>
                <a:off x="1253231" y="1322771"/>
                <a:ext cx="2565647" cy="914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9" name="Rectangle 88">
                <a:extLst>
                  <a:ext uri="{FF2B5EF4-FFF2-40B4-BE49-F238E27FC236}">
                    <a16:creationId xmlns:a16="http://schemas.microsoft.com/office/drawing/2014/main" id="{305F4FD9-22FD-442D-BE4A-CF5F7006CCFC}"/>
                  </a:ext>
                </a:extLst>
              </p:cNvPr>
              <p:cNvSpPr/>
              <p:nvPr/>
            </p:nvSpPr>
            <p:spPr>
              <a:xfrm rot="10800000">
                <a:off x="1198483" y="1322771"/>
                <a:ext cx="2174821" cy="914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mn-cs"/>
                  </a:rPr>
                  <a:t>Identity and Access</a:t>
                </a:r>
              </a:p>
            </p:txBody>
          </p:sp>
        </p:grpSp>
        <p:grpSp>
          <p:nvGrpSpPr>
            <p:cNvPr id="92" name="Group 91">
              <a:extLst>
                <a:ext uri="{FF2B5EF4-FFF2-40B4-BE49-F238E27FC236}">
                  <a16:creationId xmlns:a16="http://schemas.microsoft.com/office/drawing/2014/main" id="{AC674C4E-E6FC-47E9-B885-96D745DB9A29}"/>
                </a:ext>
              </a:extLst>
            </p:cNvPr>
            <p:cNvGrpSpPr/>
            <p:nvPr/>
          </p:nvGrpSpPr>
          <p:grpSpPr>
            <a:xfrm rot="10800000">
              <a:off x="9056601" y="4780264"/>
              <a:ext cx="2784652" cy="524816"/>
              <a:chOff x="1198483" y="1322771"/>
              <a:chExt cx="2620395" cy="914400"/>
            </a:xfrm>
            <a:solidFill>
              <a:srgbClr val="00A5E0"/>
            </a:solidFill>
          </p:grpSpPr>
          <p:sp>
            <p:nvSpPr>
              <p:cNvPr id="93" name="Rounded Rectangle 2">
                <a:extLst>
                  <a:ext uri="{FF2B5EF4-FFF2-40B4-BE49-F238E27FC236}">
                    <a16:creationId xmlns:a16="http://schemas.microsoft.com/office/drawing/2014/main" id="{113D3B1C-9C5D-4C12-87DF-65908030ED61}"/>
                  </a:ext>
                </a:extLst>
              </p:cNvPr>
              <p:cNvSpPr/>
              <p:nvPr/>
            </p:nvSpPr>
            <p:spPr>
              <a:xfrm>
                <a:off x="1253231" y="1322771"/>
                <a:ext cx="2565647" cy="914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4" name="Rectangle 93">
                <a:extLst>
                  <a:ext uri="{FF2B5EF4-FFF2-40B4-BE49-F238E27FC236}">
                    <a16:creationId xmlns:a16="http://schemas.microsoft.com/office/drawing/2014/main" id="{E51EA666-51AC-4302-B283-D229ABD10FFD}"/>
                  </a:ext>
                </a:extLst>
              </p:cNvPr>
              <p:cNvSpPr/>
              <p:nvPr/>
            </p:nvSpPr>
            <p:spPr>
              <a:xfrm rot="10800000">
                <a:off x="1198483" y="1322771"/>
                <a:ext cx="2174821" cy="914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mn-cs"/>
                  </a:rPr>
                  <a:t>Security Monitoring and Response</a:t>
                </a:r>
              </a:p>
            </p:txBody>
          </p:sp>
        </p:grpSp>
        <p:grpSp>
          <p:nvGrpSpPr>
            <p:cNvPr id="97" name="Group 96">
              <a:extLst>
                <a:ext uri="{FF2B5EF4-FFF2-40B4-BE49-F238E27FC236}">
                  <a16:creationId xmlns:a16="http://schemas.microsoft.com/office/drawing/2014/main" id="{1C62D1B9-AFB2-4852-957A-53C8EFDCD956}"/>
                </a:ext>
              </a:extLst>
            </p:cNvPr>
            <p:cNvGrpSpPr/>
            <p:nvPr/>
          </p:nvGrpSpPr>
          <p:grpSpPr>
            <a:xfrm rot="10800000">
              <a:off x="9056601" y="5365624"/>
              <a:ext cx="2784652" cy="524816"/>
              <a:chOff x="1198483" y="1322771"/>
              <a:chExt cx="2620395" cy="914400"/>
            </a:xfrm>
            <a:solidFill>
              <a:srgbClr val="00A5E0"/>
            </a:solidFill>
          </p:grpSpPr>
          <p:sp>
            <p:nvSpPr>
              <p:cNvPr id="98" name="Rounded Rectangle 2">
                <a:extLst>
                  <a:ext uri="{FF2B5EF4-FFF2-40B4-BE49-F238E27FC236}">
                    <a16:creationId xmlns:a16="http://schemas.microsoft.com/office/drawing/2014/main" id="{0BDC23EA-FEE4-483A-833E-447FF7F671B4}"/>
                  </a:ext>
                </a:extLst>
              </p:cNvPr>
              <p:cNvSpPr/>
              <p:nvPr/>
            </p:nvSpPr>
            <p:spPr>
              <a:xfrm>
                <a:off x="1253231" y="1322771"/>
                <a:ext cx="2565647" cy="914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9" name="Rectangle 98">
                <a:extLst>
                  <a:ext uri="{FF2B5EF4-FFF2-40B4-BE49-F238E27FC236}">
                    <a16:creationId xmlns:a16="http://schemas.microsoft.com/office/drawing/2014/main" id="{A3E601F0-D973-47E9-8447-1F1D5777601C}"/>
                  </a:ext>
                </a:extLst>
              </p:cNvPr>
              <p:cNvSpPr/>
              <p:nvPr/>
            </p:nvSpPr>
            <p:spPr>
              <a:xfrm rot="10800000">
                <a:off x="1198483" y="1322771"/>
                <a:ext cx="2174821" cy="914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mn-cs"/>
                  </a:rPr>
                  <a:t>Cyber Resiliency</a:t>
                </a:r>
              </a:p>
            </p:txBody>
          </p:sp>
        </p:grpSp>
        <p:pic>
          <p:nvPicPr>
            <p:cNvPr id="102" name="Picture 101">
              <a:extLst>
                <a:ext uri="{FF2B5EF4-FFF2-40B4-BE49-F238E27FC236}">
                  <a16:creationId xmlns:a16="http://schemas.microsoft.com/office/drawing/2014/main" id="{B05EDE73-164C-4D21-AF76-F94BDE6FB49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2411" t="9910" r="78969" b="76938"/>
            <a:stretch/>
          </p:blipFill>
          <p:spPr>
            <a:xfrm>
              <a:off x="9181059" y="1366717"/>
              <a:ext cx="301323" cy="321745"/>
            </a:xfrm>
            <a:prstGeom prst="rect">
              <a:avLst/>
            </a:prstGeom>
          </p:spPr>
        </p:pic>
        <p:sp>
          <p:nvSpPr>
            <p:cNvPr id="103" name="Oval 102">
              <a:extLst>
                <a:ext uri="{FF2B5EF4-FFF2-40B4-BE49-F238E27FC236}">
                  <a16:creationId xmlns:a16="http://schemas.microsoft.com/office/drawing/2014/main" id="{2C5803C8-4B19-402B-B86F-806B9D9D22AC}"/>
                </a:ext>
              </a:extLst>
            </p:cNvPr>
            <p:cNvSpPr/>
            <p:nvPr/>
          </p:nvSpPr>
          <p:spPr>
            <a:xfrm>
              <a:off x="9098334" y="1885525"/>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5" name="Oval 104">
              <a:extLst>
                <a:ext uri="{FF2B5EF4-FFF2-40B4-BE49-F238E27FC236}">
                  <a16:creationId xmlns:a16="http://schemas.microsoft.com/office/drawing/2014/main" id="{512DE8E8-309F-454C-A47D-3429B6691AF2}"/>
                </a:ext>
              </a:extLst>
            </p:cNvPr>
            <p:cNvSpPr/>
            <p:nvPr/>
          </p:nvSpPr>
          <p:spPr>
            <a:xfrm>
              <a:off x="9102694" y="2459090"/>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7" name="Oval 106">
              <a:extLst>
                <a:ext uri="{FF2B5EF4-FFF2-40B4-BE49-F238E27FC236}">
                  <a16:creationId xmlns:a16="http://schemas.microsoft.com/office/drawing/2014/main" id="{BAC786B4-2C21-4D2B-8727-19207F2E2154}"/>
                </a:ext>
              </a:extLst>
            </p:cNvPr>
            <p:cNvSpPr/>
            <p:nvPr/>
          </p:nvSpPr>
          <p:spPr>
            <a:xfrm>
              <a:off x="9102694" y="3058073"/>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9" name="Oval 108">
              <a:extLst>
                <a:ext uri="{FF2B5EF4-FFF2-40B4-BE49-F238E27FC236}">
                  <a16:creationId xmlns:a16="http://schemas.microsoft.com/office/drawing/2014/main" id="{8AF295CE-DA8A-4E8A-A363-E5EEBBB7464B}"/>
                </a:ext>
              </a:extLst>
            </p:cNvPr>
            <p:cNvSpPr/>
            <p:nvPr/>
          </p:nvSpPr>
          <p:spPr>
            <a:xfrm>
              <a:off x="9108967" y="3637905"/>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1" name="Oval 110">
              <a:extLst>
                <a:ext uri="{FF2B5EF4-FFF2-40B4-BE49-F238E27FC236}">
                  <a16:creationId xmlns:a16="http://schemas.microsoft.com/office/drawing/2014/main" id="{A151DEC3-385D-4D03-826D-730AF652E011}"/>
                </a:ext>
              </a:extLst>
            </p:cNvPr>
            <p:cNvSpPr/>
            <p:nvPr/>
          </p:nvSpPr>
          <p:spPr>
            <a:xfrm>
              <a:off x="9108967" y="4236888"/>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4" name="Oval 113">
              <a:extLst>
                <a:ext uri="{FF2B5EF4-FFF2-40B4-BE49-F238E27FC236}">
                  <a16:creationId xmlns:a16="http://schemas.microsoft.com/office/drawing/2014/main" id="{EECD6455-451F-47A3-83FC-DD48BBF52E74}"/>
                </a:ext>
              </a:extLst>
            </p:cNvPr>
            <p:cNvSpPr/>
            <p:nvPr/>
          </p:nvSpPr>
          <p:spPr>
            <a:xfrm>
              <a:off x="9113327" y="4810453"/>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6" name="Oval 115">
              <a:extLst>
                <a:ext uri="{FF2B5EF4-FFF2-40B4-BE49-F238E27FC236}">
                  <a16:creationId xmlns:a16="http://schemas.microsoft.com/office/drawing/2014/main" id="{C5BDA9C7-1A85-4EEB-B0B4-30D7912C4673}"/>
                </a:ext>
              </a:extLst>
            </p:cNvPr>
            <p:cNvSpPr/>
            <p:nvPr/>
          </p:nvSpPr>
          <p:spPr>
            <a:xfrm>
              <a:off x="9113327" y="5409436"/>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18" name="Picture 117">
              <a:extLst>
                <a:ext uri="{FF2B5EF4-FFF2-40B4-BE49-F238E27FC236}">
                  <a16:creationId xmlns:a16="http://schemas.microsoft.com/office/drawing/2014/main" id="{2A4C2BF2-F1B3-459C-91CE-B71D6F6542C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675" t="30702" r="91503" b="52508"/>
            <a:stretch/>
          </p:blipFill>
          <p:spPr>
            <a:xfrm>
              <a:off x="9248564" y="1925419"/>
              <a:ext cx="154857" cy="377411"/>
            </a:xfrm>
            <a:prstGeom prst="rect">
              <a:avLst/>
            </a:prstGeom>
          </p:spPr>
        </p:pic>
        <p:pic>
          <p:nvPicPr>
            <p:cNvPr id="131" name="Picture 130">
              <a:extLst>
                <a:ext uri="{FF2B5EF4-FFF2-40B4-BE49-F238E27FC236}">
                  <a16:creationId xmlns:a16="http://schemas.microsoft.com/office/drawing/2014/main" id="{B10037EB-3F52-4FE9-9B43-B17F99C73AD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166" t="55744" r="87151" b="30552"/>
            <a:stretch/>
          </p:blipFill>
          <p:spPr>
            <a:xfrm>
              <a:off x="9167291" y="2549592"/>
              <a:ext cx="315091" cy="258659"/>
            </a:xfrm>
            <a:prstGeom prst="rect">
              <a:avLst/>
            </a:prstGeom>
          </p:spPr>
        </p:pic>
        <p:pic>
          <p:nvPicPr>
            <p:cNvPr id="132" name="Picture 131">
              <a:extLst>
                <a:ext uri="{FF2B5EF4-FFF2-40B4-BE49-F238E27FC236}">
                  <a16:creationId xmlns:a16="http://schemas.microsoft.com/office/drawing/2014/main" id="{80C4A820-B2AD-4293-985A-A0DA90E970B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5544" t="75844" r="84962" b="9926"/>
            <a:stretch/>
          </p:blipFill>
          <p:spPr>
            <a:xfrm>
              <a:off x="9175925" y="3157820"/>
              <a:ext cx="276420" cy="289960"/>
            </a:xfrm>
            <a:prstGeom prst="rect">
              <a:avLst/>
            </a:prstGeom>
          </p:spPr>
        </p:pic>
        <p:pic>
          <p:nvPicPr>
            <p:cNvPr id="133" name="Picture 132">
              <a:extLst>
                <a:ext uri="{FF2B5EF4-FFF2-40B4-BE49-F238E27FC236}">
                  <a16:creationId xmlns:a16="http://schemas.microsoft.com/office/drawing/2014/main" id="{0D4B1F64-FD85-4C95-A0AC-C58C3FABEA87}"/>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76404" t="75248" r="12277" b="9926"/>
            <a:stretch/>
          </p:blipFill>
          <p:spPr>
            <a:xfrm>
              <a:off x="9186558" y="3718830"/>
              <a:ext cx="306633" cy="290299"/>
            </a:xfrm>
            <a:prstGeom prst="rect">
              <a:avLst/>
            </a:prstGeom>
          </p:spPr>
        </p:pic>
        <p:pic>
          <p:nvPicPr>
            <p:cNvPr id="134" name="Picture 133">
              <a:extLst>
                <a:ext uri="{FF2B5EF4-FFF2-40B4-BE49-F238E27FC236}">
                  <a16:creationId xmlns:a16="http://schemas.microsoft.com/office/drawing/2014/main" id="{379395E8-F44C-4BA5-AB55-A07F042E2A75}"/>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87723" t="53682" r="3757" b="31596"/>
            <a:stretch/>
          </p:blipFill>
          <p:spPr>
            <a:xfrm>
              <a:off x="9207824" y="4298046"/>
              <a:ext cx="270506" cy="327117"/>
            </a:xfrm>
            <a:prstGeom prst="rect">
              <a:avLst/>
            </a:prstGeom>
          </p:spPr>
        </p:pic>
        <p:pic>
          <p:nvPicPr>
            <p:cNvPr id="137" name="Picture 136">
              <a:extLst>
                <a:ext uri="{FF2B5EF4-FFF2-40B4-BE49-F238E27FC236}">
                  <a16:creationId xmlns:a16="http://schemas.microsoft.com/office/drawing/2014/main" id="{7BB19BBF-7E4C-48A4-93CF-D0B28D06472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H="1">
              <a:off x="9154668" y="4857654"/>
              <a:ext cx="353251" cy="353251"/>
            </a:xfrm>
            <a:prstGeom prst="rect">
              <a:avLst/>
            </a:prstGeom>
          </p:spPr>
        </p:pic>
        <p:pic>
          <p:nvPicPr>
            <p:cNvPr id="138" name="Picture 137">
              <a:extLst>
                <a:ext uri="{FF2B5EF4-FFF2-40B4-BE49-F238E27FC236}">
                  <a16:creationId xmlns:a16="http://schemas.microsoft.com/office/drawing/2014/main" id="{BA353549-C217-4EC6-A668-B23F478941E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175034" y="5467643"/>
              <a:ext cx="332885" cy="331455"/>
            </a:xfrm>
            <a:prstGeom prst="rect">
              <a:avLst/>
            </a:prstGeom>
          </p:spPr>
        </p:pic>
      </p:grpSp>
    </p:spTree>
    <p:custDataLst>
      <p:tags r:id="rId1"/>
    </p:custDataLst>
    <p:extLst>
      <p:ext uri="{BB962C8B-B14F-4D97-AF65-F5344CB8AC3E}">
        <p14:creationId xmlns:p14="http://schemas.microsoft.com/office/powerpoint/2010/main" val="41252093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 name="Slide Number Placeholder 3"/>
          <p:cNvSpPr txBox="1">
            <a:spLocks/>
          </p:cNvSpPr>
          <p:nvPr/>
        </p:nvSpPr>
        <p:spPr>
          <a:xfrm>
            <a:off x="26570" y="6560370"/>
            <a:ext cx="2057400" cy="279664"/>
          </a:xfrm>
          <a:prstGeom prst="rect">
            <a:avLst/>
          </a:prstGeom>
        </p:spPr>
        <p:txBody>
          <a:bodyPr/>
          <a:lstStyle>
            <a:defPPr>
              <a:defRPr lang="en-US"/>
            </a:defPPr>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36A99BC-3C9D-4DF8-8B8C-E1FD2BDF0AD4}" type="slidenum">
              <a:rPr kumimoji="0" lang="en-US" sz="1000" b="0" i="0" u="none" strike="noStrike" kern="1200" cap="none" spc="0" normalizeH="0" baseline="0" noProof="0" smtClean="0">
                <a:ln>
                  <a:noFill/>
                </a:ln>
                <a:solidFill>
                  <a:srgbClr val="595959"/>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22" name="Rectangle 121">
            <a:extLst>
              <a:ext uri="{FF2B5EF4-FFF2-40B4-BE49-F238E27FC236}">
                <a16:creationId xmlns:a16="http://schemas.microsoft.com/office/drawing/2014/main" id="{F8637CA2-05D6-4B19-B4E1-FAF6C9FA74CE}"/>
              </a:ext>
            </a:extLst>
          </p:cNvPr>
          <p:cNvSpPr/>
          <p:nvPr/>
        </p:nvSpPr>
        <p:spPr>
          <a:xfrm>
            <a:off x="686689" y="1458339"/>
            <a:ext cx="2552720" cy="4435654"/>
          </a:xfrm>
          <a:prstGeom prst="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path path="circle">
              <a:fillToRect l="100000" b="100000"/>
            </a:path>
            <a:tileRect t="-100000" r="-10000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a:ln>
                <a:noFill/>
              </a:ln>
              <a:solidFill>
                <a:srgbClr val="009CDE"/>
              </a:solidFill>
              <a:effectLst/>
              <a:uLnTx/>
              <a:uFillTx/>
              <a:latin typeface="Arial" panose="020B0604020202020204"/>
              <a:ea typeface="+mn-ea"/>
              <a:cs typeface="Arial"/>
            </a:endParaRPr>
          </a:p>
          <a:p>
            <a:pPr marL="227965" marR="0" lvl="0" indent="-227965" algn="l" defTabSz="914400" rtl="0" eaLnBrk="1" fontAlgn="auto" latinLnBrk="0" hangingPunct="1">
              <a:lnSpc>
                <a:spcPct val="100000"/>
              </a:lnSpc>
              <a:spcBef>
                <a:spcPts val="0"/>
              </a:spcBef>
              <a:spcAft>
                <a:spcPts val="0"/>
              </a:spcAft>
              <a:buClrTx/>
              <a:buSzTx/>
              <a:buFont typeface="Arial"/>
              <a:buChar char="•"/>
              <a:tabLst/>
              <a:defRPr/>
            </a:pPr>
            <a:endParaRPr lang="en-US" sz="900" b="0" i="0" u="none" strike="noStrike" kern="1200" cap="none" spc="0" normalizeH="0" baseline="0" noProof="0">
              <a:ln>
                <a:noFill/>
              </a:ln>
              <a:solidFill>
                <a:srgbClr val="595959"/>
              </a:solidFill>
              <a:effectLst/>
              <a:uLnTx/>
              <a:uFillTx/>
              <a:latin typeface="Arial" panose="020B0604020202020204"/>
              <a:ea typeface="+mn-lt"/>
              <a:cs typeface="Arial" panose="020B0604020202020204"/>
            </a:endParaRPr>
          </a:p>
          <a:p>
            <a:pPr marL="227965" marR="0" lvl="0" indent="-227965" algn="l" defTabSz="914400" rtl="0" eaLnBrk="1" fontAlgn="auto" latinLnBrk="0" hangingPunct="1">
              <a:lnSpc>
                <a:spcPct val="100000"/>
              </a:lnSpc>
              <a:spcBef>
                <a:spcPts val="400"/>
              </a:spcBef>
              <a:spcAft>
                <a:spcPts val="0"/>
              </a:spcAft>
              <a:buClrTx/>
              <a:buSzTx/>
              <a:buFont typeface="Arial"/>
              <a:buChar char="•"/>
              <a:tabLst/>
              <a:defRPr/>
            </a:pPr>
            <a:endParaRPr lang="en-US" sz="900" b="0" i="0" u="none" strike="noStrike" kern="1200" cap="none" spc="0" normalizeH="0" baseline="0" noProof="0">
              <a:ln>
                <a:noFill/>
              </a:ln>
              <a:solidFill>
                <a:srgbClr val="595959"/>
              </a:solidFill>
              <a:effectLst/>
              <a:uLnTx/>
              <a:uFillTx/>
              <a:latin typeface="Arial" panose="020B0604020202020204"/>
              <a:ea typeface="+mn-lt"/>
              <a:cs typeface="Arial" panose="020B0604020202020204"/>
            </a:endParaRP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900" b="1" i="0" u="none" strike="noStrike" kern="1200" cap="none" spc="0" normalizeH="0" baseline="0" noProof="0">
                <a:ln>
                  <a:noFill/>
                </a:ln>
                <a:solidFill>
                  <a:srgbClr val="4AAA42"/>
                </a:solidFill>
                <a:effectLst/>
                <a:uLnTx/>
                <a:uFillTx/>
                <a:latin typeface="Arial" panose="020B0604020202020204"/>
                <a:ea typeface="+mn-lt"/>
                <a:cs typeface="Arial" panose="020B0604020202020204"/>
              </a:rPr>
              <a:t>Profile</a:t>
            </a:r>
            <a:endParaRPr lang="en-US" sz="900" b="1" i="0" u="none" strike="noStrike" kern="1200" cap="none" spc="0" normalizeH="0" baseline="0" noProof="0">
              <a:ln>
                <a:noFill/>
              </a:ln>
              <a:solidFill>
                <a:srgbClr val="4AAA42"/>
              </a:solidFill>
              <a:effectLst/>
              <a:uLnTx/>
              <a:uFillTx/>
              <a:latin typeface="Arial" panose="020B0604020202020204"/>
              <a:ea typeface="+mn-lt"/>
              <a:cs typeface="Arial" panose="020B0604020202020204"/>
            </a:endParaRPr>
          </a:p>
          <a:p>
            <a:pPr>
              <a:spcBef>
                <a:spcPts val="400"/>
              </a:spcBef>
              <a:spcAft>
                <a:spcPts val="600"/>
              </a:spcAft>
              <a:defRPr/>
            </a:pPr>
            <a:r>
              <a:rPr lang="en-US" sz="900">
                <a:solidFill>
                  <a:srgbClr val="595959"/>
                </a:solidFill>
                <a:latin typeface="Arial" panose="020B0604020202020204"/>
                <a:ea typeface="+mn-lt"/>
                <a:cs typeface="Calibri"/>
              </a:rPr>
              <a:t>Large regional credit union with 2,000 employees and $10 billion in assets. </a:t>
            </a:r>
            <a:endParaRPr lang="en-US" sz="900" b="0" i="0" u="none" strike="noStrike" kern="1200" cap="none" spc="0" normalizeH="0" baseline="0" noProof="0">
              <a:ln>
                <a:noFill/>
              </a:ln>
              <a:solidFill>
                <a:srgbClr val="595959"/>
              </a:solidFill>
              <a:effectLst/>
              <a:uLnTx/>
              <a:uFillTx/>
              <a:latin typeface="Arial" panose="020B0604020202020204"/>
              <a:ea typeface="+mn-lt"/>
              <a:cs typeface="Calibri" panose="020F0502020204030204" pitchFamily="34" charset="0"/>
            </a:endParaRP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900" b="1" i="0" u="none" strike="noStrike" kern="1200" cap="none" spc="0" normalizeH="0" baseline="0" noProof="0">
                <a:ln>
                  <a:noFill/>
                </a:ln>
                <a:solidFill>
                  <a:srgbClr val="4AAA42"/>
                </a:solidFill>
                <a:effectLst/>
                <a:uLnTx/>
                <a:uFillTx/>
                <a:latin typeface="Arial" panose="020B0604020202020204"/>
                <a:ea typeface="+mn-lt"/>
                <a:cs typeface="Arial" panose="020B0604020202020204"/>
              </a:rPr>
              <a:t>The challenge</a:t>
            </a:r>
            <a:endParaRPr lang="en-US" sz="900" b="1" i="0" u="none" strike="noStrike" kern="1200" cap="none" spc="0" normalizeH="0" baseline="0" noProof="0">
              <a:ln>
                <a:noFill/>
              </a:ln>
              <a:solidFill>
                <a:srgbClr val="4AAA42"/>
              </a:solidFill>
              <a:effectLst/>
              <a:uLnTx/>
              <a:uFillTx/>
              <a:latin typeface="Arial" panose="020B0604020202020204"/>
              <a:ea typeface="+mn-lt"/>
              <a:cs typeface="Arial" panose="020B0604020202020204"/>
            </a:endParaRPr>
          </a:p>
          <a:p>
            <a:pPr>
              <a:spcBef>
                <a:spcPts val="400"/>
              </a:spcBef>
              <a:spcAft>
                <a:spcPts val="600"/>
              </a:spcAft>
              <a:defRPr/>
            </a:pPr>
            <a:r>
              <a:rPr lang="en-US" sz="900">
                <a:solidFill>
                  <a:srgbClr val="595959"/>
                </a:solidFill>
                <a:latin typeface="Arial" panose="020B0604020202020204"/>
                <a:ea typeface="+mn-lt"/>
                <a:cs typeface="Calibri"/>
              </a:rPr>
              <a:t>Client has limited IT and Security staff to handle infrastructure and security needs and was looking for a partner who could support them while they focus on business operations. Several acquisitions over the years have introduced significant amount of disparate technology which is costly to maintain. </a:t>
            </a:r>
            <a:endParaRPr lang="en-US" sz="900" b="0" i="0" u="none" strike="noStrike" kern="1200" cap="none" spc="0" normalizeH="0" baseline="0" noProof="0">
              <a:ln>
                <a:noFill/>
              </a:ln>
              <a:solidFill>
                <a:srgbClr val="595959"/>
              </a:solidFill>
              <a:effectLst/>
              <a:uLnTx/>
              <a:uFillTx/>
              <a:latin typeface="Arial" panose="020B0604020202020204"/>
              <a:ea typeface="+mn-lt"/>
              <a:cs typeface="Calibri" panose="020F0502020204030204" pitchFamily="34" charset="0"/>
            </a:endParaRP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900" b="1" i="0" u="none" strike="noStrike" kern="1200" cap="none" spc="0" normalizeH="0" baseline="0" noProof="0">
                <a:ln>
                  <a:noFill/>
                </a:ln>
                <a:solidFill>
                  <a:srgbClr val="4AAA42"/>
                </a:solidFill>
                <a:effectLst/>
                <a:uLnTx/>
                <a:uFillTx/>
                <a:latin typeface="Arial" panose="020B0604020202020204"/>
                <a:ea typeface="+mn-lt"/>
                <a:cs typeface="Arial" panose="020B0604020202020204"/>
              </a:rPr>
              <a:t>Key pain points</a:t>
            </a:r>
            <a:endParaRPr kumimoji="0" lang="en-US" sz="900" b="0" i="0" u="none" strike="noStrike" kern="1200" cap="none" spc="0" normalizeH="0" baseline="0" noProof="0">
              <a:ln>
                <a:noFill/>
              </a:ln>
              <a:solidFill>
                <a:srgbClr val="595959"/>
              </a:solidFill>
              <a:effectLst/>
              <a:uLnTx/>
              <a:uFillTx/>
              <a:latin typeface="Arial" panose="020B0604020202020204"/>
              <a:ea typeface="+mn-lt"/>
              <a:cs typeface="Arial" panose="020B0604020202020204"/>
            </a:endParaRPr>
          </a:p>
          <a:p>
            <a:pPr marL="304165" indent="-304165">
              <a:buFont typeface="Arial" panose="020B0604020202020204" pitchFamily="34" charset="0"/>
              <a:buChar char="•"/>
              <a:defRPr/>
            </a:pPr>
            <a:r>
              <a:rPr lang="en-US" sz="900">
                <a:solidFill>
                  <a:srgbClr val="595959"/>
                </a:solidFill>
                <a:latin typeface="Arial" panose="020B0604020202020204"/>
                <a:ea typeface="+mn-lt"/>
                <a:cs typeface="Arial"/>
              </a:rPr>
              <a:t>No consolidated view on security threats</a:t>
            </a:r>
            <a:endParaRPr lang="en-US">
              <a:solidFill>
                <a:srgbClr val="FFFFFF"/>
              </a:solidFill>
              <a:latin typeface="Arial" panose="020B0604020202020204"/>
              <a:ea typeface="+mn-lt"/>
              <a:cs typeface="Arial"/>
            </a:endParaRPr>
          </a:p>
          <a:p>
            <a:pPr marL="304165" indent="-304165">
              <a:buFont typeface="Arial" panose="020B0604020202020204" pitchFamily="34" charset="0"/>
              <a:buChar char="•"/>
              <a:defRPr/>
            </a:pPr>
            <a:r>
              <a:rPr lang="en-US" sz="900">
                <a:solidFill>
                  <a:srgbClr val="595959"/>
                </a:solidFill>
                <a:latin typeface="Arial" panose="020B0604020202020204"/>
                <a:ea typeface="+mn-lt"/>
                <a:cs typeface="Calibri"/>
              </a:rPr>
              <a:t>Lack</a:t>
            </a:r>
            <a:r>
              <a:rPr kumimoji="0" lang="en-US" sz="900" b="0" i="0" u="none" strike="noStrike" kern="1200" cap="none" spc="0" normalizeH="0" baseline="0" noProof="0">
                <a:ln>
                  <a:noFill/>
                </a:ln>
                <a:solidFill>
                  <a:srgbClr val="595959"/>
                </a:solidFill>
                <a:effectLst/>
                <a:uLnTx/>
                <a:uFillTx/>
                <a:latin typeface="Arial" panose="020B0604020202020204"/>
                <a:ea typeface="+mn-lt"/>
                <a:cs typeface="Calibri"/>
              </a:rPr>
              <a:t> of consistent patching and vulnerability management processes</a:t>
            </a:r>
            <a:endParaRPr lang="en-US">
              <a:cs typeface="Arial" panose="020B0604020202020204"/>
            </a:endParaRPr>
          </a:p>
          <a:p>
            <a:pPr marL="304165" indent="-304165">
              <a:buFont typeface="Arial" panose="020B0604020202020204" pitchFamily="34" charset="0"/>
              <a:buChar char="•"/>
              <a:defRPr/>
            </a:pPr>
            <a:r>
              <a:rPr kumimoji="0" lang="en-US" sz="900" b="0" i="0" u="none" strike="noStrike" kern="1200" cap="none" spc="0" normalizeH="0" baseline="0" noProof="0">
                <a:ln>
                  <a:noFill/>
                </a:ln>
                <a:solidFill>
                  <a:srgbClr val="595959"/>
                </a:solidFill>
                <a:effectLst/>
                <a:uLnTx/>
                <a:uFillTx/>
                <a:latin typeface="Arial" panose="020B0604020202020204"/>
                <a:ea typeface="+mn-lt"/>
                <a:cs typeface="Calibri"/>
              </a:rPr>
              <a:t>Significant # of </a:t>
            </a:r>
            <a:r>
              <a:rPr lang="en-US" sz="900">
                <a:solidFill>
                  <a:srgbClr val="595959"/>
                </a:solidFill>
                <a:latin typeface="Arial" panose="020B0604020202020204"/>
                <a:ea typeface="+mn-lt"/>
                <a:cs typeface="Calibri"/>
              </a:rPr>
              <a:t>unmanaged IT</a:t>
            </a:r>
            <a:r>
              <a:rPr kumimoji="0" lang="en-US" sz="900" b="0" i="0" u="none" strike="noStrike" kern="1200" cap="none" spc="0" normalizeH="0" baseline="0" noProof="0">
                <a:ln>
                  <a:noFill/>
                </a:ln>
                <a:solidFill>
                  <a:srgbClr val="595959"/>
                </a:solidFill>
                <a:effectLst/>
                <a:uLnTx/>
                <a:uFillTx/>
                <a:latin typeface="Arial" panose="020B0604020202020204"/>
                <a:ea typeface="+mn-lt"/>
                <a:cs typeface="Calibri"/>
              </a:rPr>
              <a:t> assets</a:t>
            </a:r>
            <a:r>
              <a:rPr lang="en-US" sz="900">
                <a:solidFill>
                  <a:srgbClr val="595959"/>
                </a:solidFill>
                <a:latin typeface="Arial" panose="020B0604020202020204"/>
                <a:ea typeface="+mn-lt"/>
                <a:cs typeface="Calibri"/>
              </a:rPr>
              <a:t> from acquisitions</a:t>
            </a:r>
            <a:endParaRPr lang="en-US" sz="900" b="0" i="0" u="none" strike="noStrike" kern="1200" cap="none" spc="0" normalizeH="0" baseline="0" noProof="0">
              <a:ln>
                <a:noFill/>
              </a:ln>
              <a:solidFill>
                <a:srgbClr val="595959"/>
              </a:solidFill>
              <a:effectLst/>
              <a:uLnTx/>
              <a:uFillTx/>
              <a:latin typeface="Arial" panose="020B0604020202020204"/>
              <a:ea typeface="+mn-lt"/>
              <a:cs typeface="Calibri"/>
            </a:endParaRPr>
          </a:p>
          <a:p>
            <a:pPr marL="304165" marR="0" lvl="0" indent="-304165" algn="l" defTabSz="914400" rtl="0" eaLnBrk="1" fontAlgn="auto" latinLnBrk="0" hangingPunct="1">
              <a:lnSpc>
                <a:spcPct val="100000"/>
              </a:lnSpc>
              <a:buClrTx/>
              <a:buSzTx/>
              <a:buFont typeface="Arial" panose="020B0604020202020204" pitchFamily="34" charset="0"/>
              <a:buChar char="•"/>
              <a:tabLst/>
              <a:defRPr/>
            </a:pPr>
            <a:r>
              <a:rPr kumimoji="0" lang="en-US" sz="900" b="0" i="0" u="none" strike="noStrike" kern="1200" cap="none" spc="0" normalizeH="0" baseline="0" noProof="0">
                <a:ln>
                  <a:noFill/>
                </a:ln>
                <a:solidFill>
                  <a:srgbClr val="595959"/>
                </a:solidFill>
                <a:effectLst/>
                <a:uLnTx/>
                <a:uFillTx/>
                <a:latin typeface="Arial" panose="020B0604020202020204"/>
                <a:ea typeface="+mn-ea"/>
                <a:cs typeface="Calibri"/>
              </a:rPr>
              <a:t>No defined return to service plan from systemic outage (e.g., ransomware)</a:t>
            </a:r>
            <a:endParaRPr lang="en-US" sz="900" b="0" i="0" u="none" strike="noStrike" kern="1200" cap="none" spc="0" normalizeH="0" baseline="0" noProof="0">
              <a:ln>
                <a:noFill/>
              </a:ln>
              <a:solidFill>
                <a:srgbClr val="595959"/>
              </a:solidFill>
              <a:effectLst/>
              <a:uLnTx/>
              <a:uFillTx/>
              <a:latin typeface="Arial" panose="020B0604020202020204"/>
              <a:cs typeface="Calibri"/>
            </a:endParaRPr>
          </a:p>
          <a:p>
            <a:pPr marL="304165" marR="0" lvl="0" indent="-304165" algn="l" defTabSz="914400" rtl="0" eaLnBrk="1" fontAlgn="auto" latinLnBrk="0" hangingPunct="1">
              <a:lnSpc>
                <a:spcPct val="100000"/>
              </a:lnSpc>
              <a:buClrTx/>
              <a:buSzTx/>
              <a:buFont typeface="Arial" panose="020B0604020202020204" pitchFamily="34" charset="0"/>
              <a:buChar char="•"/>
              <a:tabLst/>
              <a:defRPr/>
            </a:pPr>
            <a:r>
              <a:rPr kumimoji="0" lang="en-US" sz="900" b="0" i="0" u="none" strike="noStrike" kern="1200" cap="none" spc="0" normalizeH="0" baseline="0" noProof="0">
                <a:ln>
                  <a:noFill/>
                </a:ln>
                <a:solidFill>
                  <a:srgbClr val="595959"/>
                </a:solidFill>
                <a:effectLst/>
                <a:uLnTx/>
                <a:uFillTx/>
                <a:latin typeface="Arial" panose="020B0604020202020204"/>
                <a:ea typeface="+mn-ea"/>
                <a:cs typeface="Calibri"/>
              </a:rPr>
              <a:t>Inconsistent and missing processes within continuity of operations plans</a:t>
            </a:r>
            <a:endParaRPr lang="en-US" sz="900" b="0" i="0" u="none" strike="noStrike" kern="1200" cap="none" spc="0" normalizeH="0" baseline="0" noProof="0">
              <a:ln>
                <a:noFill/>
              </a:ln>
              <a:solidFill>
                <a:srgbClr val="595959"/>
              </a:solidFill>
              <a:effectLst/>
              <a:uLnTx/>
              <a:uFillTx/>
              <a:latin typeface="Arial" panose="020B0604020202020204"/>
              <a:cs typeface="Calibri"/>
            </a:endParaRPr>
          </a:p>
          <a:p>
            <a:pPr marL="304165" indent="-304165">
              <a:buFont typeface="Arial" panose="020B0604020202020204" pitchFamily="34" charset="0"/>
              <a:buChar char="•"/>
              <a:defRPr/>
            </a:pPr>
            <a:r>
              <a:rPr kumimoji="0" lang="en-US" sz="900" b="0" i="0" u="none" strike="noStrike" kern="1200" cap="none" spc="0" normalizeH="0" baseline="0" noProof="0">
                <a:ln>
                  <a:noFill/>
                </a:ln>
                <a:solidFill>
                  <a:srgbClr val="595959"/>
                </a:solidFill>
                <a:effectLst/>
                <a:uLnTx/>
                <a:uFillTx/>
                <a:latin typeface="Arial" panose="020B0604020202020204"/>
                <a:ea typeface="+mn-ea"/>
                <a:cs typeface="Calibri"/>
              </a:rPr>
              <a:t>Gaps in hardened configuration of </a:t>
            </a:r>
            <a:r>
              <a:rPr lang="en-US" sz="900">
                <a:solidFill>
                  <a:srgbClr val="595959"/>
                </a:solidFill>
                <a:latin typeface="Arial" panose="020B0604020202020204"/>
                <a:cs typeface="Calibri"/>
              </a:rPr>
              <a:t>on-premises</a:t>
            </a:r>
            <a:r>
              <a:rPr kumimoji="0" lang="en-US" sz="900" b="0" i="0" u="none" strike="noStrike" kern="1200" cap="none" spc="0" normalizeH="0" baseline="0" noProof="0">
                <a:ln>
                  <a:noFill/>
                </a:ln>
                <a:solidFill>
                  <a:srgbClr val="595959"/>
                </a:solidFill>
                <a:effectLst/>
                <a:uLnTx/>
                <a:uFillTx/>
                <a:latin typeface="Arial" panose="020B0604020202020204"/>
                <a:ea typeface="+mn-ea"/>
                <a:cs typeface="Calibri"/>
              </a:rPr>
              <a:t> </a:t>
            </a:r>
            <a:r>
              <a:rPr lang="en-US" sz="900">
                <a:solidFill>
                  <a:srgbClr val="595959"/>
                </a:solidFill>
                <a:latin typeface="Arial" panose="020B0604020202020204"/>
                <a:cs typeface="Calibri"/>
              </a:rPr>
              <a:t>environments</a:t>
            </a:r>
            <a:endParaRPr lang="en-US" sz="900" b="0" i="0" u="none" strike="noStrike" kern="1200" cap="none" spc="0" normalizeH="0" baseline="0" noProof="0">
              <a:ln>
                <a:noFill/>
              </a:ln>
              <a:solidFill>
                <a:srgbClr val="595959"/>
              </a:solidFill>
              <a:effectLst/>
              <a:uLnTx/>
              <a:uFillTx/>
              <a:latin typeface="Arial" panose="020B0604020202020204"/>
              <a:ea typeface="+mn-lt"/>
              <a:cs typeface="Calibri"/>
            </a:endParaRPr>
          </a:p>
        </p:txBody>
      </p:sp>
      <p:sp>
        <p:nvSpPr>
          <p:cNvPr id="123" name="Rectangle 122">
            <a:extLst>
              <a:ext uri="{FF2B5EF4-FFF2-40B4-BE49-F238E27FC236}">
                <a16:creationId xmlns:a16="http://schemas.microsoft.com/office/drawing/2014/main" id="{4FA9D08F-70D1-4A63-A887-2C283F3F9D05}"/>
              </a:ext>
            </a:extLst>
          </p:cNvPr>
          <p:cNvSpPr/>
          <p:nvPr/>
        </p:nvSpPr>
        <p:spPr>
          <a:xfrm>
            <a:off x="3485382" y="1458340"/>
            <a:ext cx="2551176" cy="4435654"/>
          </a:xfrm>
          <a:prstGeom prst="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path path="circle">
              <a:fillToRect l="100000" b="100000"/>
            </a:path>
            <a:tileRect t="-100000" r="-10000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t"/>
          <a:lstStyle/>
          <a:p>
            <a:pPr marL="228589" marR="0" lvl="0" indent="-228589" algn="l" defTabSz="914400" rtl="0" eaLnBrk="1" fontAlgn="auto" latinLnBrk="0" hangingPunct="1">
              <a:lnSpc>
                <a:spcPct val="100000"/>
              </a:lnSpc>
              <a:spcBef>
                <a:spcPts val="0"/>
              </a:spcBef>
              <a:spcAft>
                <a:spcPts val="0"/>
              </a:spcAft>
              <a:buClrTx/>
              <a:buSzTx/>
              <a:buFont typeface="Arial"/>
              <a:buChar char="•"/>
              <a:tabLst/>
              <a:defRPr/>
            </a:pPr>
            <a:endParaRPr kumimoji="0" lang="en-US" sz="900" b="0" i="0" u="none" strike="noStrike" kern="1200" cap="none" spc="0" normalizeH="0" baseline="0" noProof="0" dirty="0">
              <a:ln>
                <a:noFill/>
              </a:ln>
              <a:solidFill>
                <a:srgbClr val="595959"/>
              </a:solidFill>
              <a:effectLst/>
              <a:uLnTx/>
              <a:uFillTx/>
              <a:latin typeface="Arial" panose="020B0604020202020204"/>
              <a:ea typeface="+mn-ea"/>
              <a:cs typeface="Arial"/>
            </a:endParaRPr>
          </a:p>
          <a:p>
            <a:pPr marL="228589" marR="0" lvl="1" indent="-228589" algn="l" defTabSz="914400" rtl="0" eaLnBrk="1" fontAlgn="auto" latinLnBrk="0" hangingPunct="1">
              <a:lnSpc>
                <a:spcPct val="100000"/>
              </a:lnSpc>
              <a:spcBef>
                <a:spcPts val="133"/>
              </a:spcBef>
              <a:spcAft>
                <a:spcPts val="133"/>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595959"/>
              </a:solidFill>
              <a:effectLst/>
              <a:uLnTx/>
              <a:uFillTx/>
              <a:latin typeface="Arial" panose="020B0604020202020204"/>
              <a:ea typeface="+mn-ea"/>
              <a:cs typeface="+mn-cs"/>
            </a:endParaRPr>
          </a:p>
          <a:p>
            <a:pPr marL="228589" marR="0" lvl="0" indent="-228589" algn="l" defTabSz="914400" rtl="0" eaLnBrk="1" fontAlgn="auto" latinLnBrk="0" hangingPunct="1">
              <a:lnSpc>
                <a:spcPct val="100000"/>
              </a:lnSpc>
              <a:spcBef>
                <a:spcPts val="0"/>
              </a:spcBef>
              <a:spcAft>
                <a:spcPts val="0"/>
              </a:spcAft>
              <a:buClrTx/>
              <a:buSzTx/>
              <a:buFont typeface="Arial"/>
              <a:buChar char="•"/>
              <a:tabLst/>
              <a:defRPr/>
            </a:pPr>
            <a:endParaRPr kumimoji="0" lang="en-US" sz="900" b="0" i="0" u="none" strike="noStrike" kern="1200" cap="none" spc="0" normalizeH="0" baseline="0" noProof="0" dirty="0">
              <a:ln>
                <a:noFill/>
              </a:ln>
              <a:solidFill>
                <a:srgbClr val="595959"/>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900" b="1" i="0" u="none" strike="noStrike" kern="1200" cap="none" spc="0" normalizeH="0" baseline="0" noProof="0" dirty="0">
                <a:ln>
                  <a:noFill/>
                </a:ln>
                <a:solidFill>
                  <a:srgbClr val="4AAA42"/>
                </a:solidFill>
                <a:effectLst/>
                <a:uLnTx/>
                <a:uFillTx/>
                <a:latin typeface="Arial" panose="020B0604020202020204"/>
                <a:ea typeface="+mn-lt"/>
                <a:cs typeface="Arial" panose="020B0604020202020204"/>
              </a:rPr>
              <a:t>Key client needs</a:t>
            </a:r>
          </a:p>
          <a:p>
            <a:pPr marL="0" marR="0" lvl="0" indent="0" algn="l" defTabSz="914400" rtl="0" eaLnBrk="1" fontAlgn="auto" latinLnBrk="0" hangingPunct="1">
              <a:lnSpc>
                <a:spcPct val="100000"/>
              </a:lnSpc>
              <a:spcBef>
                <a:spcPts val="400"/>
              </a:spcBef>
              <a:spcAft>
                <a:spcPts val="600"/>
              </a:spcAft>
              <a:buClrTx/>
              <a:buSzTx/>
              <a:buFontTx/>
              <a:buNone/>
              <a:tabLst/>
              <a:defRPr/>
            </a:pPr>
            <a:r>
              <a:rPr kumimoji="0" lang="en-US" sz="900" b="0" i="1" u="none" strike="noStrike" kern="1200" cap="none" spc="0" normalizeH="0" baseline="0" noProof="0" dirty="0">
                <a:ln>
                  <a:noFill/>
                </a:ln>
                <a:solidFill>
                  <a:srgbClr val="00A5E0"/>
                </a:solidFill>
                <a:effectLst/>
                <a:uLnTx/>
                <a:uFillTx/>
                <a:latin typeface="Arial" panose="020B0604020202020204"/>
                <a:ea typeface="+mn-ea"/>
                <a:cs typeface="Calibri" panose="020F0502020204030204" pitchFamily="34" charset="0"/>
              </a:rPr>
              <a:t>Structure a PMO</a:t>
            </a:r>
            <a:r>
              <a:rPr kumimoji="0" lang="en-US" sz="900" b="0" i="0" u="none" strike="noStrike" kern="1200" cap="none" spc="0" normalizeH="0" baseline="0" noProof="0" dirty="0">
                <a:ln>
                  <a:noFill/>
                </a:ln>
                <a:solidFill>
                  <a:srgbClr val="E7E6E6">
                    <a:lumMod val="50000"/>
                  </a:srgbClr>
                </a:solidFill>
                <a:effectLst/>
                <a:uLnTx/>
                <a:uFillTx/>
                <a:latin typeface="Arial" panose="020B0604020202020204"/>
                <a:ea typeface="+mn-ea"/>
                <a:cs typeface="Calibri" panose="020F0502020204030204" pitchFamily="34" charset="0"/>
              </a:rPr>
              <a:t> in order to orchestrate delivery of multiple security and technology infrastructure work streams under </a:t>
            </a:r>
            <a:r>
              <a:rPr lang="en-US" sz="900" dirty="0">
                <a:solidFill>
                  <a:srgbClr val="E7E6E6">
                    <a:lumMod val="50000"/>
                  </a:srgbClr>
                </a:solidFill>
                <a:latin typeface="Arial" panose="020B0604020202020204"/>
                <a:cs typeface="Calibri" panose="020F0502020204030204" pitchFamily="34" charset="0"/>
              </a:rPr>
              <a:t>prescriptive</a:t>
            </a:r>
            <a:r>
              <a:rPr kumimoji="0" lang="en-US" sz="900" b="0" i="0" u="none" strike="noStrike" kern="1200" cap="none" spc="0" normalizeH="0" baseline="0" noProof="0" dirty="0">
                <a:ln>
                  <a:noFill/>
                </a:ln>
                <a:solidFill>
                  <a:srgbClr val="E7E6E6">
                    <a:lumMod val="50000"/>
                  </a:srgbClr>
                </a:solidFill>
                <a:effectLst/>
                <a:uLnTx/>
                <a:uFillTx/>
                <a:latin typeface="Arial" panose="020B0604020202020204"/>
                <a:ea typeface="+mn-ea"/>
                <a:cs typeface="Calibri" panose="020F0502020204030204" pitchFamily="34" charset="0"/>
              </a:rPr>
              <a:t> time frames.  </a:t>
            </a:r>
            <a:r>
              <a:rPr kumimoji="0" lang="en-US" sz="900" b="0" i="1" u="none" strike="noStrike" kern="1200" cap="none" spc="0" normalizeH="0" baseline="0" noProof="0" dirty="0">
                <a:ln>
                  <a:noFill/>
                </a:ln>
                <a:solidFill>
                  <a:srgbClr val="00A5E0"/>
                </a:solidFill>
                <a:effectLst/>
                <a:uLnTx/>
                <a:uFillTx/>
                <a:latin typeface="Arial" panose="020B0604020202020204"/>
                <a:ea typeface="+mn-ea"/>
                <a:cs typeface="Calibri" panose="020F0502020204030204" pitchFamily="34" charset="0"/>
              </a:rPr>
              <a:t>Provide subject matter experts</a:t>
            </a:r>
            <a:r>
              <a:rPr kumimoji="0" lang="en-US" sz="900" b="0" i="0" u="none" strike="noStrike" kern="1200" cap="none" spc="0" normalizeH="0" baseline="0" noProof="0" dirty="0">
                <a:ln>
                  <a:noFill/>
                </a:ln>
                <a:solidFill>
                  <a:srgbClr val="E7E6E6">
                    <a:lumMod val="50000"/>
                  </a:srgbClr>
                </a:solidFill>
                <a:effectLst/>
                <a:uLnTx/>
                <a:uFillTx/>
                <a:latin typeface="Arial" panose="020B0604020202020204"/>
                <a:ea typeface="+mn-ea"/>
                <a:cs typeface="Calibri" panose="020F0502020204030204" pitchFamily="34" charset="0"/>
              </a:rPr>
              <a:t> to supplement existing cybersecurity organization and bring leading practice insights</a:t>
            </a:r>
          </a:p>
          <a:p>
            <a:pPr marL="0" marR="0" lvl="0" indent="0" algn="l" defTabSz="914400" rtl="0" eaLnBrk="1" fontAlgn="auto" latinLnBrk="0" hangingPunct="1">
              <a:lnSpc>
                <a:spcPct val="100000"/>
              </a:lnSpc>
              <a:spcBef>
                <a:spcPts val="400"/>
              </a:spcBef>
              <a:spcAft>
                <a:spcPts val="600"/>
              </a:spcAft>
              <a:buClrTx/>
              <a:buSzTx/>
              <a:buFontTx/>
              <a:buNone/>
              <a:tabLst/>
              <a:defRPr/>
            </a:pPr>
            <a:r>
              <a:rPr kumimoji="0" lang="en-US" sz="900" b="1" i="0" u="none" strike="noStrike" kern="1200" cap="none" spc="0" normalizeH="0" baseline="0" noProof="0" dirty="0">
                <a:ln>
                  <a:noFill/>
                </a:ln>
                <a:solidFill>
                  <a:srgbClr val="4AAA42"/>
                </a:solidFill>
                <a:effectLst/>
                <a:uLnTx/>
                <a:uFillTx/>
                <a:latin typeface="Arial" panose="020B0604020202020204"/>
                <a:ea typeface="+mn-lt"/>
                <a:cs typeface="Arial" panose="020B0604020202020204"/>
              </a:rPr>
              <a:t>Why RSM?</a:t>
            </a:r>
          </a:p>
          <a:p>
            <a:pPr marL="0" marR="0" lvl="1" indent="0" algn="l" defTabSz="914400" rtl="0" eaLnBrk="1" fontAlgn="auto" latinLnBrk="0" hangingPunct="1">
              <a:lnSpc>
                <a:spcPct val="100000"/>
              </a:lnSpc>
              <a:spcBef>
                <a:spcPts val="400"/>
              </a:spcBef>
              <a:spcAft>
                <a:spcPts val="300"/>
              </a:spcAft>
              <a:buClrTx/>
              <a:buSzTx/>
              <a:buFontTx/>
              <a:buNone/>
              <a:tabLst/>
              <a:defRPr/>
            </a:pPr>
            <a:r>
              <a:rPr kumimoji="0" lang="en-US" sz="900" b="0" i="0" u="none" strike="noStrike" kern="1200" cap="none" spc="0" normalizeH="0" baseline="0" noProof="0" dirty="0">
                <a:ln>
                  <a:noFill/>
                </a:ln>
                <a:solidFill>
                  <a:srgbClr val="E7E6E6">
                    <a:lumMod val="50000"/>
                  </a:srgbClr>
                </a:solidFill>
                <a:effectLst/>
                <a:uLnTx/>
                <a:uFillTx/>
                <a:latin typeface="Arial" panose="020B0604020202020204"/>
                <a:ea typeface="+mn-ea"/>
                <a:cs typeface="Calibri" panose="020F0502020204030204" pitchFamily="34" charset="0"/>
              </a:rPr>
              <a:t>After receiving board approval, the CIO selected RSM for our ability to: </a:t>
            </a:r>
          </a:p>
          <a:p>
            <a:pPr marL="304784" marR="0" lvl="1" indent="-30478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1" u="none" strike="noStrike" kern="1200" cap="none" spc="0" normalizeH="0" baseline="0" noProof="0" dirty="0">
                <a:ln>
                  <a:noFill/>
                </a:ln>
                <a:solidFill>
                  <a:srgbClr val="00A5E0"/>
                </a:solidFill>
                <a:effectLst/>
                <a:uLnTx/>
                <a:uFillTx/>
                <a:latin typeface="Arial" panose="020B0604020202020204"/>
                <a:ea typeface="+mn-ea"/>
                <a:cs typeface="Calibri" panose="020F0502020204030204" pitchFamily="34" charset="0"/>
              </a:rPr>
              <a:t>Depth of experience with program oversight</a:t>
            </a:r>
            <a:r>
              <a:rPr kumimoji="0" lang="en-US" sz="900" b="0" i="0" u="none" strike="noStrike" kern="1200" cap="none" spc="0" normalizeH="0" baseline="0" noProof="0" dirty="0">
                <a:ln>
                  <a:noFill/>
                </a:ln>
                <a:solidFill>
                  <a:srgbClr val="E7E6E6">
                    <a:lumMod val="50000"/>
                  </a:srgbClr>
                </a:solidFill>
                <a:effectLst/>
                <a:uLnTx/>
                <a:uFillTx/>
                <a:latin typeface="Arial" panose="020B0604020202020204"/>
                <a:ea typeface="+mn-ea"/>
                <a:cs typeface="Calibri" panose="020F0502020204030204" pitchFamily="34" charset="0"/>
              </a:rPr>
              <a:t>, including facilitating steering committee sessions and day-to-day program management office (PMO) activities, and coordinating across 8 project work streams</a:t>
            </a:r>
          </a:p>
          <a:p>
            <a:pPr marL="304784" marR="0" lvl="1" indent="-30478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E7E6E6">
                    <a:lumMod val="50000"/>
                  </a:srgbClr>
                </a:solidFill>
                <a:effectLst/>
                <a:uLnTx/>
                <a:uFillTx/>
                <a:latin typeface="Arial" panose="020B0604020202020204"/>
                <a:ea typeface="+mn-ea"/>
                <a:cs typeface="Calibri" panose="020F0502020204030204" pitchFamily="34" charset="0"/>
              </a:rPr>
              <a:t>Our understanding of client’s requirements and ability to </a:t>
            </a:r>
            <a:r>
              <a:rPr kumimoji="0" lang="en-US" sz="900" b="0" i="1" u="none" strike="noStrike" kern="1200" cap="none" spc="0" normalizeH="0" baseline="0" noProof="0" dirty="0">
                <a:ln>
                  <a:noFill/>
                </a:ln>
                <a:solidFill>
                  <a:srgbClr val="00A5E0"/>
                </a:solidFill>
                <a:effectLst/>
                <a:uLnTx/>
                <a:uFillTx/>
                <a:latin typeface="Arial" panose="020B0604020202020204"/>
                <a:ea typeface="+mn-ea"/>
                <a:cs typeface="Calibri" panose="020F0502020204030204" pitchFamily="34" charset="0"/>
              </a:rPr>
              <a:t>bring cybersecurity transformation, operational experience, and managed security services</a:t>
            </a:r>
          </a:p>
          <a:p>
            <a:pPr marL="304784" marR="0" lvl="1" indent="-304784"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E7E6E6">
                    <a:lumMod val="50000"/>
                  </a:srgbClr>
                </a:solidFill>
                <a:effectLst/>
                <a:uLnTx/>
                <a:uFillTx/>
                <a:latin typeface="Arial" panose="020B0604020202020204"/>
                <a:ea typeface="+mn-ea"/>
                <a:cs typeface="Calibri" panose="020F0502020204030204" pitchFamily="34" charset="0"/>
              </a:rPr>
              <a:t>Ability to quickly ramp-up and phase-in capability sets to meet ongoing business, audit, and operational needs</a:t>
            </a:r>
            <a:endParaRPr kumimoji="0" lang="en-US" sz="900" b="0" i="0" u="none" strike="noStrike" kern="1200" cap="none" spc="0" normalizeH="0" baseline="0" noProof="0" dirty="0">
              <a:ln>
                <a:noFill/>
              </a:ln>
              <a:solidFill>
                <a:srgbClr val="E7E6E6">
                  <a:lumMod val="50000"/>
                </a:srgbClr>
              </a:solidFill>
              <a:effectLst/>
              <a:uLnTx/>
              <a:uFillTx/>
              <a:latin typeface="Arial" panose="020B0604020202020204"/>
              <a:ea typeface="+mn-ea"/>
              <a:cs typeface="+mn-cs"/>
            </a:endParaRPr>
          </a:p>
          <a:p>
            <a:pPr marL="228589" marR="0" lvl="1" indent="-228589" algn="l" defTabSz="914400" rtl="0" eaLnBrk="1" fontAlgn="auto" latinLnBrk="0" hangingPunct="1">
              <a:lnSpc>
                <a:spcPct val="100000"/>
              </a:lnSpc>
              <a:spcBef>
                <a:spcPts val="133"/>
              </a:spcBef>
              <a:spcAft>
                <a:spcPts val="133"/>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595959"/>
              </a:solidFill>
              <a:effectLst/>
              <a:uLnTx/>
              <a:uFillTx/>
              <a:latin typeface="Arial" panose="020B0604020202020204"/>
              <a:ea typeface="+mn-ea"/>
              <a:cs typeface="+mn-cs"/>
            </a:endParaRPr>
          </a:p>
        </p:txBody>
      </p:sp>
      <p:sp>
        <p:nvSpPr>
          <p:cNvPr id="124" name="Rectangle 123">
            <a:extLst>
              <a:ext uri="{FF2B5EF4-FFF2-40B4-BE49-F238E27FC236}">
                <a16:creationId xmlns:a16="http://schemas.microsoft.com/office/drawing/2014/main" id="{C8B4C0EA-78C6-43AC-B799-1B16F3B849A7}"/>
              </a:ext>
            </a:extLst>
          </p:cNvPr>
          <p:cNvSpPr/>
          <p:nvPr/>
        </p:nvSpPr>
        <p:spPr>
          <a:xfrm>
            <a:off x="6268038" y="1458339"/>
            <a:ext cx="2551176" cy="4435655"/>
          </a:xfrm>
          <a:prstGeom prst="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path path="circle">
              <a:fillToRect l="100000" b="100000"/>
            </a:path>
            <a:tileRect t="-100000" r="-10000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t"/>
          <a:lstStyle/>
          <a:p>
            <a:pPr marL="227965" marR="0" lvl="0" indent="-227965" algn="l" defTabSz="914400" rtl="0" eaLnBrk="1" fontAlgn="auto" latinLnBrk="0" hangingPunct="1">
              <a:lnSpc>
                <a:spcPct val="100000"/>
              </a:lnSpc>
              <a:spcBef>
                <a:spcPts val="0"/>
              </a:spcBef>
              <a:spcAft>
                <a:spcPts val="0"/>
              </a:spcAft>
              <a:buClrTx/>
              <a:buSzTx/>
              <a:buFont typeface="Arial"/>
              <a:buChar char="•"/>
              <a:tabLst/>
              <a:defRPr/>
            </a:pPr>
            <a:endParaRPr lang="en-US" sz="900" b="0" i="0" u="none" strike="noStrike" kern="1200" cap="none" spc="0" normalizeH="0" baseline="0" noProof="0" dirty="0">
              <a:ln>
                <a:noFill/>
              </a:ln>
              <a:solidFill>
                <a:srgbClr val="595959"/>
              </a:solidFill>
              <a:effectLst/>
              <a:uLnTx/>
              <a:uFillTx/>
              <a:latin typeface="Arial" panose="020B0604020202020204"/>
              <a:cs typeface="Arial"/>
            </a:endParaRPr>
          </a:p>
          <a:p>
            <a:pPr marL="227965" marR="0" lvl="0" indent="-227965" algn="l" defTabSz="914400" rtl="0" eaLnBrk="1" fontAlgn="auto" latinLnBrk="0" hangingPunct="1">
              <a:lnSpc>
                <a:spcPct val="100000"/>
              </a:lnSpc>
              <a:spcBef>
                <a:spcPts val="0"/>
              </a:spcBef>
              <a:spcAft>
                <a:spcPts val="0"/>
              </a:spcAft>
              <a:buClrTx/>
              <a:buSzTx/>
              <a:buFont typeface="Arial"/>
              <a:buChar char="•"/>
              <a:tabLst/>
              <a:defRPr/>
            </a:pPr>
            <a:endParaRPr lang="en-US" sz="900" b="0" i="0" u="none" strike="noStrike" kern="1200" cap="none" spc="0" normalizeH="0" baseline="0" noProof="0" dirty="0">
              <a:ln>
                <a:noFill/>
              </a:ln>
              <a:solidFill>
                <a:srgbClr val="595959"/>
              </a:solidFill>
              <a:effectLst/>
              <a:uLnTx/>
              <a:uFillTx/>
              <a:latin typeface="Arial" panose="020B0604020202020204"/>
              <a:cs typeface="Arial"/>
            </a:endParaRPr>
          </a:p>
          <a:p>
            <a:pPr marL="227965" marR="0" lvl="0" indent="-227965" algn="l" defTabSz="914400" rtl="0" eaLnBrk="1" fontAlgn="auto" latinLnBrk="0" hangingPunct="1">
              <a:lnSpc>
                <a:spcPct val="100000"/>
              </a:lnSpc>
              <a:spcBef>
                <a:spcPts val="0"/>
              </a:spcBef>
              <a:spcAft>
                <a:spcPts val="0"/>
              </a:spcAft>
              <a:buClrTx/>
              <a:buSzTx/>
              <a:buFont typeface="Arial"/>
              <a:buChar char="•"/>
              <a:tabLst/>
              <a:defRPr/>
            </a:pPr>
            <a:endParaRPr lang="en-US" sz="900" b="0" i="0" u="none" strike="noStrike" kern="1200" cap="none" spc="0" normalizeH="0" baseline="0" noProof="0" dirty="0">
              <a:ln>
                <a:noFill/>
              </a:ln>
              <a:solidFill>
                <a:srgbClr val="595959"/>
              </a:solidFill>
              <a:effectLst/>
              <a:uLnTx/>
              <a:uFillTx/>
              <a:latin typeface="Arial" panose="020B0604020202020204"/>
              <a:cs typeface="Arial"/>
            </a:endParaRPr>
          </a:p>
          <a:p>
            <a:pPr marL="0" marR="0" lvl="0" indent="0" algn="l" defTabSz="914400" rtl="0" eaLnBrk="1" fontAlgn="auto" latinLnBrk="0" hangingPunct="1">
              <a:lnSpc>
                <a:spcPct val="100000"/>
              </a:lnSpc>
              <a:spcBef>
                <a:spcPts val="400"/>
              </a:spcBef>
              <a:spcAft>
                <a:spcPts val="600"/>
              </a:spcAft>
              <a:buClrTx/>
              <a:buSzTx/>
              <a:buFontTx/>
              <a:buNone/>
              <a:tabLst/>
              <a:defRPr/>
            </a:pPr>
            <a:r>
              <a:rPr kumimoji="0" lang="en-US" sz="900" b="1" i="0" u="none" strike="noStrike" kern="1200" cap="none" spc="0" normalizeH="0" baseline="0" noProof="0" dirty="0">
                <a:ln>
                  <a:noFill/>
                </a:ln>
                <a:solidFill>
                  <a:srgbClr val="4AAA42"/>
                </a:solidFill>
                <a:effectLst/>
                <a:uLnTx/>
                <a:uFillTx/>
                <a:latin typeface="Arial" panose="020B0604020202020204"/>
                <a:ea typeface="+mn-lt"/>
                <a:cs typeface="Arial" panose="020B0604020202020204"/>
              </a:rPr>
              <a:t>Results</a:t>
            </a:r>
            <a:endParaRPr lang="en-US" sz="900" b="1" i="0" u="none" strike="noStrike" kern="1200" cap="none" spc="0" normalizeH="0" baseline="0" noProof="0" dirty="0">
              <a:ln>
                <a:noFill/>
              </a:ln>
              <a:solidFill>
                <a:srgbClr val="4AAA42"/>
              </a:solidFill>
              <a:effectLst/>
              <a:uLnTx/>
              <a:uFillTx/>
              <a:latin typeface="Arial" panose="020B0604020202020204"/>
              <a:ea typeface="+mn-lt"/>
              <a:cs typeface="Arial" panose="020B0604020202020204"/>
            </a:endParaRPr>
          </a:p>
          <a:p>
            <a:pPr marL="227965" marR="0" lvl="0" indent="-22796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dirty="0">
                <a:solidFill>
                  <a:srgbClr val="E7E6E6">
                    <a:lumMod val="50000"/>
                  </a:srgbClr>
                </a:solidFill>
                <a:latin typeface="Arial" panose="020B0604020202020204"/>
                <a:cs typeface="Calibri" panose="020F0502020204030204" pitchFamily="34" charset="0"/>
              </a:rPr>
              <a:t>Implemented robust program management framework to bolster current and future cyber initiatives.</a:t>
            </a:r>
          </a:p>
          <a:p>
            <a:pPr marL="227965" marR="0" lvl="0" indent="-22796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dirty="0">
                <a:solidFill>
                  <a:srgbClr val="E7E6E6">
                    <a:lumMod val="50000"/>
                  </a:srgbClr>
                </a:solidFill>
                <a:latin typeface="Arial" panose="020B0604020202020204"/>
                <a:cs typeface="Calibri" panose="020F0502020204030204" pitchFamily="34" charset="0"/>
              </a:rPr>
              <a:t>Employed RSM Defense for continuous vulnerability scanning across 4K+ assets.</a:t>
            </a:r>
          </a:p>
          <a:p>
            <a:pPr marL="227965" marR="0" lvl="0" indent="-22796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dirty="0">
                <a:solidFill>
                  <a:srgbClr val="E7E6E6">
                    <a:lumMod val="50000"/>
                  </a:srgbClr>
                </a:solidFill>
                <a:latin typeface="Arial" panose="020B0604020202020204"/>
                <a:cs typeface="Calibri" panose="020F0502020204030204" pitchFamily="34" charset="0"/>
              </a:rPr>
              <a:t>Configured and oversaw Office365 and Active Directory for 2K+ employees and third parties, enhancing identity protection and monitoring crucial business operations.</a:t>
            </a:r>
          </a:p>
          <a:p>
            <a:pPr marL="227965" marR="0" lvl="0" indent="-22796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dirty="0">
                <a:solidFill>
                  <a:srgbClr val="E7E6E6">
                    <a:lumMod val="50000"/>
                  </a:srgbClr>
                </a:solidFill>
                <a:latin typeface="Arial" panose="020B0604020202020204"/>
                <a:cs typeface="Calibri" panose="020F0502020204030204" pitchFamily="34" charset="0"/>
              </a:rPr>
              <a:t>Managed firewalls and networking infrastructure, while facilitating end-of-support transitions to consolidate infrastructure and cut overall costs.</a:t>
            </a:r>
          </a:p>
          <a:p>
            <a:pPr marL="227965" marR="0" lvl="0" indent="-22796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dirty="0">
                <a:solidFill>
                  <a:srgbClr val="E7E6E6">
                    <a:lumMod val="50000"/>
                  </a:srgbClr>
                </a:solidFill>
                <a:latin typeface="Arial" panose="020B0604020202020204"/>
                <a:cs typeface="Calibri" panose="020F0502020204030204" pitchFamily="34" charset="0"/>
              </a:rPr>
              <a:t>Drastically reduced resolution time for technical support issues on servers and end-user devices through expert L3 services.</a:t>
            </a:r>
          </a:p>
          <a:p>
            <a:pPr marL="227965" marR="0" lvl="0" indent="-22796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dirty="0">
                <a:solidFill>
                  <a:srgbClr val="E7E6E6">
                    <a:lumMod val="50000"/>
                  </a:srgbClr>
                </a:solidFill>
                <a:latin typeface="Arial" panose="020B0604020202020204"/>
                <a:cs typeface="Calibri" panose="020F0502020204030204" pitchFamily="34" charset="0"/>
              </a:rPr>
              <a:t>Developed a roadmap to enhance alert accuracy, scaling from 1 to 40 sources of data/truth.</a:t>
            </a:r>
          </a:p>
          <a:p>
            <a:pPr marL="227965" marR="0" lvl="0" indent="-22796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dirty="0">
                <a:solidFill>
                  <a:srgbClr val="E7E6E6">
                    <a:lumMod val="50000"/>
                  </a:srgbClr>
                </a:solidFill>
                <a:latin typeface="Arial" panose="020B0604020202020204"/>
                <a:cs typeface="Calibri" panose="020F0502020204030204" pitchFamily="34" charset="0"/>
              </a:rPr>
              <a:t>Seamlessly integrated threat intelligence into all investigations, further elevating alert accuracy and response capabilities.</a:t>
            </a:r>
          </a:p>
        </p:txBody>
      </p:sp>
      <p:sp>
        <p:nvSpPr>
          <p:cNvPr id="125" name="Arrow: Pentagon 1">
            <a:extLst>
              <a:ext uri="{FF2B5EF4-FFF2-40B4-BE49-F238E27FC236}">
                <a16:creationId xmlns:a16="http://schemas.microsoft.com/office/drawing/2014/main" id="{249B14DF-761B-4953-A13C-9D7B952F7384}"/>
              </a:ext>
            </a:extLst>
          </p:cNvPr>
          <p:cNvSpPr/>
          <p:nvPr/>
        </p:nvSpPr>
        <p:spPr>
          <a:xfrm>
            <a:off x="427853" y="1572319"/>
            <a:ext cx="2823243" cy="285717"/>
          </a:xfrm>
          <a:prstGeom prst="homePlat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panose="020B0604020202020204"/>
                <a:ea typeface="+mn-ea"/>
                <a:cs typeface="+mn-cs"/>
              </a:rPr>
              <a:t>Client background</a:t>
            </a:r>
          </a:p>
        </p:txBody>
      </p:sp>
      <p:sp>
        <p:nvSpPr>
          <p:cNvPr id="126" name="Arrow: Pentagon 14">
            <a:extLst>
              <a:ext uri="{FF2B5EF4-FFF2-40B4-BE49-F238E27FC236}">
                <a16:creationId xmlns:a16="http://schemas.microsoft.com/office/drawing/2014/main" id="{3F85EEBF-005D-48F0-9A8B-EB351CD4E733}"/>
              </a:ext>
            </a:extLst>
          </p:cNvPr>
          <p:cNvSpPr/>
          <p:nvPr/>
        </p:nvSpPr>
        <p:spPr>
          <a:xfrm>
            <a:off x="3329068" y="1565227"/>
            <a:ext cx="2728872" cy="285717"/>
          </a:xfrm>
          <a:prstGeom prst="homePlat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121920" tIns="60960" rIns="121920" bIns="6096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a:ln>
                  <a:noFill/>
                </a:ln>
                <a:solidFill>
                  <a:srgbClr val="FFFFFF"/>
                </a:solidFill>
                <a:effectLst/>
                <a:uLnTx/>
                <a:uFillTx/>
                <a:latin typeface="Arial" panose="020B0604020202020204"/>
                <a:ea typeface="+mn-ea"/>
                <a:cs typeface="Arial"/>
              </a:rPr>
              <a:t>Solution</a:t>
            </a:r>
          </a:p>
        </p:txBody>
      </p:sp>
      <p:sp>
        <p:nvSpPr>
          <p:cNvPr id="127" name="Arrow: Pentagon 15">
            <a:extLst>
              <a:ext uri="{FF2B5EF4-FFF2-40B4-BE49-F238E27FC236}">
                <a16:creationId xmlns:a16="http://schemas.microsoft.com/office/drawing/2014/main" id="{C0FA2769-18E7-4960-AD8D-855C60BC9032}"/>
              </a:ext>
            </a:extLst>
          </p:cNvPr>
          <p:cNvSpPr/>
          <p:nvPr/>
        </p:nvSpPr>
        <p:spPr>
          <a:xfrm>
            <a:off x="6121301" y="1565226"/>
            <a:ext cx="2697913" cy="285717"/>
          </a:xfrm>
          <a:prstGeom prst="homePlat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121920" tIns="60960" rIns="121920" bIns="6096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a:ln>
                  <a:noFill/>
                </a:ln>
                <a:solidFill>
                  <a:srgbClr val="FFFFFF"/>
                </a:solidFill>
                <a:effectLst/>
                <a:uLnTx/>
                <a:uFillTx/>
                <a:latin typeface="Arial" panose="020B0604020202020204"/>
                <a:ea typeface="+mn-ea"/>
                <a:cs typeface="Arial"/>
              </a:rPr>
              <a:t>Impact</a:t>
            </a:r>
            <a:endParaRPr kumimoji="0" lang="en-US" sz="1333"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C61CC855-3692-4964-BA3F-2E2ED1207846}"/>
              </a:ext>
            </a:extLst>
          </p:cNvPr>
          <p:cNvGrpSpPr/>
          <p:nvPr/>
        </p:nvGrpSpPr>
        <p:grpSpPr>
          <a:xfrm>
            <a:off x="9037675" y="1254641"/>
            <a:ext cx="2803578" cy="4742121"/>
            <a:chOff x="9037675" y="1254642"/>
            <a:chExt cx="2803578" cy="4635798"/>
          </a:xfrm>
        </p:grpSpPr>
        <p:grpSp>
          <p:nvGrpSpPr>
            <p:cNvPr id="19" name="Group 18">
              <a:extLst>
                <a:ext uri="{FF2B5EF4-FFF2-40B4-BE49-F238E27FC236}">
                  <a16:creationId xmlns:a16="http://schemas.microsoft.com/office/drawing/2014/main" id="{62D9E902-6A04-418E-9831-50C4BD631156}"/>
                </a:ext>
              </a:extLst>
            </p:cNvPr>
            <p:cNvGrpSpPr/>
            <p:nvPr/>
          </p:nvGrpSpPr>
          <p:grpSpPr>
            <a:xfrm rot="10800000">
              <a:off x="9037675" y="1254642"/>
              <a:ext cx="2784652" cy="524816"/>
              <a:chOff x="1198483" y="1322771"/>
              <a:chExt cx="2620395" cy="914400"/>
            </a:xfrm>
            <a:solidFill>
              <a:schemeClr val="accent1"/>
            </a:solidFill>
          </p:grpSpPr>
          <p:sp>
            <p:nvSpPr>
              <p:cNvPr id="22" name="Rounded Rectangle 2">
                <a:extLst>
                  <a:ext uri="{FF2B5EF4-FFF2-40B4-BE49-F238E27FC236}">
                    <a16:creationId xmlns:a16="http://schemas.microsoft.com/office/drawing/2014/main" id="{BD1E3DA3-4B13-41C4-900F-1A00BAF80369}"/>
                  </a:ext>
                </a:extLst>
              </p:cNvPr>
              <p:cNvSpPr/>
              <p:nvPr/>
            </p:nvSpPr>
            <p:spPr>
              <a:xfrm>
                <a:off x="1253231" y="1322771"/>
                <a:ext cx="2565647" cy="914400"/>
              </a:xfrm>
              <a:prstGeom prst="roundRect">
                <a:avLst>
                  <a:gd name="adj" fmla="val 50000"/>
                </a:avLst>
              </a:prstGeom>
              <a:solidFill>
                <a:srgbClr val="009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A05FBF85-9AF4-4C57-861B-9D1D10ADF313}"/>
                  </a:ext>
                </a:extLst>
              </p:cNvPr>
              <p:cNvSpPr/>
              <p:nvPr/>
            </p:nvSpPr>
            <p:spPr>
              <a:xfrm rot="10800000">
                <a:off x="1198483" y="1322771"/>
                <a:ext cx="2174821" cy="914400"/>
              </a:xfrm>
              <a:prstGeom prst="rect">
                <a:avLst/>
              </a:prstGeom>
              <a:solidFill>
                <a:srgbClr val="009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mn-cs"/>
                  </a:rPr>
                  <a:t>Security Program Management</a:t>
                </a:r>
              </a:p>
            </p:txBody>
          </p:sp>
        </p:grpSp>
        <p:sp>
          <p:nvSpPr>
            <p:cNvPr id="25" name="Oval 24">
              <a:extLst>
                <a:ext uri="{FF2B5EF4-FFF2-40B4-BE49-F238E27FC236}">
                  <a16:creationId xmlns:a16="http://schemas.microsoft.com/office/drawing/2014/main" id="{291D7BD2-A45C-4070-97FE-CFEBC97CCE00}"/>
                </a:ext>
              </a:extLst>
            </p:cNvPr>
            <p:cNvSpPr/>
            <p:nvPr/>
          </p:nvSpPr>
          <p:spPr>
            <a:xfrm>
              <a:off x="9098334" y="1286542"/>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27" name="Group 26">
              <a:extLst>
                <a:ext uri="{FF2B5EF4-FFF2-40B4-BE49-F238E27FC236}">
                  <a16:creationId xmlns:a16="http://schemas.microsoft.com/office/drawing/2014/main" id="{6A1EABE9-3264-43EE-AC5D-DAC13E5C013C}"/>
                </a:ext>
              </a:extLst>
            </p:cNvPr>
            <p:cNvGrpSpPr/>
            <p:nvPr/>
          </p:nvGrpSpPr>
          <p:grpSpPr>
            <a:xfrm rot="10800000">
              <a:off x="9037675" y="1840002"/>
              <a:ext cx="2784652" cy="524816"/>
              <a:chOff x="1198483" y="1322771"/>
              <a:chExt cx="2620395" cy="914400"/>
            </a:xfrm>
            <a:solidFill>
              <a:schemeClr val="accent1"/>
            </a:solidFill>
          </p:grpSpPr>
          <p:sp>
            <p:nvSpPr>
              <p:cNvPr id="28" name="Rounded Rectangle 2">
                <a:extLst>
                  <a:ext uri="{FF2B5EF4-FFF2-40B4-BE49-F238E27FC236}">
                    <a16:creationId xmlns:a16="http://schemas.microsoft.com/office/drawing/2014/main" id="{49C088BA-4B26-4F01-BEDA-92290B2DEDB6}"/>
                  </a:ext>
                </a:extLst>
              </p:cNvPr>
              <p:cNvSpPr/>
              <p:nvPr/>
            </p:nvSpPr>
            <p:spPr>
              <a:xfrm>
                <a:off x="1253231" y="1322771"/>
                <a:ext cx="2565647" cy="914400"/>
              </a:xfrm>
              <a:prstGeom prst="roundRect">
                <a:avLst>
                  <a:gd name="adj" fmla="val 50000"/>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33A7A3DF-769D-481A-90F0-8093F97DD11E}"/>
                  </a:ext>
                </a:extLst>
              </p:cNvPr>
              <p:cNvSpPr/>
              <p:nvPr/>
            </p:nvSpPr>
            <p:spPr>
              <a:xfrm rot="10800000">
                <a:off x="1198483" y="1322771"/>
                <a:ext cx="2174821"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mn-cs"/>
                  </a:rPr>
                  <a:t>Risk and Compliance</a:t>
                </a:r>
              </a:p>
            </p:txBody>
          </p:sp>
        </p:grpSp>
        <p:grpSp>
          <p:nvGrpSpPr>
            <p:cNvPr id="32" name="Group 31">
              <a:extLst>
                <a:ext uri="{FF2B5EF4-FFF2-40B4-BE49-F238E27FC236}">
                  <a16:creationId xmlns:a16="http://schemas.microsoft.com/office/drawing/2014/main" id="{0B384FBA-21C6-476C-9ED7-EBC53A8A2599}"/>
                </a:ext>
              </a:extLst>
            </p:cNvPr>
            <p:cNvGrpSpPr/>
            <p:nvPr/>
          </p:nvGrpSpPr>
          <p:grpSpPr>
            <a:xfrm rot="10800000">
              <a:off x="9037675" y="2425360"/>
              <a:ext cx="2784652" cy="524816"/>
              <a:chOff x="1198483" y="1322771"/>
              <a:chExt cx="2620395" cy="914400"/>
            </a:xfrm>
            <a:solidFill>
              <a:srgbClr val="00A5E0"/>
            </a:solidFill>
          </p:grpSpPr>
          <p:sp>
            <p:nvSpPr>
              <p:cNvPr id="33" name="Rounded Rectangle 2">
                <a:extLst>
                  <a:ext uri="{FF2B5EF4-FFF2-40B4-BE49-F238E27FC236}">
                    <a16:creationId xmlns:a16="http://schemas.microsoft.com/office/drawing/2014/main" id="{61A3B551-6BDE-4160-AFB4-E723C73DE8D8}"/>
                  </a:ext>
                </a:extLst>
              </p:cNvPr>
              <p:cNvSpPr/>
              <p:nvPr/>
            </p:nvSpPr>
            <p:spPr>
              <a:xfrm>
                <a:off x="1253231" y="1322771"/>
                <a:ext cx="2565647" cy="914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5414EF09-3795-4A2B-AF44-8B0E54060EC9}"/>
                  </a:ext>
                </a:extLst>
              </p:cNvPr>
              <p:cNvSpPr/>
              <p:nvPr/>
            </p:nvSpPr>
            <p:spPr>
              <a:xfrm rot="10800000">
                <a:off x="1198483" y="1322771"/>
                <a:ext cx="2174821" cy="914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mn-cs"/>
                  </a:rPr>
                  <a:t>Security Architecture</a:t>
                </a:r>
              </a:p>
            </p:txBody>
          </p:sp>
        </p:grpSp>
        <p:grpSp>
          <p:nvGrpSpPr>
            <p:cNvPr id="37" name="Group 36">
              <a:extLst>
                <a:ext uri="{FF2B5EF4-FFF2-40B4-BE49-F238E27FC236}">
                  <a16:creationId xmlns:a16="http://schemas.microsoft.com/office/drawing/2014/main" id="{C0593C2F-BAB0-4A69-B18C-5AD9A8DF8A8B}"/>
                </a:ext>
              </a:extLst>
            </p:cNvPr>
            <p:cNvGrpSpPr/>
            <p:nvPr/>
          </p:nvGrpSpPr>
          <p:grpSpPr>
            <a:xfrm rot="10800000">
              <a:off x="9037675" y="3010719"/>
              <a:ext cx="2784652" cy="524816"/>
              <a:chOff x="1198483" y="1322771"/>
              <a:chExt cx="2620395" cy="914400"/>
            </a:xfrm>
            <a:solidFill>
              <a:srgbClr val="00A5E0"/>
            </a:solidFill>
          </p:grpSpPr>
          <p:sp>
            <p:nvSpPr>
              <p:cNvPr id="38" name="Rounded Rectangle 2">
                <a:extLst>
                  <a:ext uri="{FF2B5EF4-FFF2-40B4-BE49-F238E27FC236}">
                    <a16:creationId xmlns:a16="http://schemas.microsoft.com/office/drawing/2014/main" id="{EB215B13-1402-4E4C-8B7E-D83FA15B3BD5}"/>
                  </a:ext>
                </a:extLst>
              </p:cNvPr>
              <p:cNvSpPr/>
              <p:nvPr/>
            </p:nvSpPr>
            <p:spPr>
              <a:xfrm>
                <a:off x="1253231" y="1322771"/>
                <a:ext cx="2565647" cy="914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7673A910-3EAE-434A-B2C4-37000AD1D877}"/>
                  </a:ext>
                </a:extLst>
              </p:cNvPr>
              <p:cNvSpPr/>
              <p:nvPr/>
            </p:nvSpPr>
            <p:spPr>
              <a:xfrm rot="10800000">
                <a:off x="1198483" y="1322771"/>
                <a:ext cx="2174821" cy="914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mn-cs"/>
                  </a:rPr>
                  <a:t>Security Engineering &amp; Operations</a:t>
                </a:r>
              </a:p>
            </p:txBody>
          </p:sp>
        </p:grpSp>
        <p:grpSp>
          <p:nvGrpSpPr>
            <p:cNvPr id="82" name="Group 81">
              <a:extLst>
                <a:ext uri="{FF2B5EF4-FFF2-40B4-BE49-F238E27FC236}">
                  <a16:creationId xmlns:a16="http://schemas.microsoft.com/office/drawing/2014/main" id="{3DF0AFC9-AC18-4167-8B47-A97AD62FC2BC}"/>
                </a:ext>
              </a:extLst>
            </p:cNvPr>
            <p:cNvGrpSpPr/>
            <p:nvPr/>
          </p:nvGrpSpPr>
          <p:grpSpPr>
            <a:xfrm rot="10800000">
              <a:off x="9056601" y="3609546"/>
              <a:ext cx="2784652" cy="524816"/>
              <a:chOff x="1198483" y="1322771"/>
              <a:chExt cx="2620395" cy="914400"/>
            </a:xfrm>
            <a:solidFill>
              <a:schemeClr val="bg1">
                <a:lumMod val="85000"/>
              </a:schemeClr>
            </a:solidFill>
          </p:grpSpPr>
          <p:sp>
            <p:nvSpPr>
              <p:cNvPr id="83" name="Rounded Rectangle 2">
                <a:extLst>
                  <a:ext uri="{FF2B5EF4-FFF2-40B4-BE49-F238E27FC236}">
                    <a16:creationId xmlns:a16="http://schemas.microsoft.com/office/drawing/2014/main" id="{F4DFCA6F-780B-4E00-BB05-421A8AA11C9C}"/>
                  </a:ext>
                </a:extLst>
              </p:cNvPr>
              <p:cNvSpPr/>
              <p:nvPr/>
            </p:nvSpPr>
            <p:spPr>
              <a:xfrm>
                <a:off x="1253231" y="1322771"/>
                <a:ext cx="2565647" cy="914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4" name="Rectangle 83">
                <a:extLst>
                  <a:ext uri="{FF2B5EF4-FFF2-40B4-BE49-F238E27FC236}">
                    <a16:creationId xmlns:a16="http://schemas.microsoft.com/office/drawing/2014/main" id="{102EAC7C-7525-4AF2-A9AB-AA061CE8212D}"/>
                  </a:ext>
                </a:extLst>
              </p:cNvPr>
              <p:cNvSpPr/>
              <p:nvPr/>
            </p:nvSpPr>
            <p:spPr>
              <a:xfrm rot="10800000">
                <a:off x="1198483" y="1322771"/>
                <a:ext cx="2174821" cy="914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mn-cs"/>
                  </a:rPr>
                  <a:t>Information Protection</a:t>
                </a:r>
              </a:p>
            </p:txBody>
          </p:sp>
        </p:grpSp>
        <p:grpSp>
          <p:nvGrpSpPr>
            <p:cNvPr id="87" name="Group 86">
              <a:extLst>
                <a:ext uri="{FF2B5EF4-FFF2-40B4-BE49-F238E27FC236}">
                  <a16:creationId xmlns:a16="http://schemas.microsoft.com/office/drawing/2014/main" id="{FF81CED3-1A95-4759-AA7B-8E4D01DD1B04}"/>
                </a:ext>
              </a:extLst>
            </p:cNvPr>
            <p:cNvGrpSpPr/>
            <p:nvPr/>
          </p:nvGrpSpPr>
          <p:grpSpPr>
            <a:xfrm rot="10800000">
              <a:off x="9056601" y="4194906"/>
              <a:ext cx="2784652" cy="524816"/>
              <a:chOff x="1198483" y="1322771"/>
              <a:chExt cx="2620395" cy="914400"/>
            </a:xfrm>
            <a:solidFill>
              <a:schemeClr val="bg1">
                <a:lumMod val="85000"/>
              </a:schemeClr>
            </a:solidFill>
          </p:grpSpPr>
          <p:sp>
            <p:nvSpPr>
              <p:cNvPr id="88" name="Rounded Rectangle 2">
                <a:extLst>
                  <a:ext uri="{FF2B5EF4-FFF2-40B4-BE49-F238E27FC236}">
                    <a16:creationId xmlns:a16="http://schemas.microsoft.com/office/drawing/2014/main" id="{06769899-F57E-4AC0-80C8-B9F9F7B59E86}"/>
                  </a:ext>
                </a:extLst>
              </p:cNvPr>
              <p:cNvSpPr/>
              <p:nvPr/>
            </p:nvSpPr>
            <p:spPr>
              <a:xfrm>
                <a:off x="1253231" y="1322771"/>
                <a:ext cx="2565647" cy="9144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9" name="Rectangle 88">
                <a:extLst>
                  <a:ext uri="{FF2B5EF4-FFF2-40B4-BE49-F238E27FC236}">
                    <a16:creationId xmlns:a16="http://schemas.microsoft.com/office/drawing/2014/main" id="{305F4FD9-22FD-442D-BE4A-CF5F7006CCFC}"/>
                  </a:ext>
                </a:extLst>
              </p:cNvPr>
              <p:cNvSpPr/>
              <p:nvPr/>
            </p:nvSpPr>
            <p:spPr>
              <a:xfrm rot="10800000">
                <a:off x="1198483" y="1322771"/>
                <a:ext cx="2174821"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mn-cs"/>
                  </a:rPr>
                  <a:t>Identity and Access</a:t>
                </a:r>
              </a:p>
            </p:txBody>
          </p:sp>
        </p:grpSp>
        <p:grpSp>
          <p:nvGrpSpPr>
            <p:cNvPr id="92" name="Group 91">
              <a:extLst>
                <a:ext uri="{FF2B5EF4-FFF2-40B4-BE49-F238E27FC236}">
                  <a16:creationId xmlns:a16="http://schemas.microsoft.com/office/drawing/2014/main" id="{AC674C4E-E6FC-47E9-B885-96D745DB9A29}"/>
                </a:ext>
              </a:extLst>
            </p:cNvPr>
            <p:cNvGrpSpPr/>
            <p:nvPr/>
          </p:nvGrpSpPr>
          <p:grpSpPr>
            <a:xfrm rot="10800000">
              <a:off x="9056601" y="4780264"/>
              <a:ext cx="2784652" cy="524816"/>
              <a:chOff x="1198483" y="1322771"/>
              <a:chExt cx="2620395" cy="914400"/>
            </a:xfrm>
            <a:solidFill>
              <a:srgbClr val="00A5E0"/>
            </a:solidFill>
          </p:grpSpPr>
          <p:sp>
            <p:nvSpPr>
              <p:cNvPr id="93" name="Rounded Rectangle 2">
                <a:extLst>
                  <a:ext uri="{FF2B5EF4-FFF2-40B4-BE49-F238E27FC236}">
                    <a16:creationId xmlns:a16="http://schemas.microsoft.com/office/drawing/2014/main" id="{113D3B1C-9C5D-4C12-87DF-65908030ED61}"/>
                  </a:ext>
                </a:extLst>
              </p:cNvPr>
              <p:cNvSpPr/>
              <p:nvPr/>
            </p:nvSpPr>
            <p:spPr>
              <a:xfrm>
                <a:off x="1253231" y="1322771"/>
                <a:ext cx="2565647" cy="914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4" name="Rectangle 93">
                <a:extLst>
                  <a:ext uri="{FF2B5EF4-FFF2-40B4-BE49-F238E27FC236}">
                    <a16:creationId xmlns:a16="http://schemas.microsoft.com/office/drawing/2014/main" id="{E51EA666-51AC-4302-B283-D229ABD10FFD}"/>
                  </a:ext>
                </a:extLst>
              </p:cNvPr>
              <p:cNvSpPr/>
              <p:nvPr/>
            </p:nvSpPr>
            <p:spPr>
              <a:xfrm rot="10800000">
                <a:off x="1198483" y="1322771"/>
                <a:ext cx="2174821" cy="914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mn-cs"/>
                  </a:rPr>
                  <a:t>Security Monitoring and Response</a:t>
                </a:r>
              </a:p>
            </p:txBody>
          </p:sp>
        </p:grpSp>
        <p:grpSp>
          <p:nvGrpSpPr>
            <p:cNvPr id="97" name="Group 96">
              <a:extLst>
                <a:ext uri="{FF2B5EF4-FFF2-40B4-BE49-F238E27FC236}">
                  <a16:creationId xmlns:a16="http://schemas.microsoft.com/office/drawing/2014/main" id="{1C62D1B9-AFB2-4852-957A-53C8EFDCD956}"/>
                </a:ext>
              </a:extLst>
            </p:cNvPr>
            <p:cNvGrpSpPr/>
            <p:nvPr/>
          </p:nvGrpSpPr>
          <p:grpSpPr>
            <a:xfrm rot="10800000">
              <a:off x="9056601" y="5365624"/>
              <a:ext cx="2784652" cy="524816"/>
              <a:chOff x="1198483" y="1322771"/>
              <a:chExt cx="2620395" cy="914400"/>
            </a:xfrm>
            <a:solidFill>
              <a:srgbClr val="00A5E0"/>
            </a:solidFill>
          </p:grpSpPr>
          <p:sp>
            <p:nvSpPr>
              <p:cNvPr id="98" name="Rounded Rectangle 2">
                <a:extLst>
                  <a:ext uri="{FF2B5EF4-FFF2-40B4-BE49-F238E27FC236}">
                    <a16:creationId xmlns:a16="http://schemas.microsoft.com/office/drawing/2014/main" id="{0BDC23EA-FEE4-483A-833E-447FF7F671B4}"/>
                  </a:ext>
                </a:extLst>
              </p:cNvPr>
              <p:cNvSpPr/>
              <p:nvPr/>
            </p:nvSpPr>
            <p:spPr>
              <a:xfrm>
                <a:off x="1253231" y="1322771"/>
                <a:ext cx="2565647" cy="914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9" name="Rectangle 98">
                <a:extLst>
                  <a:ext uri="{FF2B5EF4-FFF2-40B4-BE49-F238E27FC236}">
                    <a16:creationId xmlns:a16="http://schemas.microsoft.com/office/drawing/2014/main" id="{A3E601F0-D973-47E9-8447-1F1D5777601C}"/>
                  </a:ext>
                </a:extLst>
              </p:cNvPr>
              <p:cNvSpPr/>
              <p:nvPr/>
            </p:nvSpPr>
            <p:spPr>
              <a:xfrm rot="10800000">
                <a:off x="1198483" y="1322771"/>
                <a:ext cx="2174821" cy="914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mn-cs"/>
                  </a:rPr>
                  <a:t>Cyber Resiliency</a:t>
                </a:r>
              </a:p>
            </p:txBody>
          </p:sp>
        </p:grpSp>
        <p:pic>
          <p:nvPicPr>
            <p:cNvPr id="102" name="Picture 101">
              <a:extLst>
                <a:ext uri="{FF2B5EF4-FFF2-40B4-BE49-F238E27FC236}">
                  <a16:creationId xmlns:a16="http://schemas.microsoft.com/office/drawing/2014/main" id="{B05EDE73-164C-4D21-AF76-F94BDE6FB49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2411" t="9910" r="78969" b="76938"/>
            <a:stretch/>
          </p:blipFill>
          <p:spPr>
            <a:xfrm>
              <a:off x="9181059" y="1366717"/>
              <a:ext cx="301323" cy="321745"/>
            </a:xfrm>
            <a:prstGeom prst="rect">
              <a:avLst/>
            </a:prstGeom>
          </p:spPr>
        </p:pic>
        <p:sp>
          <p:nvSpPr>
            <p:cNvPr id="103" name="Oval 102">
              <a:extLst>
                <a:ext uri="{FF2B5EF4-FFF2-40B4-BE49-F238E27FC236}">
                  <a16:creationId xmlns:a16="http://schemas.microsoft.com/office/drawing/2014/main" id="{2C5803C8-4B19-402B-B86F-806B9D9D22AC}"/>
                </a:ext>
              </a:extLst>
            </p:cNvPr>
            <p:cNvSpPr/>
            <p:nvPr/>
          </p:nvSpPr>
          <p:spPr>
            <a:xfrm>
              <a:off x="9098334" y="1885525"/>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5" name="Oval 104">
              <a:extLst>
                <a:ext uri="{FF2B5EF4-FFF2-40B4-BE49-F238E27FC236}">
                  <a16:creationId xmlns:a16="http://schemas.microsoft.com/office/drawing/2014/main" id="{512DE8E8-309F-454C-A47D-3429B6691AF2}"/>
                </a:ext>
              </a:extLst>
            </p:cNvPr>
            <p:cNvSpPr/>
            <p:nvPr/>
          </p:nvSpPr>
          <p:spPr>
            <a:xfrm>
              <a:off x="9102694" y="2459090"/>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7" name="Oval 106">
              <a:extLst>
                <a:ext uri="{FF2B5EF4-FFF2-40B4-BE49-F238E27FC236}">
                  <a16:creationId xmlns:a16="http://schemas.microsoft.com/office/drawing/2014/main" id="{BAC786B4-2C21-4D2B-8727-19207F2E2154}"/>
                </a:ext>
              </a:extLst>
            </p:cNvPr>
            <p:cNvSpPr/>
            <p:nvPr/>
          </p:nvSpPr>
          <p:spPr>
            <a:xfrm>
              <a:off x="9102694" y="3058073"/>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9" name="Oval 108">
              <a:extLst>
                <a:ext uri="{FF2B5EF4-FFF2-40B4-BE49-F238E27FC236}">
                  <a16:creationId xmlns:a16="http://schemas.microsoft.com/office/drawing/2014/main" id="{8AF295CE-DA8A-4E8A-A363-E5EEBBB7464B}"/>
                </a:ext>
              </a:extLst>
            </p:cNvPr>
            <p:cNvSpPr/>
            <p:nvPr/>
          </p:nvSpPr>
          <p:spPr>
            <a:xfrm>
              <a:off x="9108967" y="3637905"/>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1" name="Oval 110">
              <a:extLst>
                <a:ext uri="{FF2B5EF4-FFF2-40B4-BE49-F238E27FC236}">
                  <a16:creationId xmlns:a16="http://schemas.microsoft.com/office/drawing/2014/main" id="{A151DEC3-385D-4D03-826D-730AF652E011}"/>
                </a:ext>
              </a:extLst>
            </p:cNvPr>
            <p:cNvSpPr/>
            <p:nvPr/>
          </p:nvSpPr>
          <p:spPr>
            <a:xfrm>
              <a:off x="9108967" y="4236888"/>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4" name="Oval 113">
              <a:extLst>
                <a:ext uri="{FF2B5EF4-FFF2-40B4-BE49-F238E27FC236}">
                  <a16:creationId xmlns:a16="http://schemas.microsoft.com/office/drawing/2014/main" id="{EECD6455-451F-47A3-83FC-DD48BBF52E74}"/>
                </a:ext>
              </a:extLst>
            </p:cNvPr>
            <p:cNvSpPr/>
            <p:nvPr/>
          </p:nvSpPr>
          <p:spPr>
            <a:xfrm>
              <a:off x="9113327" y="4810453"/>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6" name="Oval 115">
              <a:extLst>
                <a:ext uri="{FF2B5EF4-FFF2-40B4-BE49-F238E27FC236}">
                  <a16:creationId xmlns:a16="http://schemas.microsoft.com/office/drawing/2014/main" id="{C5BDA9C7-1A85-4EEB-B0B4-30D7912C4673}"/>
                </a:ext>
              </a:extLst>
            </p:cNvPr>
            <p:cNvSpPr/>
            <p:nvPr/>
          </p:nvSpPr>
          <p:spPr>
            <a:xfrm>
              <a:off x="9113327" y="5409436"/>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18" name="Picture 117">
              <a:extLst>
                <a:ext uri="{FF2B5EF4-FFF2-40B4-BE49-F238E27FC236}">
                  <a16:creationId xmlns:a16="http://schemas.microsoft.com/office/drawing/2014/main" id="{2A4C2BF2-F1B3-459C-91CE-B71D6F6542C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675" t="30702" r="91503" b="52508"/>
            <a:stretch/>
          </p:blipFill>
          <p:spPr>
            <a:xfrm>
              <a:off x="9248564" y="1925419"/>
              <a:ext cx="154857" cy="377411"/>
            </a:xfrm>
            <a:prstGeom prst="rect">
              <a:avLst/>
            </a:prstGeom>
          </p:spPr>
        </p:pic>
        <p:pic>
          <p:nvPicPr>
            <p:cNvPr id="131" name="Picture 130">
              <a:extLst>
                <a:ext uri="{FF2B5EF4-FFF2-40B4-BE49-F238E27FC236}">
                  <a16:creationId xmlns:a16="http://schemas.microsoft.com/office/drawing/2014/main" id="{B10037EB-3F52-4FE9-9B43-B17F99C73AD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166" t="55744" r="87151" b="30552"/>
            <a:stretch/>
          </p:blipFill>
          <p:spPr>
            <a:xfrm>
              <a:off x="9167291" y="2549592"/>
              <a:ext cx="315091" cy="258659"/>
            </a:xfrm>
            <a:prstGeom prst="rect">
              <a:avLst/>
            </a:prstGeom>
          </p:spPr>
        </p:pic>
        <p:pic>
          <p:nvPicPr>
            <p:cNvPr id="132" name="Picture 131">
              <a:extLst>
                <a:ext uri="{FF2B5EF4-FFF2-40B4-BE49-F238E27FC236}">
                  <a16:creationId xmlns:a16="http://schemas.microsoft.com/office/drawing/2014/main" id="{80C4A820-B2AD-4293-985A-A0DA90E970B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5544" t="75844" r="84962" b="9926"/>
            <a:stretch/>
          </p:blipFill>
          <p:spPr>
            <a:xfrm>
              <a:off x="9175925" y="3157820"/>
              <a:ext cx="276420" cy="289960"/>
            </a:xfrm>
            <a:prstGeom prst="rect">
              <a:avLst/>
            </a:prstGeom>
          </p:spPr>
        </p:pic>
        <p:pic>
          <p:nvPicPr>
            <p:cNvPr id="133" name="Picture 132">
              <a:extLst>
                <a:ext uri="{FF2B5EF4-FFF2-40B4-BE49-F238E27FC236}">
                  <a16:creationId xmlns:a16="http://schemas.microsoft.com/office/drawing/2014/main" id="{0D4B1F64-FD85-4C95-A0AC-C58C3FABEA87}"/>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76404" t="75248" r="12277" b="9926"/>
            <a:stretch/>
          </p:blipFill>
          <p:spPr>
            <a:xfrm>
              <a:off x="9186558" y="3718830"/>
              <a:ext cx="306633" cy="290299"/>
            </a:xfrm>
            <a:prstGeom prst="rect">
              <a:avLst/>
            </a:prstGeom>
          </p:spPr>
        </p:pic>
        <p:pic>
          <p:nvPicPr>
            <p:cNvPr id="134" name="Picture 133">
              <a:extLst>
                <a:ext uri="{FF2B5EF4-FFF2-40B4-BE49-F238E27FC236}">
                  <a16:creationId xmlns:a16="http://schemas.microsoft.com/office/drawing/2014/main" id="{379395E8-F44C-4BA5-AB55-A07F042E2A75}"/>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87723" t="53682" r="3757" b="31596"/>
            <a:stretch/>
          </p:blipFill>
          <p:spPr>
            <a:xfrm>
              <a:off x="9207824" y="4298046"/>
              <a:ext cx="270506" cy="327117"/>
            </a:xfrm>
            <a:prstGeom prst="rect">
              <a:avLst/>
            </a:prstGeom>
          </p:spPr>
        </p:pic>
        <p:pic>
          <p:nvPicPr>
            <p:cNvPr id="137" name="Picture 136">
              <a:extLst>
                <a:ext uri="{FF2B5EF4-FFF2-40B4-BE49-F238E27FC236}">
                  <a16:creationId xmlns:a16="http://schemas.microsoft.com/office/drawing/2014/main" id="{7BB19BBF-7E4C-48A4-93CF-D0B28D06472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H="1">
              <a:off x="9154668" y="4857654"/>
              <a:ext cx="353251" cy="353251"/>
            </a:xfrm>
            <a:prstGeom prst="rect">
              <a:avLst/>
            </a:prstGeom>
          </p:spPr>
        </p:pic>
        <p:pic>
          <p:nvPicPr>
            <p:cNvPr id="138" name="Picture 137">
              <a:extLst>
                <a:ext uri="{FF2B5EF4-FFF2-40B4-BE49-F238E27FC236}">
                  <a16:creationId xmlns:a16="http://schemas.microsoft.com/office/drawing/2014/main" id="{BA353549-C217-4EC6-A668-B23F478941E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175034" y="5467643"/>
              <a:ext cx="332885" cy="331455"/>
            </a:xfrm>
            <a:prstGeom prst="rect">
              <a:avLst/>
            </a:prstGeom>
          </p:spPr>
        </p:pic>
      </p:grpSp>
      <p:sp>
        <p:nvSpPr>
          <p:cNvPr id="3" name="Title 4">
            <a:extLst>
              <a:ext uri="{FF2B5EF4-FFF2-40B4-BE49-F238E27FC236}">
                <a16:creationId xmlns:a16="http://schemas.microsoft.com/office/drawing/2014/main" id="{F50C6E34-033E-262B-4F8D-323B29D5DD69}"/>
              </a:ext>
            </a:extLst>
          </p:cNvPr>
          <p:cNvSpPr txBox="1">
            <a:spLocks/>
          </p:cNvSpPr>
          <p:nvPr/>
        </p:nvSpPr>
        <p:spPr>
          <a:xfrm>
            <a:off x="355311" y="367221"/>
            <a:ext cx="10621792" cy="430887"/>
          </a:xfrm>
          <a:prstGeom prst="rect">
            <a:avLst/>
          </a:prstGeom>
        </p:spPr>
        <p:txBody>
          <a:bodyPr/>
          <a:lstStyle>
            <a:lvl1pPr algn="l" defTabSz="914400" rtl="0" eaLnBrk="1" latinLnBrk="0" hangingPunct="1">
              <a:lnSpc>
                <a:spcPct val="100000"/>
              </a:lnSpc>
              <a:spcBef>
                <a:spcPct val="0"/>
              </a:spcBef>
              <a:buNone/>
              <a:defRPr sz="3600" b="0" kern="1200" cap="none" baseline="0">
                <a:solidFill>
                  <a:srgbClr val="009CDE"/>
                </a:solidFill>
                <a:latin typeface="+mj-lt"/>
                <a:ea typeface="+mj-ea"/>
                <a:cs typeface="+mj-cs"/>
              </a:defRPr>
            </a:lvl1pPr>
          </a:lstStyle>
          <a:p>
            <a:r>
              <a:rPr lang="en-US"/>
              <a:t>A Client Case Study</a:t>
            </a:r>
            <a:endParaRPr lang="en-US" dirty="0"/>
          </a:p>
        </p:txBody>
      </p:sp>
    </p:spTree>
    <p:custDataLst>
      <p:tags r:id="rId1"/>
    </p:custDataLst>
    <p:extLst>
      <p:ext uri="{BB962C8B-B14F-4D97-AF65-F5344CB8AC3E}">
        <p14:creationId xmlns:p14="http://schemas.microsoft.com/office/powerpoint/2010/main" val="27966370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pyrightWhite">
            <a:extLst>
              <a:ext uri="{FF2B5EF4-FFF2-40B4-BE49-F238E27FC236}">
                <a16:creationId xmlns:a16="http://schemas.microsoft.com/office/drawing/2014/main" id="{4C4CA0CC-767A-4BCF-A8B3-B99AE6EC8846}"/>
              </a:ext>
            </a:extLst>
          </p:cNvPr>
          <p:cNvSpPr txBox="1">
            <a:spLocks/>
          </p:cNvSpPr>
          <p:nvPr>
            <p:custDataLst>
              <p:tags r:id="rId2"/>
            </p:custDataLst>
          </p:nvPr>
        </p:nvSpPr>
        <p:spPr bwMode="auto">
          <a:xfrm>
            <a:off x="785814" y="6094121"/>
            <a:ext cx="6120000" cy="150362"/>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rtl="0"/>
            <a:r>
              <a:rPr lang="en-US" sz="1000" b="0" i="0" u="none" strike="noStrike" kern="1200" baseline="0">
                <a:solidFill>
                  <a:srgbClr val="FFFFFF"/>
                </a:solidFill>
                <a:latin typeface="Arial" panose="020B0604020202020204" pitchFamily="34" charset="0"/>
              </a:rPr>
              <a:t>© 2024 RSM US LLP. All Rights Reserved.</a:t>
            </a:r>
          </a:p>
        </p:txBody>
      </p:sp>
      <p:sp>
        <p:nvSpPr>
          <p:cNvPr id="6" name="DisclaimerWhite">
            <a:extLst>
              <a:ext uri="{FF2B5EF4-FFF2-40B4-BE49-F238E27FC236}">
                <a16:creationId xmlns:a16="http://schemas.microsoft.com/office/drawing/2014/main" id="{D95423E0-2085-907D-8CB8-F41DEC5DE016}"/>
              </a:ext>
            </a:extLst>
          </p:cNvPr>
          <p:cNvSpPr txBox="1">
            <a:spLocks/>
          </p:cNvSpPr>
          <p:nvPr>
            <p:custDataLst>
              <p:tags r:id="rId3"/>
            </p:custDataLst>
          </p:nvPr>
        </p:nvSpPr>
        <p:spPr bwMode="auto">
          <a:xfrm>
            <a:off x="785814" y="4424506"/>
            <a:ext cx="10134663" cy="1669615"/>
          </a:xfrm>
          <a:prstGeom prst="rect">
            <a:avLst/>
          </a:prstGeom>
          <a:noFill/>
          <a:ln w="9525" algn="ctr">
            <a:noFill/>
            <a:miter lim="800000"/>
            <a:headEnd/>
            <a:tailEnd/>
          </a:ln>
          <a:effectLst/>
        </p:spPr>
        <p:txBody>
          <a:bodyPr vert="horz" wrap="square" lIns="0" tIns="0" rIns="0" bIns="7200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rtl="0"/>
            <a:r>
              <a:rPr lang="en-US" sz="1000" b="0" i="0" u="none" strike="noStrike" kern="1200" baseline="0">
                <a:solidFill>
                  <a:srgbClr val="FFFFFF"/>
                </a:solidFill>
                <a:latin typeface="Arial" panose="020B0604020202020204" pitchFamily="34" charset="0"/>
              </a:rPr>
              <a:t>This document contains general information, may be based on authorities that are subject to change, and is not a substitute for professional advice or services. This document does not constitute audit, tax, consulting, business, financial, investment, legal or other professional advice, and you should consult a qualified professional advisor before taking any action based on the information herein. RSM US LLP, its affiliates and related entities are not responsible for any loss resulting from or relating to reliance on this document by any person. Internal Revenue Service rules require us to inform you that this communication may be deemed a solicitation to provide tax services. This communication is being sent to individuals who have subscribed to receive it or who we believe would have an interest in the topics discussed.
RSM US LLP is a limited liability partnership and the U.S. member firm of RSM International, a global network of independent audit, tax and consulting firms. The member firms of RSM International collaborate to provide services to global clients, but are separate and distinct legal entities that cannot obligate each other. Each member firm is responsible only for its own acts and omissions, and not those of any other party. Visit rsmus.com/aboutus for more information regarding RSM US LLP and RSM International.</a:t>
            </a:r>
          </a:p>
          <a:p>
            <a:pPr rtl="0"/>
            <a:r>
              <a:rPr lang="en-US" sz="1000" b="0" i="0" u="none" strike="noStrike" kern="1200" baseline="0">
                <a:solidFill>
                  <a:srgbClr val="FFFFFF"/>
                </a:solidFill>
                <a:latin typeface="Arial" panose="020B0604020202020204" pitchFamily="34" charset="0"/>
              </a:rPr>
              <a:t>RSM, the RSM logo and The power of being understood are registered trademarks of RSM International Association, used under license.  </a:t>
            </a:r>
          </a:p>
        </p:txBody>
      </p:sp>
      <p:sp>
        <p:nvSpPr>
          <p:cNvPr id="2" name="PoBU">
            <a:extLst>
              <a:ext uri="{FF2B5EF4-FFF2-40B4-BE49-F238E27FC236}">
                <a16:creationId xmlns:a16="http://schemas.microsoft.com/office/drawing/2014/main" id="{BF3D2909-6CDE-D28D-A0E8-7C018CBBFFF9}"/>
              </a:ext>
            </a:extLst>
          </p:cNvPr>
          <p:cNvSpPr txBox="1">
            <a:spLocks/>
          </p:cNvSpPr>
          <p:nvPr>
            <p:custDataLst>
              <p:tags r:id="rId4"/>
            </p:custDataLst>
          </p:nvPr>
        </p:nvSpPr>
        <p:spPr>
          <a:xfrm>
            <a:off x="785813" y="718802"/>
            <a:ext cx="2264400" cy="273600"/>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spcCol="180000" rtlCol="0">
            <a:noAutofit/>
          </a:bodyPr>
          <a:lstStyle>
            <a:lvl1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18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54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0" indent="0" algn="l" defTabSz="914400" rtl="0" eaLnBrk="1" latinLnBrk="0" hangingPunct="1">
              <a:lnSpc>
                <a:spcPct val="100000"/>
              </a:lnSpc>
              <a:spcBef>
                <a:spcPts val="600"/>
              </a:spcBef>
              <a:buFontTx/>
              <a:buNone/>
              <a:defRPr sz="3600" kern="1200">
                <a:solidFill>
                  <a:schemeClr val="accent1"/>
                </a:solidFill>
                <a:latin typeface="+mn-lt"/>
                <a:ea typeface="+mn-ea"/>
                <a:cs typeface="+mn-cs"/>
              </a:defRPr>
            </a:lvl6pPr>
            <a:lvl7pPr marL="0" indent="0" algn="l" defTabSz="914400" rtl="0" eaLnBrk="1" latinLnBrk="0" hangingPunct="1">
              <a:lnSpc>
                <a:spcPct val="100000"/>
              </a:lnSpc>
              <a:spcBef>
                <a:spcPts val="600"/>
              </a:spcBef>
              <a:buFontTx/>
              <a:buNone/>
              <a:defRPr sz="2000" kern="1200">
                <a:solidFill>
                  <a:schemeClr val="tx2"/>
                </a:solidFill>
                <a:latin typeface="+mn-lt"/>
                <a:ea typeface="+mn-ea"/>
                <a:cs typeface="+mn-cs"/>
              </a:defRPr>
            </a:lvl7pPr>
            <a:lvl8pPr marL="0" indent="0" algn="l" defTabSz="914400" rtl="0" eaLnBrk="1" latinLnBrk="0" hangingPunct="1">
              <a:lnSpc>
                <a:spcPct val="100000"/>
              </a:lnSpc>
              <a:spcBef>
                <a:spcPts val="600"/>
              </a:spcBef>
              <a:buFontTx/>
              <a:buNone/>
              <a:defRPr sz="2000" b="1" kern="1200">
                <a:solidFill>
                  <a:schemeClr val="accent2"/>
                </a:solidFill>
                <a:latin typeface="+mn-lt"/>
                <a:ea typeface="+mn-ea"/>
                <a:cs typeface="+mn-cs"/>
              </a:defRPr>
            </a:lvl8pPr>
            <a:lvl9pPr marL="0" indent="0" algn="l" defTabSz="914400" rtl="0" eaLnBrk="1" latinLnBrk="0" hangingPunct="1">
              <a:lnSpc>
                <a:spcPct val="100000"/>
              </a:lnSpc>
              <a:spcBef>
                <a:spcPts val="600"/>
              </a:spcBef>
              <a:buFontTx/>
              <a:buNone/>
              <a:defRPr sz="2000" kern="1200">
                <a:solidFill>
                  <a:schemeClr val="accent2"/>
                </a:solidFill>
                <a:latin typeface="+mn-lt"/>
                <a:ea typeface="+mn-ea"/>
                <a:cs typeface="+mn-cs"/>
              </a:defRPr>
            </a:lvl9pPr>
          </a:lstStyle>
          <a:p>
            <a:endParaRPr lang="en-GB" dirty="0"/>
          </a:p>
        </p:txBody>
      </p:sp>
      <p:sp>
        <p:nvSpPr>
          <p:cNvPr id="3" name="OfficeAddress" hidden="1">
            <a:extLst>
              <a:ext uri="{FF2B5EF4-FFF2-40B4-BE49-F238E27FC236}">
                <a16:creationId xmlns:a16="http://schemas.microsoft.com/office/drawing/2014/main" id="{A0BEC300-C428-B77A-BD9A-4CF75DFE9FCE}"/>
              </a:ext>
            </a:extLst>
          </p:cNvPr>
          <p:cNvSpPr txBox="1">
            <a:spLocks/>
          </p:cNvSpPr>
          <p:nvPr>
            <p:custDataLst>
              <p:tags r:id="rId5"/>
            </p:custDataLst>
          </p:nvPr>
        </p:nvSpPr>
        <p:spPr bwMode="auto">
          <a:xfrm>
            <a:off x="12707875" y="-1171951"/>
            <a:ext cx="360000" cy="2620195"/>
          </a:xfrm>
          <a:prstGeom prst="rect">
            <a:avLst/>
          </a:prstGeom>
          <a:noFill/>
          <a:ln w="9525" algn="ctr">
            <a:noFill/>
            <a:miter lim="800000"/>
            <a:headEnd/>
            <a:tailEnd/>
          </a:ln>
          <a:effectLst/>
        </p:spPr>
        <p:txBody>
          <a:bodyPr vert="horz" wrap="square" lIns="0" tIns="0" rIns="0" bIns="7200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rtl="0"/>
            <a:r>
              <a:rPr lang="en-US" b="0" i="0" u="none" strike="noStrike" kern="1200" baseline="0">
                <a:solidFill>
                  <a:srgbClr val="888B8D"/>
                </a:solidFill>
                <a:latin typeface="Arial" panose="020B0604020202020204" pitchFamily="34" charset="0"/>
              </a:rPr>
              <a:t>518 Township Line Road, Suite 300</a:t>
            </a:r>
          </a:p>
          <a:p>
            <a:pPr rtl="0"/>
            <a:r>
              <a:rPr lang="en-US" b="0" i="0" u="none" strike="noStrike" kern="1200" baseline="0">
                <a:solidFill>
                  <a:srgbClr val="888B8D"/>
                </a:solidFill>
                <a:latin typeface="Arial" panose="020B0604020202020204" pitchFamily="34" charset="0"/>
              </a:rPr>
              <a:t>Blue Bell, PA 19422</a:t>
            </a:r>
          </a:p>
          <a:p>
            <a:pPr rtl="0"/>
            <a:r>
              <a:rPr lang="en-US" b="1" i="0" u="none" strike="noStrike" kern="1200" baseline="0">
                <a:solidFill>
                  <a:srgbClr val="888B8D"/>
                </a:solidFill>
                <a:latin typeface="Arial" panose="020B0604020202020204" pitchFamily="34" charset="0"/>
              </a:rPr>
              <a:t>T</a:t>
            </a:r>
            <a:r>
              <a:rPr lang="en-US" b="0" i="0" u="none" strike="noStrike" kern="1200" baseline="0">
                <a:solidFill>
                  <a:srgbClr val="888B8D"/>
                </a:solidFill>
                <a:latin typeface="Arial" panose="020B0604020202020204" pitchFamily="34" charset="0"/>
              </a:rPr>
              <a:t> 215.641.8600</a:t>
            </a:r>
          </a:p>
          <a:p>
            <a:pPr rtl="0"/>
            <a:r>
              <a:rPr lang="en-US" b="0" i="0" u="none" strike="noStrike" kern="1200" baseline="0">
                <a:solidFill>
                  <a:srgbClr val="888B8D"/>
                </a:solidFill>
                <a:latin typeface="Arial" panose="020B0604020202020204" pitchFamily="34" charset="0"/>
              </a:rPr>
              <a:t>rsmus.com</a:t>
            </a:r>
          </a:p>
        </p:txBody>
      </p:sp>
      <p:sp>
        <p:nvSpPr>
          <p:cNvPr id="7" name="CoNameWhite">
            <a:extLst>
              <a:ext uri="{FF2B5EF4-FFF2-40B4-BE49-F238E27FC236}">
                <a16:creationId xmlns:a16="http://schemas.microsoft.com/office/drawing/2014/main" id="{B22A7F3D-5283-7DAD-0075-766AD3FA85BE}"/>
              </a:ext>
            </a:extLst>
          </p:cNvPr>
          <p:cNvSpPr txBox="1">
            <a:spLocks/>
          </p:cNvSpPr>
          <p:nvPr>
            <p:custDataLst>
              <p:tags r:id="rId6"/>
            </p:custDataLst>
          </p:nvPr>
        </p:nvSpPr>
        <p:spPr bwMode="auto">
          <a:xfrm>
            <a:off x="785814" y="2578747"/>
            <a:ext cx="6493114" cy="254938"/>
          </a:xfrm>
          <a:prstGeom prst="rect">
            <a:avLst/>
          </a:prstGeom>
          <a:noFill/>
          <a:ln w="9525" algn="ctr">
            <a:noFill/>
            <a:miter lim="800000"/>
            <a:headEnd/>
            <a:tailEnd/>
          </a:ln>
          <a:effectLst/>
        </p:spPr>
        <p:txBody>
          <a:bodyPr vert="horz" wrap="square" lIns="0" tIns="0" rIns="0" bIns="36000" numCol="1" anchor="b" anchorCtr="0" compatLnSpc="1">
            <a:prstTxWarp prst="textNoShape">
              <a:avLst/>
            </a:prstTxWarp>
            <a:spAutoFit/>
          </a:bodyPr>
          <a:lstStyle>
            <a:lvl1pPr marL="0" indent="0" algn="l" defTabSz="1701800" rtl="0" eaLnBrk="1" fontAlgn="base" hangingPunct="1">
              <a:lnSpc>
                <a:spcPct val="110000"/>
              </a:lnSpc>
              <a:spcBef>
                <a:spcPts val="0"/>
              </a:spcBef>
              <a:spcAft>
                <a:spcPts val="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rtl="0"/>
            <a:r>
              <a:rPr lang="en-US" sz="1400" b="1" i="0" u="none" strike="noStrike" kern="1200" baseline="0">
                <a:solidFill>
                  <a:srgbClr val="FFFFFF"/>
                </a:solidFill>
                <a:latin typeface="Arial" panose="020B0604020202020204" pitchFamily="34" charset="0"/>
              </a:rPr>
              <a:t>RSM US LLP</a:t>
            </a:r>
          </a:p>
        </p:txBody>
      </p:sp>
    </p:spTree>
    <p:custDataLst>
      <p:tags r:id="rId1"/>
    </p:custDataLst>
    <p:extLst>
      <p:ext uri="{BB962C8B-B14F-4D97-AF65-F5344CB8AC3E}">
        <p14:creationId xmlns:p14="http://schemas.microsoft.com/office/powerpoint/2010/main" val="9328253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5">
            <a:extLst>
              <a:ext uri="{FF2B5EF4-FFF2-40B4-BE49-F238E27FC236}">
                <a16:creationId xmlns:a16="http://schemas.microsoft.com/office/drawing/2014/main" id="{6E2885FE-D09A-E330-2952-759681F0683E}"/>
              </a:ext>
            </a:extLst>
          </p:cNvPr>
          <p:cNvPicPr>
            <a:picLocks/>
          </p:cNvPicPr>
          <p:nvPr/>
        </p:nvPicPr>
        <p:blipFill rotWithShape="1">
          <a:blip r:embed="rId3"/>
          <a:srcRect t="22980" b="22980"/>
          <a:stretch/>
        </p:blipFill>
        <p:spPr>
          <a:xfrm>
            <a:off x="-10793" y="2046349"/>
            <a:ext cx="12202793" cy="4827082"/>
          </a:xfrm>
          <a:prstGeom prst="rect">
            <a:avLst/>
          </a:prstGeom>
        </p:spPr>
      </p:pic>
      <p:sp>
        <p:nvSpPr>
          <p:cNvPr id="2" name="Title 1">
            <a:extLst>
              <a:ext uri="{FF2B5EF4-FFF2-40B4-BE49-F238E27FC236}">
                <a16:creationId xmlns:a16="http://schemas.microsoft.com/office/drawing/2014/main" id="{F85CFF33-39FA-7803-D246-A5ED7566EFCD}"/>
              </a:ext>
            </a:extLst>
          </p:cNvPr>
          <p:cNvSpPr>
            <a:spLocks noGrp="1"/>
          </p:cNvSpPr>
          <p:nvPr>
            <p:ph type="title"/>
          </p:nvPr>
        </p:nvSpPr>
        <p:spPr>
          <a:xfrm>
            <a:off x="550415" y="308481"/>
            <a:ext cx="10620375" cy="498598"/>
          </a:xfrm>
        </p:spPr>
        <p:txBody>
          <a:bodyPr>
            <a:normAutofit/>
          </a:bodyPr>
          <a:lstStyle/>
          <a:p>
            <a:r>
              <a:rPr lang="en-US" sz="2800">
                <a:latin typeface="Arial"/>
                <a:cs typeface="Arial"/>
              </a:rPr>
              <a:t>RSM Cyber | Meeting our clients where they need us most</a:t>
            </a:r>
            <a:endParaRPr lang="en-US" sz="2800">
              <a:solidFill>
                <a:srgbClr val="000000"/>
              </a:solidFill>
              <a:latin typeface="Arial"/>
              <a:cs typeface="Arial"/>
            </a:endParaRPr>
          </a:p>
        </p:txBody>
      </p:sp>
      <p:sp>
        <p:nvSpPr>
          <p:cNvPr id="26" name="TextBox 25">
            <a:extLst>
              <a:ext uri="{FF2B5EF4-FFF2-40B4-BE49-F238E27FC236}">
                <a16:creationId xmlns:a16="http://schemas.microsoft.com/office/drawing/2014/main" id="{4495B739-F287-E1DA-F05F-50D9FA3318D4}"/>
              </a:ext>
            </a:extLst>
          </p:cNvPr>
          <p:cNvSpPr txBox="1"/>
          <p:nvPr/>
        </p:nvSpPr>
        <p:spPr>
          <a:xfrm>
            <a:off x="420955" y="2231882"/>
            <a:ext cx="2238022" cy="2159874"/>
          </a:xfrm>
          <a:prstGeom prst="rect">
            <a:avLst/>
          </a:prstGeom>
          <a:solidFill>
            <a:srgbClr val="00153D">
              <a:alpha val="63000"/>
            </a:srgbClr>
          </a:solid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Arial"/>
              </a:rPr>
              <a:t>Attack Surface Management</a:t>
            </a: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Identify and reduce attack surface through continuous proactive management</a:t>
            </a: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Vulnerability management</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Penetration testing &amp; red teaming</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Asset discovery and management</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Arial"/>
              </a:rPr>
              <a:t>Technical cyber compliance programs</a:t>
            </a:r>
          </a:p>
        </p:txBody>
      </p:sp>
      <p:sp>
        <p:nvSpPr>
          <p:cNvPr id="27" name="TextBox 26">
            <a:extLst>
              <a:ext uri="{FF2B5EF4-FFF2-40B4-BE49-F238E27FC236}">
                <a16:creationId xmlns:a16="http://schemas.microsoft.com/office/drawing/2014/main" id="{B9539F16-7FDB-A3E8-F808-81637171266F}"/>
              </a:ext>
            </a:extLst>
          </p:cNvPr>
          <p:cNvSpPr txBox="1"/>
          <p:nvPr/>
        </p:nvSpPr>
        <p:spPr>
          <a:xfrm>
            <a:off x="2739761" y="2234545"/>
            <a:ext cx="2171876" cy="2168067"/>
          </a:xfrm>
          <a:prstGeom prst="rect">
            <a:avLst/>
          </a:prstGeom>
          <a:solidFill>
            <a:srgbClr val="00153D">
              <a:alpha val="63000"/>
            </a:srgbClr>
          </a:solid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Arial"/>
              </a:rPr>
              <a:t>Resilience &amp; Recover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Arial"/>
              </a:rPr>
              <a:t>   </a:t>
            </a: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Understand cyber resilience obligations and prioritize recovery operations</a:t>
            </a:r>
            <a:endParaRPr kumimoji="0" lang="en-US" sz="1800" b="0" i="0" u="none" strike="noStrike" kern="1200" cap="none" spc="0" normalizeH="0" baseline="0" noProof="0">
              <a:ln>
                <a:noFill/>
              </a:ln>
              <a:solidFill>
                <a:srgbClr val="FFFFFF"/>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Impact analysis </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Business continuity &amp; disaster recovery</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Application &amp; system rationalizations</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Arial"/>
              </a:rPr>
              <a:t>Third party risk management</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panose="020B0604020202020204"/>
            </a:endParaRPr>
          </a:p>
        </p:txBody>
      </p:sp>
      <p:sp>
        <p:nvSpPr>
          <p:cNvPr id="28" name="TextBox 27">
            <a:extLst>
              <a:ext uri="{FF2B5EF4-FFF2-40B4-BE49-F238E27FC236}">
                <a16:creationId xmlns:a16="http://schemas.microsoft.com/office/drawing/2014/main" id="{E30DCC55-D807-B3FC-D3E7-D55F47A74653}"/>
              </a:ext>
            </a:extLst>
          </p:cNvPr>
          <p:cNvSpPr txBox="1"/>
          <p:nvPr/>
        </p:nvSpPr>
        <p:spPr>
          <a:xfrm>
            <a:off x="4998714" y="2235976"/>
            <a:ext cx="2194560" cy="2158441"/>
          </a:xfrm>
          <a:prstGeom prst="rect">
            <a:avLst/>
          </a:prstGeom>
          <a:solidFill>
            <a:srgbClr val="00153D">
              <a:alpha val="63000"/>
            </a:srgbClr>
          </a:solid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Arial"/>
              </a:rPr>
              <a:t>Secure Cloud</a:t>
            </a: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Embark on your cloud journey in a controlled and secure manner</a:t>
            </a:r>
            <a:endParaRPr kumimoji="0" lang="en-US" sz="1800" b="0" i="0" u="none" strike="noStrike" kern="1200" cap="none" spc="0" normalizeH="0" baseline="0" noProof="0">
              <a:ln>
                <a:noFill/>
              </a:ln>
              <a:solidFill>
                <a:srgbClr val="FFFFFF"/>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Cloud posture management</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Platform design, development and deployment</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Secure operations and administration</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Cloud infrastructure entitlements management</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014C8D7C-5C95-4B2B-C1CD-F9F2A736E83E}"/>
              </a:ext>
            </a:extLst>
          </p:cNvPr>
          <p:cNvSpPr txBox="1"/>
          <p:nvPr/>
        </p:nvSpPr>
        <p:spPr>
          <a:xfrm>
            <a:off x="7265842" y="2235976"/>
            <a:ext cx="2208671" cy="2158440"/>
          </a:xfrm>
          <a:prstGeom prst="rect">
            <a:avLst/>
          </a:prstGeom>
          <a:solidFill>
            <a:srgbClr val="00153D">
              <a:alpha val="63000"/>
            </a:srgbClr>
          </a:solid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Arial"/>
              </a:rPr>
              <a:t>Architecture &amp; Engineering</a:t>
            </a:r>
            <a:endParaRPr kumimoji="0" lang="en-US" sz="1800" b="0" i="0" u="none" strike="noStrike" kern="1200" cap="none" spc="0" normalizeH="0" baseline="0" noProof="0">
              <a:ln>
                <a:noFill/>
              </a:ln>
              <a:solidFill>
                <a:srgbClr val="FFFFFF"/>
              </a:solidFill>
              <a:effectLst/>
              <a:uLnTx/>
              <a:uFillTx/>
              <a:latin typeface="Arial"/>
              <a:ea typeface="+mn-ea"/>
              <a:cs typeface="Arial" panose="020B06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Arial" panose="020B0604020202020204"/>
                <a:ea typeface="+mn-ea"/>
                <a:cs typeface="Arial"/>
              </a:rPr>
              <a:t>    </a:t>
            </a:r>
            <a:endParaRPr kumimoji="0" lang="en-US" sz="800" b="1" i="0" u="none" strike="noStrike" kern="1200" cap="none" spc="0" normalizeH="0" baseline="0" noProof="0">
              <a:ln>
                <a:noFill/>
              </a:ln>
              <a:solidFill>
                <a:srgbClr val="FFFFFF"/>
              </a:solidFill>
              <a:effectLst/>
              <a:uLnTx/>
              <a:uFillTx/>
              <a:latin typeface="Arial" panose="020B0604020202020204"/>
              <a:ea typeface="+mn-ea"/>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Manage the risks of today’s boundary-less environment</a:t>
            </a:r>
            <a:endParaRPr kumimoji="0" lang="en-US" sz="1800" b="0" i="0" u="none" strike="noStrike" kern="1200" cap="none" spc="0" normalizeH="0" baseline="0" noProof="0">
              <a:ln>
                <a:noFill/>
              </a:ln>
              <a:solidFill>
                <a:srgbClr val="FFFFFF"/>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IoT and operational technologies</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Industrial control systems</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Zero-trust and enterprise architecture</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Standards and runbooks</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Cyber solution engineering</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Security tools &amp; technologies</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30" name="TextBox 29">
            <a:extLst>
              <a:ext uri="{FF2B5EF4-FFF2-40B4-BE49-F238E27FC236}">
                <a16:creationId xmlns:a16="http://schemas.microsoft.com/office/drawing/2014/main" id="{AC9B263B-891A-B2AE-95DA-CE918EDC7D37}"/>
              </a:ext>
            </a:extLst>
          </p:cNvPr>
          <p:cNvSpPr txBox="1"/>
          <p:nvPr/>
        </p:nvSpPr>
        <p:spPr>
          <a:xfrm>
            <a:off x="9530247" y="2238372"/>
            <a:ext cx="2194561" cy="2156045"/>
          </a:xfrm>
          <a:prstGeom prst="rect">
            <a:avLst/>
          </a:prstGeom>
          <a:solidFill>
            <a:srgbClr val="00153D">
              <a:alpha val="63000"/>
            </a:srgbClr>
          </a:solid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Arial"/>
              </a:rPr>
              <a:t>Application </a:t>
            </a: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Arial"/>
              </a:rPr>
              <a:t>Security</a:t>
            </a: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Drive secure practices throughout the application development lifecycle</a:t>
            </a:r>
            <a:endParaRPr kumimoji="0" lang="en-US" sz="1800" b="0" i="0" u="none" strike="noStrike" kern="1200" cap="none" spc="0" normalizeH="0" baseline="0" noProof="0">
              <a:ln>
                <a:noFill/>
              </a:ln>
              <a:solidFill>
                <a:srgbClr val="FFFFFF"/>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err="1">
                <a:ln>
                  <a:noFill/>
                </a:ln>
                <a:solidFill>
                  <a:srgbClr val="FFFFFF"/>
                </a:solidFill>
                <a:effectLst/>
                <a:uLnTx/>
                <a:uFillTx/>
                <a:latin typeface="Arial" panose="020B0604020202020204"/>
                <a:ea typeface="+mn-ea"/>
                <a:cs typeface="+mn-cs"/>
              </a:rPr>
              <a:t>SecDevOps</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Secure code analysis</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Web app security testing</a:t>
            </a: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Secure design principles</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Data classification &amp; protection</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panose="020B0604020202020204"/>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Continuous penetration test</a:t>
            </a: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EC069669-55F6-9955-D9B1-2497CCE6A74B}"/>
              </a:ext>
            </a:extLst>
          </p:cNvPr>
          <p:cNvSpPr txBox="1"/>
          <p:nvPr/>
        </p:nvSpPr>
        <p:spPr>
          <a:xfrm>
            <a:off x="426227" y="4460559"/>
            <a:ext cx="2236115" cy="2171821"/>
          </a:xfrm>
          <a:prstGeom prst="rect">
            <a:avLst/>
          </a:prstGeom>
          <a:solidFill>
            <a:srgbClr val="00153D">
              <a:alpha val="63000"/>
            </a:srgbClr>
          </a:solid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Arial"/>
              </a:rPr>
              <a:t>Detect &amp; Respond</a:t>
            </a: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Effectively and efficiently identify and quickly respond to incidents</a:t>
            </a:r>
            <a:endParaRPr kumimoji="0" lang="en-US" sz="1800" b="0" i="0" u="none" strike="noStrike" kern="1200" cap="none" spc="0" normalizeH="0" baseline="0" noProof="0">
              <a:ln>
                <a:noFill/>
              </a:ln>
              <a:solidFill>
                <a:srgbClr val="FFFFFF"/>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1" u="none" strike="noStrike" kern="1200" cap="none" spc="0" normalizeH="0" baseline="0" noProof="0">
                <a:ln>
                  <a:noFill/>
                </a:ln>
                <a:solidFill>
                  <a:srgbClr val="FFFFFF"/>
                </a:solidFill>
                <a:effectLst/>
                <a:uLnTx/>
                <a:uFillTx/>
                <a:latin typeface="Arial" panose="020B0604020202020204"/>
                <a:ea typeface="+mn-ea"/>
                <a:cs typeface="+mn-cs"/>
              </a:rPr>
              <a:t>RSM</a:t>
            </a: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en-US" sz="1000" b="0" i="1" u="none" strike="noStrike" kern="1200" cap="none" spc="0" normalizeH="0" baseline="0" noProof="0" err="1">
                <a:ln>
                  <a:noFill/>
                </a:ln>
                <a:solidFill>
                  <a:srgbClr val="FFFFFF"/>
                </a:solidFill>
                <a:effectLst/>
                <a:uLnTx/>
                <a:uFillTx/>
                <a:latin typeface="Arial" panose="020B0604020202020204"/>
                <a:ea typeface="+mn-ea"/>
                <a:cs typeface="+mn-cs"/>
              </a:rPr>
              <a:t>Defense</a:t>
            </a:r>
            <a:r>
              <a:rPr kumimoji="0" lang="en-US" sz="1000" b="0" i="0" u="none" strike="noStrike" kern="1200" cap="none" spc="0" normalizeH="0" baseline="30000" noProof="0" err="1">
                <a:ln>
                  <a:noFill/>
                </a:ln>
                <a:solidFill>
                  <a:srgbClr val="FFFFFF"/>
                </a:solidFill>
                <a:effectLst/>
                <a:uLnTx/>
                <a:uFillTx/>
                <a:latin typeface="Arial" panose="020B0604020202020204"/>
                <a:ea typeface="+mn-ea"/>
                <a:cs typeface="+mn-cs"/>
              </a:rPr>
              <a:t>TM</a:t>
            </a:r>
            <a:r>
              <a:rPr kumimoji="0" lang="en-US" sz="1000" b="0" i="0" u="none" strike="noStrike" kern="1200" cap="none" spc="0" normalizeH="0" baseline="30000" noProof="0">
                <a:ln>
                  <a:noFill/>
                </a:ln>
                <a:solidFill>
                  <a:srgbClr val="FFFFFF"/>
                </a:solidFill>
                <a:effectLst/>
                <a:uLnTx/>
                <a:uFillTx/>
                <a:latin typeface="Arial" panose="020B0604020202020204"/>
                <a:ea typeface="+mn-ea"/>
                <a:cs typeface="+mn-cs"/>
              </a:rPr>
              <a:t> </a:t>
            </a: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 managed security</a:t>
            </a:r>
            <a:endParaRPr kumimoji="0" lang="en-US" sz="1000" b="0" i="0" u="none" strike="noStrike" kern="1200" cap="none" spc="0" normalizeH="0" baseline="30000" noProof="0">
              <a:ln>
                <a:noFill/>
              </a:ln>
              <a:solidFill>
                <a:srgbClr val="FFFFFF"/>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Security operations </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Threat intelligence</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Digital forensics &amp; incident response</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Endpoint detection &amp; response</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32" name="TextBox 31">
            <a:extLst>
              <a:ext uri="{FF2B5EF4-FFF2-40B4-BE49-F238E27FC236}">
                <a16:creationId xmlns:a16="http://schemas.microsoft.com/office/drawing/2014/main" id="{8A90BF24-12EA-9A83-B1B7-147991C719B3}"/>
              </a:ext>
            </a:extLst>
          </p:cNvPr>
          <p:cNvSpPr txBox="1"/>
          <p:nvPr/>
        </p:nvSpPr>
        <p:spPr>
          <a:xfrm>
            <a:off x="2738087" y="4462667"/>
            <a:ext cx="2170137" cy="2152712"/>
          </a:xfrm>
          <a:prstGeom prst="rect">
            <a:avLst/>
          </a:prstGeom>
          <a:solidFill>
            <a:srgbClr val="00153D">
              <a:alpha val="63000"/>
            </a:srgbClr>
          </a:solid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Arial"/>
              </a:rPr>
              <a:t>Strategy &amp; Ri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Design and implement transformative cyber programs</a:t>
            </a: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Maturity and risk assessments</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Policies and procedures</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Program design and management</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Framework design</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Virtual CISO</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Security awareness training</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Cyber workforce development</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33" name="TextBox 32">
            <a:extLst>
              <a:ext uri="{FF2B5EF4-FFF2-40B4-BE49-F238E27FC236}">
                <a16:creationId xmlns:a16="http://schemas.microsoft.com/office/drawing/2014/main" id="{8899F6DA-024F-8E3E-6E45-0CDEB6553DE6}"/>
              </a:ext>
            </a:extLst>
          </p:cNvPr>
          <p:cNvSpPr txBox="1"/>
          <p:nvPr/>
        </p:nvSpPr>
        <p:spPr>
          <a:xfrm>
            <a:off x="4997776" y="4459890"/>
            <a:ext cx="2184581" cy="2169938"/>
          </a:xfrm>
          <a:prstGeom prst="rect">
            <a:avLst/>
          </a:prstGeom>
          <a:solidFill>
            <a:srgbClr val="00153D">
              <a:alpha val="63000"/>
            </a:srgbClr>
          </a:solid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Arial"/>
              </a:rPr>
              <a:t>Compliance &amp; Governance</a:t>
            </a: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Decipher framework, regulations and standards compliance</a:t>
            </a: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Assurance, accreditation, and certification (i.e., PCI, </a:t>
            </a:r>
            <a:r>
              <a:rPr kumimoji="0" lang="en-US" sz="1000" b="0" i="0" u="none" strike="noStrike" kern="1200" cap="none" spc="0" normalizeH="0" baseline="0" noProof="0" err="1">
                <a:ln>
                  <a:noFill/>
                </a:ln>
                <a:solidFill>
                  <a:srgbClr val="FFFFFF"/>
                </a:solidFill>
                <a:effectLst/>
                <a:uLnTx/>
                <a:uFillTx/>
                <a:latin typeface="Arial" panose="020B0604020202020204"/>
                <a:ea typeface="+mn-ea"/>
                <a:cs typeface="+mn-cs"/>
              </a:rPr>
              <a:t>FedRamp</a:t>
            </a: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 CMMC, </a:t>
            </a:r>
            <a:r>
              <a:rPr kumimoji="0" lang="en-US" sz="1000" b="0" i="0" u="none" strike="noStrike" kern="1200" cap="none" spc="0" normalizeH="0" baseline="0" noProof="0" err="1">
                <a:ln>
                  <a:noFill/>
                </a:ln>
                <a:solidFill>
                  <a:srgbClr val="FFFFFF"/>
                </a:solidFill>
                <a:effectLst/>
                <a:uLnTx/>
                <a:uFillTx/>
                <a:latin typeface="Arial" panose="020B0604020202020204"/>
                <a:ea typeface="+mn-ea"/>
                <a:cs typeface="+mn-cs"/>
              </a:rPr>
              <a:t>HiTrust</a:t>
            </a: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 etc.)</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Third-party risk</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Governance, risk &amp; compliance (GRC)</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Privacy	</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34" name="TextBox 33">
            <a:extLst>
              <a:ext uri="{FF2B5EF4-FFF2-40B4-BE49-F238E27FC236}">
                <a16:creationId xmlns:a16="http://schemas.microsoft.com/office/drawing/2014/main" id="{F72E8949-EFC5-DD12-DE3E-1EAA6BECCA7B}"/>
              </a:ext>
            </a:extLst>
          </p:cNvPr>
          <p:cNvSpPr txBox="1"/>
          <p:nvPr/>
        </p:nvSpPr>
        <p:spPr>
          <a:xfrm>
            <a:off x="7265842" y="4465971"/>
            <a:ext cx="2202752" cy="2157199"/>
          </a:xfrm>
          <a:prstGeom prst="rect">
            <a:avLst/>
          </a:prstGeom>
          <a:solidFill>
            <a:srgbClr val="00153D">
              <a:alpha val="63000"/>
            </a:srgbClr>
          </a:solid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Arial"/>
              </a:rPr>
              <a:t>Digital Identity</a:t>
            </a: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Securely manage human and device identities across your universe</a:t>
            </a:r>
            <a:endParaRPr kumimoji="0" lang="en-US" sz="1800" b="0" i="0" u="none" strike="noStrike" kern="1200" cap="none" spc="0" normalizeH="0" baseline="0" noProof="0">
              <a:ln>
                <a:noFill/>
              </a:ln>
              <a:solidFill>
                <a:srgbClr val="FFFFFF"/>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Governance &amp; administration</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Privilege access</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Authentication &amp; authorization</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Identity threat detection &amp; response</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User behavior analytics</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35" name="TextBox 34">
            <a:extLst>
              <a:ext uri="{FF2B5EF4-FFF2-40B4-BE49-F238E27FC236}">
                <a16:creationId xmlns:a16="http://schemas.microsoft.com/office/drawing/2014/main" id="{F815F500-226C-B430-8CAD-566A9575E3EC}"/>
              </a:ext>
            </a:extLst>
          </p:cNvPr>
          <p:cNvSpPr txBox="1"/>
          <p:nvPr/>
        </p:nvSpPr>
        <p:spPr>
          <a:xfrm>
            <a:off x="9530247" y="4465971"/>
            <a:ext cx="2194559" cy="2157671"/>
          </a:xfrm>
          <a:prstGeom prst="rect">
            <a:avLst/>
          </a:prstGeom>
          <a:solidFill>
            <a:srgbClr val="00153D">
              <a:alpha val="63000"/>
            </a:srgbClr>
          </a:solid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Arial"/>
              </a:rPr>
              <a:t>Emerging </a:t>
            </a: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Arial"/>
              </a:rPr>
              <a:t>Technologies</a:t>
            </a: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Making sense of security implications from technology innovations to prioritize resources</a:t>
            </a:r>
            <a:endParaRPr kumimoji="0" lang="en-US" sz="1800" b="0" i="0" u="none" strike="noStrike" kern="1200" cap="none" spc="0" normalizeH="0" baseline="0" noProof="0">
              <a:ln>
                <a:noFill/>
              </a:ln>
              <a:solidFill>
                <a:srgbClr val="FFFFFF"/>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Artificial Intelligence</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Autonomous vehicles</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Metaverse &amp; augmented reality</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Virtual power plants (VPP)</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
                <a:srgbClr val="3F9C35"/>
              </a:buClr>
              <a:buSzTx/>
              <a:buFont typeface="Wingdings" panose="05000000000000000000" pitchFamily="2" charset="2"/>
              <a:buChar char="§"/>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6" name="Group 45">
            <a:extLst>
              <a:ext uri="{FF2B5EF4-FFF2-40B4-BE49-F238E27FC236}">
                <a16:creationId xmlns:a16="http://schemas.microsoft.com/office/drawing/2014/main" id="{2A195E6E-66FF-444E-16C6-B2BC1C1789A4}"/>
              </a:ext>
            </a:extLst>
          </p:cNvPr>
          <p:cNvGrpSpPr/>
          <p:nvPr/>
        </p:nvGrpSpPr>
        <p:grpSpPr>
          <a:xfrm>
            <a:off x="791500" y="1652961"/>
            <a:ext cx="10281449" cy="340304"/>
            <a:chOff x="913905" y="1652961"/>
            <a:chExt cx="10281449" cy="340304"/>
          </a:xfrm>
        </p:grpSpPr>
        <p:sp>
          <p:nvSpPr>
            <p:cNvPr id="47" name="Isosceles Triangle 46">
              <a:extLst>
                <a:ext uri="{FF2B5EF4-FFF2-40B4-BE49-F238E27FC236}">
                  <a16:creationId xmlns:a16="http://schemas.microsoft.com/office/drawing/2014/main" id="{61E1474E-2E55-6ECF-C68A-37BEAAB333FA}"/>
                </a:ext>
              </a:extLst>
            </p:cNvPr>
            <p:cNvSpPr/>
            <p:nvPr/>
          </p:nvSpPr>
          <p:spPr>
            <a:xfrm rot="10800000">
              <a:off x="1025429" y="1901825"/>
              <a:ext cx="10058400" cy="91440"/>
            </a:xfrm>
            <a:prstGeom prst="triangle">
              <a:avLst/>
            </a:prstGeom>
            <a:solidFill>
              <a:srgbClr val="888B8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7962"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TextBox 47">
              <a:extLst>
                <a:ext uri="{FF2B5EF4-FFF2-40B4-BE49-F238E27FC236}">
                  <a16:creationId xmlns:a16="http://schemas.microsoft.com/office/drawing/2014/main" id="{C62E6D52-7562-90DA-2085-481F00617E3F}"/>
                </a:ext>
              </a:extLst>
            </p:cNvPr>
            <p:cNvSpPr txBox="1"/>
            <p:nvPr/>
          </p:nvSpPr>
          <p:spPr>
            <a:xfrm>
              <a:off x="913905" y="1652961"/>
              <a:ext cx="10281449" cy="281295"/>
            </a:xfrm>
            <a:prstGeom prst="rect">
              <a:avLst/>
            </a:prstGeom>
            <a:noFill/>
          </p:spPr>
          <p:txBody>
            <a:bodyPr wrap="square" rtlCol="0">
              <a:spAutoFit/>
            </a:bodyPr>
            <a:lstStyle/>
            <a:p>
              <a:pPr marL="0" marR="0" lvl="0" indent="0" algn="ctr" defTabSz="837962" rtl="0" eaLnBrk="1" fontAlgn="auto" latinLnBrk="0" hangingPunct="1">
                <a:lnSpc>
                  <a:spcPct val="100000"/>
                </a:lnSpc>
                <a:spcBef>
                  <a:spcPts val="0"/>
                </a:spcBef>
                <a:spcAft>
                  <a:spcPts val="0"/>
                </a:spcAft>
                <a:buClrTx/>
                <a:buSzTx/>
                <a:buFontTx/>
                <a:buNone/>
                <a:tabLst/>
                <a:defRPr/>
              </a:pPr>
              <a:r>
                <a:rPr kumimoji="0" lang="en-US" sz="1228" b="1" i="0" u="none" strike="noStrike" kern="1200" cap="none" spc="545" normalizeH="0" baseline="0" noProof="0">
                  <a:ln>
                    <a:noFill/>
                  </a:ln>
                  <a:solidFill>
                    <a:srgbClr val="63666A"/>
                  </a:solidFill>
                  <a:effectLst/>
                  <a:uLnTx/>
                  <a:uFillTx/>
                  <a:latin typeface="Arial" panose="020B0604020202020204" pitchFamily="34" charset="0"/>
                  <a:ea typeface="+mn-ea"/>
                  <a:cs typeface="Arial Bold" panose="020B0704020202020204" pitchFamily="34" charset="0"/>
                </a:rPr>
                <a:t>SERVICES</a:t>
              </a:r>
            </a:p>
          </p:txBody>
        </p:sp>
        <p:cxnSp>
          <p:nvCxnSpPr>
            <p:cNvPr id="49" name="Straight Connector 48">
              <a:extLst>
                <a:ext uri="{FF2B5EF4-FFF2-40B4-BE49-F238E27FC236}">
                  <a16:creationId xmlns:a16="http://schemas.microsoft.com/office/drawing/2014/main" id="{7528A0C5-6E27-F9A1-C2CF-968BA1F183A7}"/>
                </a:ext>
              </a:extLst>
            </p:cNvPr>
            <p:cNvCxnSpPr>
              <a:cxnSpLocks/>
            </p:cNvCxnSpPr>
            <p:nvPr/>
          </p:nvCxnSpPr>
          <p:spPr>
            <a:xfrm flipH="1">
              <a:off x="1092970" y="1769154"/>
              <a:ext cx="3941072" cy="0"/>
            </a:xfrm>
            <a:prstGeom prst="line">
              <a:avLst/>
            </a:prstGeom>
            <a:ln>
              <a:solidFill>
                <a:srgbClr val="009CDE"/>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800598D-7651-15F3-5911-F9AD5519EFD0}"/>
                </a:ext>
              </a:extLst>
            </p:cNvPr>
            <p:cNvCxnSpPr>
              <a:cxnSpLocks/>
            </p:cNvCxnSpPr>
            <p:nvPr/>
          </p:nvCxnSpPr>
          <p:spPr>
            <a:xfrm flipH="1">
              <a:off x="7038563" y="1769154"/>
              <a:ext cx="3941072" cy="0"/>
            </a:xfrm>
            <a:prstGeom prst="line">
              <a:avLst/>
            </a:prstGeom>
            <a:ln>
              <a:solidFill>
                <a:srgbClr val="009CDE"/>
              </a:solidFill>
            </a:ln>
          </p:spPr>
          <p:style>
            <a:lnRef idx="1">
              <a:schemeClr val="accent1"/>
            </a:lnRef>
            <a:fillRef idx="0">
              <a:schemeClr val="accent1"/>
            </a:fillRef>
            <a:effectRef idx="0">
              <a:schemeClr val="accent1"/>
            </a:effectRef>
            <a:fontRef idx="minor">
              <a:schemeClr val="tx1"/>
            </a:fontRef>
          </p:style>
        </p:cxnSp>
      </p:grpSp>
      <p:sp>
        <p:nvSpPr>
          <p:cNvPr id="51" name="Slide Number Placeholder 2">
            <a:extLst>
              <a:ext uri="{FF2B5EF4-FFF2-40B4-BE49-F238E27FC236}">
                <a16:creationId xmlns:a16="http://schemas.microsoft.com/office/drawing/2014/main" id="{44CCAA3A-DAF2-FC1B-4A9A-F3527488721C}"/>
              </a:ext>
            </a:extLst>
          </p:cNvPr>
          <p:cNvSpPr>
            <a:spLocks noGrp="1"/>
          </p:cNvSpPr>
          <p:nvPr>
            <p:ph type="sldNum" sz="quarter" idx="10"/>
          </p:nvPr>
        </p:nvSpPr>
        <p:spPr>
          <a:xfrm>
            <a:off x="-7953" y="6581247"/>
            <a:ext cx="2743200" cy="27675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36A99BC-3C9D-4DF8-8B8C-E1FD2BDF0AD4}" type="slidenum">
              <a:rPr kumimoji="0" lang="en-US" sz="1000" b="0" i="0" u="none" strike="noStrike" kern="1200" cap="none" spc="0" normalizeH="0" baseline="0" noProof="0" smtClean="0">
                <a:ln>
                  <a:noFill/>
                </a:ln>
                <a:solidFill>
                  <a:srgbClr val="595959"/>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595959"/>
              </a:solidFill>
              <a:effectLst/>
              <a:uLnTx/>
              <a:uFillTx/>
              <a:latin typeface="Arial" panose="020B0604020202020204" pitchFamily="34" charset="0"/>
              <a:ea typeface="+mn-ea"/>
              <a:cs typeface="Arial" panose="020B0604020202020204" pitchFamily="34" charset="0"/>
            </a:endParaRPr>
          </a:p>
        </p:txBody>
      </p:sp>
      <p:grpSp>
        <p:nvGrpSpPr>
          <p:cNvPr id="5" name="Group 4">
            <a:extLst>
              <a:ext uri="{FF2B5EF4-FFF2-40B4-BE49-F238E27FC236}">
                <a16:creationId xmlns:a16="http://schemas.microsoft.com/office/drawing/2014/main" id="{7CA8A97A-80A7-DAD4-B795-DA6C76A5FA4E}"/>
              </a:ext>
            </a:extLst>
          </p:cNvPr>
          <p:cNvGrpSpPr/>
          <p:nvPr/>
        </p:nvGrpSpPr>
        <p:grpSpPr>
          <a:xfrm>
            <a:off x="0" y="1020767"/>
            <a:ext cx="12184745" cy="548640"/>
            <a:chOff x="0" y="1156606"/>
            <a:chExt cx="12184745" cy="548640"/>
          </a:xfrm>
        </p:grpSpPr>
        <p:grpSp>
          <p:nvGrpSpPr>
            <p:cNvPr id="52" name="Group 51">
              <a:extLst>
                <a:ext uri="{FF2B5EF4-FFF2-40B4-BE49-F238E27FC236}">
                  <a16:creationId xmlns:a16="http://schemas.microsoft.com/office/drawing/2014/main" id="{A2F79B90-0439-6B23-DD3C-1B8A0913871D}"/>
                </a:ext>
              </a:extLst>
            </p:cNvPr>
            <p:cNvGrpSpPr/>
            <p:nvPr/>
          </p:nvGrpSpPr>
          <p:grpSpPr>
            <a:xfrm>
              <a:off x="0" y="1156606"/>
              <a:ext cx="12184745" cy="548640"/>
              <a:chOff x="0" y="992014"/>
              <a:chExt cx="12184745" cy="548640"/>
            </a:xfrm>
          </p:grpSpPr>
          <p:sp>
            <p:nvSpPr>
              <p:cNvPr id="56" name="Rectangle 55">
                <a:extLst>
                  <a:ext uri="{FF2B5EF4-FFF2-40B4-BE49-F238E27FC236}">
                    <a16:creationId xmlns:a16="http://schemas.microsoft.com/office/drawing/2014/main" id="{58C54EF3-D20F-839A-65DF-FBA3C289077E}"/>
                  </a:ext>
                </a:extLst>
              </p:cNvPr>
              <p:cNvSpPr/>
              <p:nvPr/>
            </p:nvSpPr>
            <p:spPr>
              <a:xfrm>
                <a:off x="0" y="992014"/>
                <a:ext cx="12184745" cy="54864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57" name="Group 56">
                <a:extLst>
                  <a:ext uri="{FF2B5EF4-FFF2-40B4-BE49-F238E27FC236}">
                    <a16:creationId xmlns:a16="http://schemas.microsoft.com/office/drawing/2014/main" id="{F314F1D3-DF16-6EAB-BC77-5290A1FAC08F}"/>
                  </a:ext>
                </a:extLst>
              </p:cNvPr>
              <p:cNvGrpSpPr/>
              <p:nvPr/>
            </p:nvGrpSpPr>
            <p:grpSpPr>
              <a:xfrm>
                <a:off x="417263" y="1081311"/>
                <a:ext cx="11350218" cy="369689"/>
                <a:chOff x="300857" y="1096423"/>
                <a:chExt cx="11350218" cy="369689"/>
              </a:xfrm>
            </p:grpSpPr>
            <p:sp>
              <p:nvSpPr>
                <p:cNvPr id="58" name="TextBox 57">
                  <a:extLst>
                    <a:ext uri="{FF2B5EF4-FFF2-40B4-BE49-F238E27FC236}">
                      <a16:creationId xmlns:a16="http://schemas.microsoft.com/office/drawing/2014/main" id="{B89033E3-06E3-C991-985A-148A506396FE}"/>
                    </a:ext>
                  </a:extLst>
                </p:cNvPr>
                <p:cNvSpPr txBox="1"/>
                <p:nvPr/>
              </p:nvSpPr>
              <p:spPr>
                <a:xfrm>
                  <a:off x="300857" y="1096780"/>
                  <a:ext cx="13716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95959"/>
                      </a:solidFill>
                      <a:effectLst/>
                      <a:uLnTx/>
                      <a:uFillTx/>
                      <a:latin typeface="Arial" panose="020B0604020202020204"/>
                      <a:ea typeface="+mn-ea"/>
                      <a:cs typeface="+mn-cs"/>
                    </a:rPr>
                    <a:t>Assess	</a:t>
                  </a:r>
                </a:p>
              </p:txBody>
            </p:sp>
            <p:sp>
              <p:nvSpPr>
                <p:cNvPr id="59" name="TextBox 58">
                  <a:extLst>
                    <a:ext uri="{FF2B5EF4-FFF2-40B4-BE49-F238E27FC236}">
                      <a16:creationId xmlns:a16="http://schemas.microsoft.com/office/drawing/2014/main" id="{8251ACBE-6DD0-76A9-73ED-38244E52A224}"/>
                    </a:ext>
                  </a:extLst>
                </p:cNvPr>
                <p:cNvSpPr txBox="1"/>
                <p:nvPr/>
              </p:nvSpPr>
              <p:spPr>
                <a:xfrm>
                  <a:off x="3627063" y="1096780"/>
                  <a:ext cx="13716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95959"/>
                      </a:solidFill>
                      <a:effectLst/>
                      <a:uLnTx/>
                      <a:uFillTx/>
                      <a:latin typeface="Arial" panose="020B0604020202020204"/>
                      <a:ea typeface="+mn-ea"/>
                      <a:cs typeface="+mn-cs"/>
                    </a:rPr>
                    <a:t>Advise	</a:t>
                  </a:r>
                </a:p>
              </p:txBody>
            </p:sp>
            <p:sp>
              <p:nvSpPr>
                <p:cNvPr id="60" name="TextBox 59">
                  <a:extLst>
                    <a:ext uri="{FF2B5EF4-FFF2-40B4-BE49-F238E27FC236}">
                      <a16:creationId xmlns:a16="http://schemas.microsoft.com/office/drawing/2014/main" id="{D69F2FA4-75A5-EDC7-E96C-2F2B0EFC518B}"/>
                    </a:ext>
                  </a:extLst>
                </p:cNvPr>
                <p:cNvSpPr txBox="1"/>
                <p:nvPr/>
              </p:nvSpPr>
              <p:spPr>
                <a:xfrm>
                  <a:off x="6953269" y="1096780"/>
                  <a:ext cx="13716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95959"/>
                      </a:solidFill>
                      <a:effectLst/>
                      <a:uLnTx/>
                      <a:uFillTx/>
                      <a:latin typeface="Arial" panose="020B0604020202020204"/>
                      <a:ea typeface="+mn-ea"/>
                      <a:cs typeface="+mn-cs"/>
                    </a:rPr>
                    <a:t>Implement</a:t>
                  </a:r>
                </a:p>
              </p:txBody>
            </p:sp>
            <p:sp>
              <p:nvSpPr>
                <p:cNvPr id="61" name="TextBox 60">
                  <a:extLst>
                    <a:ext uri="{FF2B5EF4-FFF2-40B4-BE49-F238E27FC236}">
                      <a16:creationId xmlns:a16="http://schemas.microsoft.com/office/drawing/2014/main" id="{51A79F41-DC62-8731-077E-094F77578425}"/>
                    </a:ext>
                  </a:extLst>
                </p:cNvPr>
                <p:cNvSpPr txBox="1"/>
                <p:nvPr/>
              </p:nvSpPr>
              <p:spPr>
                <a:xfrm>
                  <a:off x="10279475" y="1096423"/>
                  <a:ext cx="13716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95959"/>
                      </a:solidFill>
                      <a:effectLst/>
                      <a:uLnTx/>
                      <a:uFillTx/>
                      <a:latin typeface="Arial" panose="020B0604020202020204"/>
                      <a:ea typeface="+mn-ea"/>
                      <a:cs typeface="+mn-cs"/>
                    </a:rPr>
                    <a:t>Manage</a:t>
                  </a:r>
                </a:p>
              </p:txBody>
            </p:sp>
          </p:grpSp>
        </p:grpSp>
        <p:pic>
          <p:nvPicPr>
            <p:cNvPr id="53" name="Graphic 52" descr="Diamond Suit with solid fill">
              <a:extLst>
                <a:ext uri="{FF2B5EF4-FFF2-40B4-BE49-F238E27FC236}">
                  <a16:creationId xmlns:a16="http://schemas.microsoft.com/office/drawing/2014/main" id="{EA4D2DF4-EA48-00AD-C527-8537792B19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06559" y="1347749"/>
              <a:ext cx="142875" cy="152400"/>
            </a:xfrm>
            <a:prstGeom prst="rect">
              <a:avLst/>
            </a:prstGeom>
          </p:spPr>
        </p:pic>
        <p:pic>
          <p:nvPicPr>
            <p:cNvPr id="54" name="Graphic 53" descr="Diamond Suit with solid fill">
              <a:extLst>
                <a:ext uri="{FF2B5EF4-FFF2-40B4-BE49-F238E27FC236}">
                  <a16:creationId xmlns:a16="http://schemas.microsoft.com/office/drawing/2014/main" id="{A1D4E1A9-AD68-1BFB-2F64-7F68B569D6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60603" y="1354369"/>
              <a:ext cx="142875" cy="152400"/>
            </a:xfrm>
            <a:prstGeom prst="rect">
              <a:avLst/>
            </a:prstGeom>
          </p:spPr>
        </p:pic>
        <p:pic>
          <p:nvPicPr>
            <p:cNvPr id="55" name="Graphic 54" descr="Diamond Suit with solid fill">
              <a:extLst>
                <a:ext uri="{FF2B5EF4-FFF2-40B4-BE49-F238E27FC236}">
                  <a16:creationId xmlns:a16="http://schemas.microsoft.com/office/drawing/2014/main" id="{89FC6C21-52C3-E923-6A0F-53756E0C41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64172" y="1358602"/>
              <a:ext cx="142875" cy="152400"/>
            </a:xfrm>
            <a:prstGeom prst="rect">
              <a:avLst/>
            </a:prstGeom>
          </p:spPr>
        </p:pic>
      </p:grpSp>
    </p:spTree>
    <p:extLst>
      <p:ext uri="{BB962C8B-B14F-4D97-AF65-F5344CB8AC3E}">
        <p14:creationId xmlns:p14="http://schemas.microsoft.com/office/powerpoint/2010/main" val="15896806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B703D45-6FD7-42D6-ABD6-EC6FD0317DC5}"/>
              </a:ext>
            </a:extLst>
          </p:cNvPr>
          <p:cNvSpPr/>
          <p:nvPr/>
        </p:nvSpPr>
        <p:spPr>
          <a:xfrm>
            <a:off x="964714" y="3543614"/>
            <a:ext cx="10286999" cy="222332"/>
          </a:xfrm>
          <a:prstGeom prst="rect">
            <a:avLst/>
          </a:prstGeom>
          <a:solidFill>
            <a:srgbClr val="888B8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7962"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descr="Diagram&#10;&#10;Description automatically generated">
            <a:extLst>
              <a:ext uri="{FF2B5EF4-FFF2-40B4-BE49-F238E27FC236}">
                <a16:creationId xmlns:a16="http://schemas.microsoft.com/office/drawing/2014/main" id="{DD8F8DC2-24EE-4079-8B24-F4C90167DB11}"/>
              </a:ext>
            </a:extLst>
          </p:cNvPr>
          <p:cNvPicPr>
            <a:picLocks noChangeAspect="1"/>
          </p:cNvPicPr>
          <p:nvPr/>
        </p:nvPicPr>
        <p:blipFill rotWithShape="1">
          <a:blip r:embed="rId2"/>
          <a:srcRect t="17069"/>
          <a:stretch/>
        </p:blipFill>
        <p:spPr>
          <a:xfrm>
            <a:off x="964712" y="76200"/>
            <a:ext cx="10287000" cy="1809637"/>
          </a:xfrm>
          <a:prstGeom prst="rect">
            <a:avLst/>
          </a:prstGeom>
        </p:spPr>
      </p:pic>
      <p:sp>
        <p:nvSpPr>
          <p:cNvPr id="17" name="TextBox 16">
            <a:extLst>
              <a:ext uri="{FF2B5EF4-FFF2-40B4-BE49-F238E27FC236}">
                <a16:creationId xmlns:a16="http://schemas.microsoft.com/office/drawing/2014/main" id="{F1611AD9-A4E2-4E7D-8967-D9F2A15B1326}"/>
              </a:ext>
            </a:extLst>
          </p:cNvPr>
          <p:cNvSpPr txBox="1"/>
          <p:nvPr/>
        </p:nvSpPr>
        <p:spPr>
          <a:xfrm>
            <a:off x="973881" y="192487"/>
            <a:ext cx="10262576" cy="584775"/>
          </a:xfrm>
          <a:prstGeom prst="rect">
            <a:avLst/>
          </a:prstGeom>
          <a:noFill/>
        </p:spPr>
        <p:txBody>
          <a:bodyPr wrap="square" rtlCol="0">
            <a:spAutoFit/>
          </a:bodyPr>
          <a:lstStyle/>
          <a:p>
            <a:pPr marL="0" marR="0" lvl="0" indent="0" algn="ctr" defTabSz="83796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409" normalizeH="0" baseline="0" noProof="0" dirty="0">
                <a:ln>
                  <a:noFill/>
                </a:ln>
                <a:solidFill>
                  <a:schemeClr val="bg1"/>
                </a:solidFill>
                <a:effectLst/>
                <a:uLnTx/>
                <a:uFillTx/>
                <a:latin typeface="Arial" panose="020B0604020202020204" pitchFamily="34" charset="0"/>
                <a:ea typeface="+mn-ea"/>
                <a:cs typeface="+mn-cs"/>
              </a:rPr>
              <a:t>Elevating managed security</a:t>
            </a:r>
          </a:p>
        </p:txBody>
      </p:sp>
      <p:sp>
        <p:nvSpPr>
          <p:cNvPr id="25" name="Rectangle 24">
            <a:extLst>
              <a:ext uri="{FF2B5EF4-FFF2-40B4-BE49-F238E27FC236}">
                <a16:creationId xmlns:a16="http://schemas.microsoft.com/office/drawing/2014/main" id="{3FA680F2-1053-44F7-8D88-8939A3B5903D}"/>
              </a:ext>
            </a:extLst>
          </p:cNvPr>
          <p:cNvSpPr/>
          <p:nvPr/>
        </p:nvSpPr>
        <p:spPr>
          <a:xfrm>
            <a:off x="4436599" y="2101291"/>
            <a:ext cx="3337140" cy="1165612"/>
          </a:xfrm>
          <a:prstGeom prst="rect">
            <a:avLst/>
          </a:prstGeom>
          <a:solidFill>
            <a:srgbClr val="3F9C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806" marR="0" lvl="0" indent="-233806" algn="ctr" defTabSz="83796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4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665BFA9E-B723-4134-A6B3-09784633DCA6}"/>
              </a:ext>
            </a:extLst>
          </p:cNvPr>
          <p:cNvSpPr/>
          <p:nvPr/>
        </p:nvSpPr>
        <p:spPr>
          <a:xfrm>
            <a:off x="7914573" y="2101291"/>
            <a:ext cx="3337140" cy="1165612"/>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806" marR="0" lvl="0" indent="-233806" algn="ctr" defTabSz="83796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4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913509E1-14A3-485F-A6E6-C8ADE1AC983D}"/>
              </a:ext>
            </a:extLst>
          </p:cNvPr>
          <p:cNvSpPr/>
          <p:nvPr/>
        </p:nvSpPr>
        <p:spPr>
          <a:xfrm>
            <a:off x="964713" y="2115612"/>
            <a:ext cx="3337140" cy="1151291"/>
          </a:xfrm>
          <a:prstGeom prst="rect">
            <a:avLst/>
          </a:prstGeom>
          <a:solidFill>
            <a:srgbClr val="009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806" marR="0" lvl="0" indent="-233806" algn="ctr" defTabSz="83796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4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133BDC64-77D8-4371-A275-F861AD435CEE}"/>
              </a:ext>
            </a:extLst>
          </p:cNvPr>
          <p:cNvSpPr txBox="1"/>
          <p:nvPr/>
        </p:nvSpPr>
        <p:spPr>
          <a:xfrm>
            <a:off x="958626" y="2231649"/>
            <a:ext cx="3337140" cy="281295"/>
          </a:xfrm>
          <a:prstGeom prst="rect">
            <a:avLst/>
          </a:prstGeom>
          <a:noFill/>
        </p:spPr>
        <p:txBody>
          <a:bodyPr wrap="square" rtlCol="0">
            <a:spAutoFit/>
          </a:bodyPr>
          <a:lstStyle/>
          <a:p>
            <a:pPr marL="0" marR="0" lvl="0" indent="0" algn="ctr" defTabSz="837962" rtl="0" eaLnBrk="1" fontAlgn="auto" latinLnBrk="0" hangingPunct="1">
              <a:lnSpc>
                <a:spcPct val="100000"/>
              </a:lnSpc>
              <a:spcBef>
                <a:spcPts val="0"/>
              </a:spcBef>
              <a:spcAft>
                <a:spcPts val="0"/>
              </a:spcAft>
              <a:buClrTx/>
              <a:buSzTx/>
              <a:buFontTx/>
              <a:buNone/>
              <a:tabLst/>
              <a:defRPr/>
            </a:pPr>
            <a:r>
              <a:rPr kumimoji="0" lang="en-US" sz="1228" b="1" i="0" u="none" strike="noStrike" kern="1200" cap="none" spc="545" normalizeH="0" baseline="0" noProof="0" dirty="0">
                <a:ln>
                  <a:noFill/>
                </a:ln>
                <a:solidFill>
                  <a:prstClr val="white"/>
                </a:solidFill>
                <a:effectLst/>
                <a:uLnTx/>
                <a:uFillTx/>
                <a:latin typeface="Arial" panose="020B0604020202020204" pitchFamily="34" charset="0"/>
                <a:ea typeface="+mn-ea"/>
                <a:cs typeface="Arial Bold" panose="020B0704020202020204" pitchFamily="34" charset="0"/>
              </a:rPr>
              <a:t>ALWAYS ON</a:t>
            </a:r>
          </a:p>
        </p:txBody>
      </p:sp>
      <p:cxnSp>
        <p:nvCxnSpPr>
          <p:cNvPr id="19" name="Straight Connector 18">
            <a:extLst>
              <a:ext uri="{FF2B5EF4-FFF2-40B4-BE49-F238E27FC236}">
                <a16:creationId xmlns:a16="http://schemas.microsoft.com/office/drawing/2014/main" id="{78446F6E-7D61-4368-A1E0-1E9B7E65D6E9}"/>
              </a:ext>
            </a:extLst>
          </p:cNvPr>
          <p:cNvCxnSpPr/>
          <p:nvPr/>
        </p:nvCxnSpPr>
        <p:spPr>
          <a:xfrm>
            <a:off x="1106837" y="2528084"/>
            <a:ext cx="3030644" cy="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F86EB459-C52C-42C2-A7C2-884EA057552E}"/>
              </a:ext>
            </a:extLst>
          </p:cNvPr>
          <p:cNvSpPr txBox="1"/>
          <p:nvPr/>
        </p:nvSpPr>
        <p:spPr>
          <a:xfrm>
            <a:off x="4433291" y="2231649"/>
            <a:ext cx="3337140" cy="281295"/>
          </a:xfrm>
          <a:prstGeom prst="rect">
            <a:avLst/>
          </a:prstGeom>
          <a:noFill/>
        </p:spPr>
        <p:txBody>
          <a:bodyPr wrap="square" rtlCol="0">
            <a:spAutoFit/>
          </a:bodyPr>
          <a:lstStyle/>
          <a:p>
            <a:pPr marL="0" marR="0" lvl="0" indent="0" algn="ctr" defTabSz="837962" rtl="0" eaLnBrk="1" fontAlgn="auto" latinLnBrk="0" hangingPunct="1">
              <a:lnSpc>
                <a:spcPct val="100000"/>
              </a:lnSpc>
              <a:spcBef>
                <a:spcPts val="0"/>
              </a:spcBef>
              <a:spcAft>
                <a:spcPts val="0"/>
              </a:spcAft>
              <a:buClrTx/>
              <a:buSzTx/>
              <a:buFontTx/>
              <a:buNone/>
              <a:tabLst/>
              <a:defRPr/>
            </a:pPr>
            <a:r>
              <a:rPr kumimoji="0" lang="en-US" sz="1228" b="1" i="0" u="none" strike="noStrike" kern="1200" cap="none" spc="545" normalizeH="0" baseline="0" noProof="0">
                <a:ln>
                  <a:noFill/>
                </a:ln>
                <a:solidFill>
                  <a:prstClr val="white"/>
                </a:solidFill>
                <a:effectLst/>
                <a:uLnTx/>
                <a:uFillTx/>
                <a:latin typeface="Arial" panose="020B0604020202020204" pitchFamily="34" charset="0"/>
                <a:ea typeface="+mn-ea"/>
                <a:cs typeface="Arial Bold" panose="020B0704020202020204" pitchFamily="34" charset="0"/>
              </a:rPr>
              <a:t>FOREVER VIGILANT</a:t>
            </a:r>
          </a:p>
        </p:txBody>
      </p:sp>
      <p:cxnSp>
        <p:nvCxnSpPr>
          <p:cNvPr id="40" name="Straight Connector 39">
            <a:extLst>
              <a:ext uri="{FF2B5EF4-FFF2-40B4-BE49-F238E27FC236}">
                <a16:creationId xmlns:a16="http://schemas.microsoft.com/office/drawing/2014/main" id="{490EDFAA-10E5-4574-ADD5-444331284976}"/>
              </a:ext>
            </a:extLst>
          </p:cNvPr>
          <p:cNvCxnSpPr/>
          <p:nvPr/>
        </p:nvCxnSpPr>
        <p:spPr>
          <a:xfrm>
            <a:off x="4581502" y="2528084"/>
            <a:ext cx="3030644" cy="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1E6E2D70-ED9A-49C3-9A61-6727FD2A7171}"/>
              </a:ext>
            </a:extLst>
          </p:cNvPr>
          <p:cNvSpPr txBox="1"/>
          <p:nvPr/>
        </p:nvSpPr>
        <p:spPr>
          <a:xfrm>
            <a:off x="7935991" y="2230868"/>
            <a:ext cx="3337140" cy="281295"/>
          </a:xfrm>
          <a:prstGeom prst="rect">
            <a:avLst/>
          </a:prstGeom>
          <a:noFill/>
        </p:spPr>
        <p:txBody>
          <a:bodyPr wrap="square" rtlCol="0">
            <a:spAutoFit/>
          </a:bodyPr>
          <a:lstStyle/>
          <a:p>
            <a:pPr marL="0" marR="0" lvl="0" indent="0" algn="ctr" defTabSz="837962" rtl="0" eaLnBrk="1" fontAlgn="auto" latinLnBrk="0" hangingPunct="1">
              <a:lnSpc>
                <a:spcPct val="100000"/>
              </a:lnSpc>
              <a:spcBef>
                <a:spcPts val="0"/>
              </a:spcBef>
              <a:spcAft>
                <a:spcPts val="0"/>
              </a:spcAft>
              <a:buClrTx/>
              <a:buSzTx/>
              <a:buFontTx/>
              <a:buNone/>
              <a:tabLst/>
              <a:defRPr/>
            </a:pPr>
            <a:r>
              <a:rPr kumimoji="0" lang="en-US" sz="1228" b="1" i="0" u="none" strike="noStrike" kern="1200" cap="none" spc="545" normalizeH="0" baseline="0" noProof="0">
                <a:ln>
                  <a:noFill/>
                </a:ln>
                <a:solidFill>
                  <a:prstClr val="white"/>
                </a:solidFill>
                <a:effectLst/>
                <a:uLnTx/>
                <a:uFillTx/>
                <a:latin typeface="Arial" panose="020B0604020202020204" pitchFamily="34" charset="0"/>
                <a:ea typeface="+mn-ea"/>
                <a:cs typeface="Arial Bold" panose="020B0704020202020204" pitchFamily="34" charset="0"/>
              </a:rPr>
              <a:t>INFORMED RESPONSE</a:t>
            </a:r>
          </a:p>
        </p:txBody>
      </p:sp>
      <p:cxnSp>
        <p:nvCxnSpPr>
          <p:cNvPr id="42" name="Straight Connector 41">
            <a:extLst>
              <a:ext uri="{FF2B5EF4-FFF2-40B4-BE49-F238E27FC236}">
                <a16:creationId xmlns:a16="http://schemas.microsoft.com/office/drawing/2014/main" id="{6E306241-CAD7-4DA0-B441-9FA58CEA0BE8}"/>
              </a:ext>
            </a:extLst>
          </p:cNvPr>
          <p:cNvCxnSpPr/>
          <p:nvPr/>
        </p:nvCxnSpPr>
        <p:spPr>
          <a:xfrm>
            <a:off x="8065865" y="2527303"/>
            <a:ext cx="3030644" cy="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4414597A-49EB-4DBE-8DFE-9E9DE33E7066}"/>
              </a:ext>
            </a:extLst>
          </p:cNvPr>
          <p:cNvSpPr txBox="1"/>
          <p:nvPr/>
        </p:nvSpPr>
        <p:spPr>
          <a:xfrm>
            <a:off x="1134342" y="2582918"/>
            <a:ext cx="3030644" cy="595932"/>
          </a:xfrm>
          <a:prstGeom prst="rect">
            <a:avLst/>
          </a:prstGeom>
          <a:noFill/>
        </p:spPr>
        <p:txBody>
          <a:bodyPr wrap="square" rtlCol="0">
            <a:spAutoFit/>
          </a:bodyPr>
          <a:lstStyle/>
          <a:p>
            <a:pPr marL="0" marR="0" lvl="0" indent="0" algn="l" defTabSz="837962" rtl="0" eaLnBrk="1" fontAlgn="auto" latinLnBrk="0" hangingPunct="1">
              <a:lnSpc>
                <a:spcPct val="100000"/>
              </a:lnSpc>
              <a:spcBef>
                <a:spcPts val="0"/>
              </a:spcBef>
              <a:spcAft>
                <a:spcPts val="0"/>
              </a:spcAft>
              <a:buClrTx/>
              <a:buSzTx/>
              <a:buFontTx/>
              <a:buNone/>
              <a:tabLst/>
              <a:defRPr/>
            </a:pPr>
            <a:r>
              <a:rPr kumimoji="0" lang="en-US" sz="1091" b="0" i="0" u="none" strike="noStrike" kern="1200" cap="none" spc="0" normalizeH="0" baseline="0" noProof="0" dirty="0">
                <a:ln>
                  <a:noFill/>
                </a:ln>
                <a:solidFill>
                  <a:prstClr val="white"/>
                </a:solidFill>
                <a:effectLst/>
                <a:uLnTx/>
                <a:uFillTx/>
                <a:latin typeface="Arial" panose="020B0604020202020204" pitchFamily="34" charset="0"/>
                <a:ea typeface="Times New Roman" panose="02020603050405020304" pitchFamily="18" charset="0"/>
                <a:cs typeface="Times New Roman" panose="02020603050405020304" pitchFamily="18" charset="0"/>
              </a:rPr>
              <a:t>24x7 security analysts monitoring our clients’ environments for suspicious and confirmed threats</a:t>
            </a:r>
            <a:endParaRPr kumimoji="0" lang="en-US" sz="1091"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5A372C57-ACF2-41EB-9E9C-12A580C8BDEC}"/>
              </a:ext>
            </a:extLst>
          </p:cNvPr>
          <p:cNvSpPr txBox="1"/>
          <p:nvPr/>
        </p:nvSpPr>
        <p:spPr>
          <a:xfrm>
            <a:off x="4592891" y="2582918"/>
            <a:ext cx="3030644" cy="595932"/>
          </a:xfrm>
          <a:prstGeom prst="rect">
            <a:avLst/>
          </a:prstGeom>
          <a:noFill/>
        </p:spPr>
        <p:txBody>
          <a:bodyPr wrap="square" rtlCol="0">
            <a:spAutoFit/>
          </a:bodyPr>
          <a:lstStyle/>
          <a:p>
            <a:pPr marL="0" marR="0" lvl="0" indent="0" algn="l" defTabSz="837962" rtl="0" eaLnBrk="1" fontAlgn="auto" latinLnBrk="0" hangingPunct="1">
              <a:lnSpc>
                <a:spcPct val="100000"/>
              </a:lnSpc>
              <a:spcBef>
                <a:spcPts val="0"/>
              </a:spcBef>
              <a:spcAft>
                <a:spcPts val="0"/>
              </a:spcAft>
              <a:buClrTx/>
              <a:buSzTx/>
              <a:buFontTx/>
              <a:buNone/>
              <a:tabLst/>
              <a:defRPr/>
            </a:pPr>
            <a:r>
              <a:rPr kumimoji="0" lang="en-US" sz="1091" b="0" i="0" u="none" strike="noStrike" kern="1200" cap="none" spc="0" normalizeH="0" baseline="0" noProof="0" dirty="0">
                <a:ln>
                  <a:noFill/>
                </a:ln>
                <a:solidFill>
                  <a:prstClr val="white"/>
                </a:solidFill>
                <a:effectLst/>
                <a:uLnTx/>
                <a:uFillTx/>
                <a:latin typeface="Arial" panose="020B0604020202020204" pitchFamily="34" charset="0"/>
                <a:ea typeface="Times New Roman" panose="02020603050405020304" pitchFamily="18" charset="0"/>
                <a:cs typeface="Times New Roman" panose="02020603050405020304" pitchFamily="18" charset="0"/>
              </a:rPr>
              <a:t>Leveraging automation workflows, reducing MTTD and dwell time for our clients to speed in faster response and recovery</a:t>
            </a:r>
            <a:endParaRPr kumimoji="0" lang="en-US" sz="1091"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5" name="TextBox 44">
            <a:extLst>
              <a:ext uri="{FF2B5EF4-FFF2-40B4-BE49-F238E27FC236}">
                <a16:creationId xmlns:a16="http://schemas.microsoft.com/office/drawing/2014/main" id="{571A34FC-EDFC-419D-9888-428A1000D26B}"/>
              </a:ext>
            </a:extLst>
          </p:cNvPr>
          <p:cNvSpPr txBox="1"/>
          <p:nvPr/>
        </p:nvSpPr>
        <p:spPr>
          <a:xfrm>
            <a:off x="8069157" y="2582918"/>
            <a:ext cx="3030644" cy="595932"/>
          </a:xfrm>
          <a:prstGeom prst="rect">
            <a:avLst/>
          </a:prstGeom>
          <a:noFill/>
        </p:spPr>
        <p:txBody>
          <a:bodyPr wrap="square" rtlCol="0">
            <a:spAutoFit/>
          </a:bodyPr>
          <a:lstStyle/>
          <a:p>
            <a:pPr marL="0" marR="0" lvl="0" indent="0" algn="l" defTabSz="837962" rtl="0" eaLnBrk="1" fontAlgn="auto" latinLnBrk="0" hangingPunct="1">
              <a:lnSpc>
                <a:spcPct val="100000"/>
              </a:lnSpc>
              <a:spcBef>
                <a:spcPts val="0"/>
              </a:spcBef>
              <a:spcAft>
                <a:spcPts val="0"/>
              </a:spcAft>
              <a:buClrTx/>
              <a:buSzTx/>
              <a:buFontTx/>
              <a:buNone/>
              <a:tabLst/>
              <a:defRPr/>
            </a:pPr>
            <a:r>
              <a:rPr kumimoji="0" lang="en-US" sz="1091" b="0" i="0" u="none" strike="noStrike" kern="1200" cap="none" spc="0" normalizeH="0" baseline="0" noProof="0" dirty="0">
                <a:ln>
                  <a:noFill/>
                </a:ln>
                <a:solidFill>
                  <a:prstClr val="white"/>
                </a:solidFill>
                <a:effectLst/>
                <a:uLnTx/>
                <a:uFillTx/>
                <a:latin typeface="Arial" panose="020B0604020202020204" pitchFamily="34" charset="0"/>
                <a:ea typeface="Times New Roman" panose="02020603050405020304" pitchFamily="18" charset="0"/>
                <a:cs typeface="Times New Roman" panose="02020603050405020304" pitchFamily="18" charset="0"/>
              </a:rPr>
              <a:t>Threat intelligence is integrated into everything we do, aids in prioritizing risks, and determining the correct course of action</a:t>
            </a:r>
            <a:endParaRPr kumimoji="0" lang="en-US" sz="1091"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19" name="Group 118">
            <a:extLst>
              <a:ext uri="{FF2B5EF4-FFF2-40B4-BE49-F238E27FC236}">
                <a16:creationId xmlns:a16="http://schemas.microsoft.com/office/drawing/2014/main" id="{E75F81D3-222A-4CF6-81C4-B0AC98DF7D28}"/>
              </a:ext>
            </a:extLst>
          </p:cNvPr>
          <p:cNvGrpSpPr/>
          <p:nvPr/>
        </p:nvGrpSpPr>
        <p:grpSpPr>
          <a:xfrm>
            <a:off x="955276" y="3530548"/>
            <a:ext cx="10281449" cy="340304"/>
            <a:chOff x="232672" y="5178198"/>
            <a:chExt cx="15079458" cy="499113"/>
          </a:xfrm>
        </p:grpSpPr>
        <p:sp>
          <p:nvSpPr>
            <p:cNvPr id="23" name="Isosceles Triangle 22">
              <a:extLst>
                <a:ext uri="{FF2B5EF4-FFF2-40B4-BE49-F238E27FC236}">
                  <a16:creationId xmlns:a16="http://schemas.microsoft.com/office/drawing/2014/main" id="{0B2B3E86-8751-4188-8043-F33514C797A0}"/>
                </a:ext>
              </a:extLst>
            </p:cNvPr>
            <p:cNvSpPr/>
            <p:nvPr/>
          </p:nvSpPr>
          <p:spPr>
            <a:xfrm rot="10800000">
              <a:off x="6873805" y="5522888"/>
              <a:ext cx="1833008" cy="154423"/>
            </a:xfrm>
            <a:prstGeom prst="triangle">
              <a:avLst/>
            </a:prstGeom>
            <a:solidFill>
              <a:srgbClr val="888B8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7962"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9ABF3E93-1C48-4805-ABBA-06344A0B260A}"/>
                </a:ext>
              </a:extLst>
            </p:cNvPr>
            <p:cNvGrpSpPr/>
            <p:nvPr/>
          </p:nvGrpSpPr>
          <p:grpSpPr>
            <a:xfrm>
              <a:off x="232672" y="5178198"/>
              <a:ext cx="15079458" cy="412566"/>
              <a:chOff x="232672" y="5178198"/>
              <a:chExt cx="15079458" cy="412566"/>
            </a:xfrm>
          </p:grpSpPr>
          <p:sp>
            <p:nvSpPr>
              <p:cNvPr id="46" name="TextBox 45">
                <a:extLst>
                  <a:ext uri="{FF2B5EF4-FFF2-40B4-BE49-F238E27FC236}">
                    <a16:creationId xmlns:a16="http://schemas.microsoft.com/office/drawing/2014/main" id="{8BF1CED7-D050-4FDE-9258-ED14D47E8555}"/>
                  </a:ext>
                </a:extLst>
              </p:cNvPr>
              <p:cNvSpPr txBox="1"/>
              <p:nvPr/>
            </p:nvSpPr>
            <p:spPr>
              <a:xfrm>
                <a:off x="232672" y="5178198"/>
                <a:ext cx="15079458" cy="412566"/>
              </a:xfrm>
              <a:prstGeom prst="rect">
                <a:avLst/>
              </a:prstGeom>
              <a:noFill/>
            </p:spPr>
            <p:txBody>
              <a:bodyPr wrap="square" rtlCol="0">
                <a:spAutoFit/>
              </a:bodyPr>
              <a:lstStyle/>
              <a:p>
                <a:pPr marL="0" marR="0" lvl="0" indent="0" algn="ctr" defTabSz="837962" rtl="0" eaLnBrk="1" fontAlgn="auto" latinLnBrk="0" hangingPunct="1">
                  <a:lnSpc>
                    <a:spcPct val="100000"/>
                  </a:lnSpc>
                  <a:spcBef>
                    <a:spcPts val="0"/>
                  </a:spcBef>
                  <a:spcAft>
                    <a:spcPts val="0"/>
                  </a:spcAft>
                  <a:buClrTx/>
                  <a:buSzTx/>
                  <a:buFontTx/>
                  <a:buNone/>
                  <a:tabLst/>
                  <a:defRPr/>
                </a:pPr>
                <a:r>
                  <a:rPr kumimoji="0" lang="en-US" sz="1228" b="1" i="0" u="none" strike="noStrike" kern="1200" cap="none" spc="545" normalizeH="0" baseline="0" noProof="0" dirty="0">
                    <a:ln>
                      <a:noFill/>
                    </a:ln>
                    <a:solidFill>
                      <a:schemeClr val="bg1"/>
                    </a:solidFill>
                    <a:effectLst/>
                    <a:uLnTx/>
                    <a:uFillTx/>
                    <a:latin typeface="Arial" panose="020B0604020202020204" pitchFamily="34" charset="0"/>
                    <a:ea typeface="+mn-ea"/>
                    <a:cs typeface="Arial Bold" panose="020B0704020202020204" pitchFamily="34" charset="0"/>
                  </a:rPr>
                  <a:t>CAPABILITIES</a:t>
                </a:r>
              </a:p>
            </p:txBody>
          </p:sp>
          <p:cxnSp>
            <p:nvCxnSpPr>
              <p:cNvPr id="48" name="Straight Connector 47">
                <a:extLst>
                  <a:ext uri="{FF2B5EF4-FFF2-40B4-BE49-F238E27FC236}">
                    <a16:creationId xmlns:a16="http://schemas.microsoft.com/office/drawing/2014/main" id="{20D84268-C158-42CE-B5AC-F237179DE9BA}"/>
                  </a:ext>
                </a:extLst>
              </p:cNvPr>
              <p:cNvCxnSpPr/>
              <p:nvPr/>
            </p:nvCxnSpPr>
            <p:spPr>
              <a:xfrm flipH="1">
                <a:off x="495301" y="5348614"/>
                <a:ext cx="5780239" cy="0"/>
              </a:xfrm>
              <a:prstGeom prst="line">
                <a:avLst/>
              </a:prstGeom>
              <a:ln>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DAE2EDA-D26F-4328-B463-57329EF32A1A}"/>
                  </a:ext>
                </a:extLst>
              </p:cNvPr>
              <p:cNvCxnSpPr/>
              <p:nvPr/>
            </p:nvCxnSpPr>
            <p:spPr>
              <a:xfrm flipH="1">
                <a:off x="9215504" y="5348614"/>
                <a:ext cx="5780239" cy="0"/>
              </a:xfrm>
              <a:prstGeom prst="line">
                <a:avLst/>
              </a:prstGeom>
              <a:ln>
                <a:solidFill>
                  <a:srgbClr val="3F9C35"/>
                </a:solidFill>
              </a:ln>
            </p:spPr>
            <p:style>
              <a:lnRef idx="1">
                <a:schemeClr val="accent1"/>
              </a:lnRef>
              <a:fillRef idx="0">
                <a:schemeClr val="accent1"/>
              </a:fillRef>
              <a:effectRef idx="0">
                <a:schemeClr val="accent1"/>
              </a:effectRef>
              <a:fontRef idx="minor">
                <a:schemeClr val="tx1"/>
              </a:fontRef>
            </p:style>
          </p:cxnSp>
        </p:grpSp>
      </p:grpSp>
      <p:grpSp>
        <p:nvGrpSpPr>
          <p:cNvPr id="13" name="Group 12">
            <a:extLst>
              <a:ext uri="{FF2B5EF4-FFF2-40B4-BE49-F238E27FC236}">
                <a16:creationId xmlns:a16="http://schemas.microsoft.com/office/drawing/2014/main" id="{5C3459C5-C386-6981-DD56-5899BB2EAC7A}"/>
              </a:ext>
            </a:extLst>
          </p:cNvPr>
          <p:cNvGrpSpPr/>
          <p:nvPr/>
        </p:nvGrpSpPr>
        <p:grpSpPr>
          <a:xfrm>
            <a:off x="169783" y="4345057"/>
            <a:ext cx="12102453" cy="2061630"/>
            <a:chOff x="169783" y="3885474"/>
            <a:chExt cx="12102453" cy="2061630"/>
          </a:xfrm>
        </p:grpSpPr>
        <p:sp>
          <p:nvSpPr>
            <p:cNvPr id="75" name="Rectangle 74">
              <a:extLst>
                <a:ext uri="{FF2B5EF4-FFF2-40B4-BE49-F238E27FC236}">
                  <a16:creationId xmlns:a16="http://schemas.microsoft.com/office/drawing/2014/main" id="{A995DC8A-3E06-4B0C-876A-2903E0B49AB1}"/>
                </a:ext>
              </a:extLst>
            </p:cNvPr>
            <p:cNvSpPr/>
            <p:nvPr/>
          </p:nvSpPr>
          <p:spPr>
            <a:xfrm>
              <a:off x="9880427" y="5113182"/>
              <a:ext cx="2391809" cy="246221"/>
            </a:xfrm>
            <a:prstGeom prst="rect">
              <a:avLst/>
            </a:prstGeom>
          </p:spPr>
          <p:txBody>
            <a:bodyPr wrap="square">
              <a:spAutoFit/>
            </a:bodyPr>
            <a:lstStyle/>
            <a:p>
              <a:pPr marL="0" marR="0" lvl="0" indent="0" algn="l" defTabSz="837962" rtl="0" eaLnBrk="1" fontAlgn="auto" latinLnBrk="0" hangingPunct="1">
                <a:lnSpc>
                  <a:spcPts val="1228"/>
                </a:lnSpc>
                <a:spcBef>
                  <a:spcPts val="0"/>
                </a:spcBef>
                <a:spcAft>
                  <a:spcPts val="0"/>
                </a:spcAft>
                <a:buClrTx/>
                <a:buSzTx/>
                <a:buFontTx/>
                <a:buNone/>
                <a:tabLst/>
                <a:defRPr/>
              </a:pPr>
              <a:r>
                <a:rPr kumimoji="0" lang="en-US" sz="1228" b="1" i="0" u="none" strike="noStrike" kern="1200" cap="none" spc="0" normalizeH="0" baseline="0" noProof="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Brand safeguarding</a:t>
              </a:r>
              <a:endParaRPr kumimoji="0" lang="en-US" sz="751"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84" name="Rectangle 83">
              <a:extLst>
                <a:ext uri="{FF2B5EF4-FFF2-40B4-BE49-F238E27FC236}">
                  <a16:creationId xmlns:a16="http://schemas.microsoft.com/office/drawing/2014/main" id="{DA026A60-248A-40DC-A0AE-6044BF489455}"/>
                </a:ext>
              </a:extLst>
            </p:cNvPr>
            <p:cNvSpPr/>
            <p:nvPr/>
          </p:nvSpPr>
          <p:spPr>
            <a:xfrm>
              <a:off x="6890165" y="4058109"/>
              <a:ext cx="2218551" cy="533223"/>
            </a:xfrm>
            <a:prstGeom prst="rect">
              <a:avLst/>
            </a:prstGeom>
          </p:spPr>
          <p:txBody>
            <a:bodyPr wrap="square">
              <a:spAutoFit/>
            </a:bodyPr>
            <a:lstStyle/>
            <a:p>
              <a:pPr defTabSz="837962"/>
              <a:r>
                <a:rPr lang="en-US" sz="955" dirty="0">
                  <a:solidFill>
                    <a:schemeClr val="bg1"/>
                  </a:solidFill>
                  <a:latin typeface="Arial" panose="020B0604020202020204" pitchFamily="34" charset="0"/>
                  <a:cs typeface="Times New Roman" panose="02020603050405020304" pitchFamily="18" charset="0"/>
                </a:rPr>
                <a:t>Fully integrated intelligence sources help influence the decision-making process for our analysts.</a:t>
              </a:r>
            </a:p>
          </p:txBody>
        </p:sp>
        <p:sp>
          <p:nvSpPr>
            <p:cNvPr id="85" name="Rectangle 84">
              <a:extLst>
                <a:ext uri="{FF2B5EF4-FFF2-40B4-BE49-F238E27FC236}">
                  <a16:creationId xmlns:a16="http://schemas.microsoft.com/office/drawing/2014/main" id="{C1056360-1CE4-41D4-A3DA-43791629E3E4}"/>
                </a:ext>
              </a:extLst>
            </p:cNvPr>
            <p:cNvSpPr/>
            <p:nvPr/>
          </p:nvSpPr>
          <p:spPr>
            <a:xfrm>
              <a:off x="6890165" y="3885474"/>
              <a:ext cx="1664072" cy="281295"/>
            </a:xfrm>
            <a:prstGeom prst="rect">
              <a:avLst/>
            </a:prstGeom>
          </p:spPr>
          <p:txBody>
            <a:bodyPr wrap="square">
              <a:spAutoFit/>
            </a:bodyPr>
            <a:lstStyle/>
            <a:p>
              <a:pPr marL="0" marR="0" lvl="0" indent="0" algn="l" defTabSz="837962" rtl="0" eaLnBrk="1" fontAlgn="auto" latinLnBrk="0" hangingPunct="1">
                <a:lnSpc>
                  <a:spcPct val="100000"/>
                </a:lnSpc>
                <a:spcBef>
                  <a:spcPts val="0"/>
                </a:spcBef>
                <a:spcAft>
                  <a:spcPts val="0"/>
                </a:spcAft>
                <a:buClrTx/>
                <a:buSzTx/>
                <a:buFontTx/>
                <a:buNone/>
                <a:tabLst/>
                <a:defRPr/>
              </a:pPr>
              <a:r>
                <a:rPr kumimoji="0" lang="en-US" sz="1228"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Threat intelligence</a:t>
              </a:r>
            </a:p>
          </p:txBody>
        </p:sp>
        <p:sp>
          <p:nvSpPr>
            <p:cNvPr id="87" name="Rectangle 86">
              <a:extLst>
                <a:ext uri="{FF2B5EF4-FFF2-40B4-BE49-F238E27FC236}">
                  <a16:creationId xmlns:a16="http://schemas.microsoft.com/office/drawing/2014/main" id="{A8D0CBD4-89A3-4857-83B0-E341952218FC}"/>
                </a:ext>
              </a:extLst>
            </p:cNvPr>
            <p:cNvSpPr/>
            <p:nvPr/>
          </p:nvSpPr>
          <p:spPr>
            <a:xfrm>
              <a:off x="6914291" y="5266918"/>
              <a:ext cx="2218551" cy="680186"/>
            </a:xfrm>
            <a:prstGeom prst="rect">
              <a:avLst/>
            </a:prstGeom>
          </p:spPr>
          <p:txBody>
            <a:bodyPr wrap="square">
              <a:spAutoFit/>
            </a:bodyPr>
            <a:lstStyle/>
            <a:p>
              <a:pPr defTabSz="837962"/>
              <a:r>
                <a:rPr lang="en-US" sz="955" dirty="0">
                  <a:solidFill>
                    <a:schemeClr val="bg1"/>
                  </a:solidFill>
                  <a:latin typeface="Arial" panose="020B0604020202020204" pitchFamily="34" charset="0"/>
                  <a:cs typeface="Times New Roman" panose="02020603050405020304" pitchFamily="18" charset="0"/>
                </a:rPr>
                <a:t>Providing threat monitoring of clients ICS environments utilizing a lightweight collector meant for plant and healthcare environments</a:t>
              </a:r>
            </a:p>
          </p:txBody>
        </p:sp>
        <p:sp>
          <p:nvSpPr>
            <p:cNvPr id="88" name="Rectangle 87">
              <a:extLst>
                <a:ext uri="{FF2B5EF4-FFF2-40B4-BE49-F238E27FC236}">
                  <a16:creationId xmlns:a16="http://schemas.microsoft.com/office/drawing/2014/main" id="{BC1C3C51-38AC-4E5D-9A49-3C76D527B9D9}"/>
                </a:ext>
              </a:extLst>
            </p:cNvPr>
            <p:cNvSpPr/>
            <p:nvPr/>
          </p:nvSpPr>
          <p:spPr>
            <a:xfrm>
              <a:off x="6914291" y="5095645"/>
              <a:ext cx="1898221" cy="281295"/>
            </a:xfrm>
            <a:prstGeom prst="rect">
              <a:avLst/>
            </a:prstGeom>
          </p:spPr>
          <p:txBody>
            <a:bodyPr wrap="square">
              <a:spAutoFit/>
            </a:bodyPr>
            <a:lstStyle/>
            <a:p>
              <a:pPr marL="0" marR="0" lvl="0" indent="0" algn="l" defTabSz="837962" rtl="0" eaLnBrk="1" fontAlgn="auto" latinLnBrk="0" hangingPunct="1">
                <a:lnSpc>
                  <a:spcPct val="100000"/>
                </a:lnSpc>
                <a:spcBef>
                  <a:spcPts val="0"/>
                </a:spcBef>
                <a:spcAft>
                  <a:spcPts val="0"/>
                </a:spcAft>
                <a:buClrTx/>
                <a:buSzTx/>
                <a:buFontTx/>
                <a:buNone/>
                <a:tabLst/>
                <a:defRPr/>
              </a:pPr>
              <a:r>
                <a:rPr kumimoji="0" lang="en-US" sz="1228"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IoT/device monitoring</a:t>
              </a:r>
            </a:p>
          </p:txBody>
        </p:sp>
        <p:sp>
          <p:nvSpPr>
            <p:cNvPr id="90" name="Rectangle 89">
              <a:extLst>
                <a:ext uri="{FF2B5EF4-FFF2-40B4-BE49-F238E27FC236}">
                  <a16:creationId xmlns:a16="http://schemas.microsoft.com/office/drawing/2014/main" id="{664D78C7-CDB5-4D31-9B64-C25CCCD057B8}"/>
                </a:ext>
              </a:extLst>
            </p:cNvPr>
            <p:cNvSpPr/>
            <p:nvPr/>
          </p:nvSpPr>
          <p:spPr>
            <a:xfrm>
              <a:off x="9880429" y="4058109"/>
              <a:ext cx="2218551" cy="533223"/>
            </a:xfrm>
            <a:prstGeom prst="rect">
              <a:avLst/>
            </a:prstGeom>
          </p:spPr>
          <p:txBody>
            <a:bodyPr wrap="square">
              <a:spAutoFit/>
            </a:bodyPr>
            <a:lstStyle/>
            <a:p>
              <a:pPr defTabSz="837962"/>
              <a:r>
                <a:rPr lang="en-US" sz="955" dirty="0">
                  <a:solidFill>
                    <a:schemeClr val="bg1"/>
                  </a:solidFill>
                  <a:latin typeface="Arial" panose="020B0604020202020204" pitchFamily="34" charset="0"/>
                  <a:cs typeface="Times New Roman" panose="02020603050405020304" pitchFamily="18" charset="0"/>
                </a:rPr>
                <a:t>Collecting NetFlow to provide additional intelligence in threat investigations</a:t>
              </a:r>
            </a:p>
          </p:txBody>
        </p:sp>
        <p:sp>
          <p:nvSpPr>
            <p:cNvPr id="91" name="Rectangle 90">
              <a:extLst>
                <a:ext uri="{FF2B5EF4-FFF2-40B4-BE49-F238E27FC236}">
                  <a16:creationId xmlns:a16="http://schemas.microsoft.com/office/drawing/2014/main" id="{A187D167-C705-4089-AC5E-D293D47859E3}"/>
                </a:ext>
              </a:extLst>
            </p:cNvPr>
            <p:cNvSpPr/>
            <p:nvPr/>
          </p:nvSpPr>
          <p:spPr>
            <a:xfrm>
              <a:off x="9880427" y="3903011"/>
              <a:ext cx="2114881" cy="246221"/>
            </a:xfrm>
            <a:prstGeom prst="rect">
              <a:avLst/>
            </a:prstGeom>
          </p:spPr>
          <p:txBody>
            <a:bodyPr wrap="square">
              <a:spAutoFit/>
            </a:bodyPr>
            <a:lstStyle/>
            <a:p>
              <a:pPr marL="0" marR="0" lvl="0" indent="0" algn="l" defTabSz="837962" rtl="0" eaLnBrk="1" fontAlgn="auto" latinLnBrk="0" hangingPunct="1">
                <a:lnSpc>
                  <a:spcPts val="1228"/>
                </a:lnSpc>
                <a:spcBef>
                  <a:spcPts val="0"/>
                </a:spcBef>
                <a:spcAft>
                  <a:spcPts val="0"/>
                </a:spcAft>
                <a:buClrTx/>
                <a:buSzTx/>
                <a:buFontTx/>
                <a:buNone/>
                <a:tabLst/>
                <a:defRPr/>
              </a:pPr>
              <a:r>
                <a:rPr kumimoji="0" lang="en-US" sz="1228" b="1" i="0" u="none" strike="noStrike" kern="1200" cap="none" spc="0" normalizeH="0" baseline="0" noProof="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Network Traffic Analyses</a:t>
              </a:r>
              <a:endParaRPr kumimoji="0" lang="en-US" sz="751"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96" name="Rectangle 95">
              <a:extLst>
                <a:ext uri="{FF2B5EF4-FFF2-40B4-BE49-F238E27FC236}">
                  <a16:creationId xmlns:a16="http://schemas.microsoft.com/office/drawing/2014/main" id="{A4CBC46E-7B56-4A17-9962-FE02CFEB3DD6}"/>
                </a:ext>
              </a:extLst>
            </p:cNvPr>
            <p:cNvSpPr/>
            <p:nvPr/>
          </p:nvSpPr>
          <p:spPr>
            <a:xfrm>
              <a:off x="3942277" y="5266918"/>
              <a:ext cx="2218551" cy="680186"/>
            </a:xfrm>
            <a:prstGeom prst="rect">
              <a:avLst/>
            </a:prstGeom>
          </p:spPr>
          <p:txBody>
            <a:bodyPr wrap="square">
              <a:spAutoFit/>
            </a:bodyPr>
            <a:lstStyle/>
            <a:p>
              <a:pPr defTabSz="837962"/>
              <a:r>
                <a:rPr lang="en-US" sz="955" dirty="0">
                  <a:solidFill>
                    <a:schemeClr val="bg1"/>
                  </a:solidFill>
                  <a:latin typeface="Arial" panose="020B0604020202020204" pitchFamily="34" charset="0"/>
                  <a:cs typeface="Times New Roman" panose="02020603050405020304" pitchFamily="18" charset="0"/>
                </a:rPr>
                <a:t>Identifying risks, behaviors, and anomalies affecting your endpoints.  Continuous hunting, tuning, and informed response.</a:t>
              </a:r>
            </a:p>
          </p:txBody>
        </p:sp>
        <p:sp>
          <p:nvSpPr>
            <p:cNvPr id="97" name="Rectangle 96">
              <a:extLst>
                <a:ext uri="{FF2B5EF4-FFF2-40B4-BE49-F238E27FC236}">
                  <a16:creationId xmlns:a16="http://schemas.microsoft.com/office/drawing/2014/main" id="{2C385948-1C9A-48C6-B47A-27F307FE722B}"/>
                </a:ext>
              </a:extLst>
            </p:cNvPr>
            <p:cNvSpPr/>
            <p:nvPr/>
          </p:nvSpPr>
          <p:spPr>
            <a:xfrm>
              <a:off x="3949837" y="5113182"/>
              <a:ext cx="2705611" cy="246221"/>
            </a:xfrm>
            <a:prstGeom prst="rect">
              <a:avLst/>
            </a:prstGeom>
          </p:spPr>
          <p:txBody>
            <a:bodyPr wrap="square">
              <a:spAutoFit/>
            </a:bodyPr>
            <a:lstStyle/>
            <a:p>
              <a:pPr marL="0" marR="0" lvl="0" indent="0" algn="l" defTabSz="837962" rtl="0" eaLnBrk="1" fontAlgn="auto" latinLnBrk="0" hangingPunct="1">
                <a:lnSpc>
                  <a:spcPts val="1228"/>
                </a:lnSpc>
                <a:spcBef>
                  <a:spcPts val="0"/>
                </a:spcBef>
                <a:spcAft>
                  <a:spcPts val="0"/>
                </a:spcAft>
                <a:buClrTx/>
                <a:buSzTx/>
                <a:buFontTx/>
                <a:buNone/>
                <a:tabLst/>
                <a:defRPr/>
              </a:pPr>
              <a:r>
                <a:rPr kumimoji="0" lang="en-US" sz="1228" b="1" i="0" u="none" strike="noStrike" kern="1200" cap="none" spc="0" normalizeH="0" baseline="0" noProof="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Endpoint security</a:t>
              </a:r>
              <a:endParaRPr kumimoji="0" lang="en-US" sz="751"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99" name="Rectangle 98">
              <a:extLst>
                <a:ext uri="{FF2B5EF4-FFF2-40B4-BE49-F238E27FC236}">
                  <a16:creationId xmlns:a16="http://schemas.microsoft.com/office/drawing/2014/main" id="{34386911-20B4-40CD-A843-3D778C1346CF}"/>
                </a:ext>
              </a:extLst>
            </p:cNvPr>
            <p:cNvSpPr/>
            <p:nvPr/>
          </p:nvSpPr>
          <p:spPr>
            <a:xfrm>
              <a:off x="909635" y="4058109"/>
              <a:ext cx="2218551" cy="680186"/>
            </a:xfrm>
            <a:prstGeom prst="rect">
              <a:avLst/>
            </a:prstGeom>
          </p:spPr>
          <p:txBody>
            <a:bodyPr wrap="square">
              <a:spAutoFit/>
            </a:bodyPr>
            <a:lstStyle/>
            <a:p>
              <a:pPr marL="0" marR="0" lvl="0" indent="0" algn="l" defTabSz="837962" rtl="0" eaLnBrk="1" fontAlgn="auto" latinLnBrk="0" hangingPunct="1">
                <a:lnSpc>
                  <a:spcPct val="100000"/>
                </a:lnSpc>
                <a:spcBef>
                  <a:spcPts val="0"/>
                </a:spcBef>
                <a:spcAft>
                  <a:spcPts val="0"/>
                </a:spcAft>
                <a:buClrTx/>
                <a:buSzTx/>
                <a:buFontTx/>
                <a:buNone/>
                <a:tabLst/>
                <a:defRPr/>
              </a:pPr>
              <a:r>
                <a:rPr kumimoji="0" lang="en-US" sz="955" b="0"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Real-time security monitoring of client environments, correlating events, and analyzing potential threats leveraging our </a:t>
              </a:r>
              <a:r>
                <a:rPr lang="en-US" sz="955" dirty="0">
                  <a:solidFill>
                    <a:schemeClr val="bg1"/>
                  </a:solidFill>
                  <a:latin typeface="Arial" panose="020B0604020202020204" pitchFamily="34" charset="0"/>
                  <a:ea typeface="Times New Roman" panose="02020603050405020304" pitchFamily="18" charset="0"/>
                  <a:cs typeface="Times New Roman" panose="02020603050405020304" pitchFamily="18" charset="0"/>
                </a:rPr>
                <a:t>SaaS XDR Service</a:t>
              </a:r>
              <a:endParaRPr kumimoji="0" lang="en-US" sz="751"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00" name="Rectangle 99">
              <a:extLst>
                <a:ext uri="{FF2B5EF4-FFF2-40B4-BE49-F238E27FC236}">
                  <a16:creationId xmlns:a16="http://schemas.microsoft.com/office/drawing/2014/main" id="{278AA30C-ABF9-40C3-AF6A-BF53250E42B2}"/>
                </a:ext>
              </a:extLst>
            </p:cNvPr>
            <p:cNvSpPr/>
            <p:nvPr/>
          </p:nvSpPr>
          <p:spPr>
            <a:xfrm>
              <a:off x="887841" y="3903011"/>
              <a:ext cx="2225617" cy="246221"/>
            </a:xfrm>
            <a:prstGeom prst="rect">
              <a:avLst/>
            </a:prstGeom>
          </p:spPr>
          <p:txBody>
            <a:bodyPr wrap="square">
              <a:spAutoFit/>
            </a:bodyPr>
            <a:lstStyle/>
            <a:p>
              <a:pPr marL="0" marR="0" lvl="0" indent="0" algn="l" defTabSz="837962" rtl="0" eaLnBrk="1" fontAlgn="auto" latinLnBrk="0" hangingPunct="1">
                <a:lnSpc>
                  <a:spcPts val="1228"/>
                </a:lnSpc>
                <a:spcBef>
                  <a:spcPts val="0"/>
                </a:spcBef>
                <a:spcAft>
                  <a:spcPts val="0"/>
                </a:spcAft>
                <a:buClrTx/>
                <a:buSzTx/>
                <a:buFontTx/>
                <a:buNone/>
                <a:tabLst/>
                <a:defRPr/>
              </a:pPr>
              <a:r>
                <a:rPr kumimoji="0" lang="en-US" sz="1228"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Security event monitoring</a:t>
              </a:r>
              <a:endParaRPr kumimoji="0" lang="en-US" sz="751"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02" name="Rectangle 101">
              <a:extLst>
                <a:ext uri="{FF2B5EF4-FFF2-40B4-BE49-F238E27FC236}">
                  <a16:creationId xmlns:a16="http://schemas.microsoft.com/office/drawing/2014/main" id="{A1A21637-964A-45E6-B6F2-47BF5F7F006F}"/>
                </a:ext>
              </a:extLst>
            </p:cNvPr>
            <p:cNvSpPr/>
            <p:nvPr/>
          </p:nvSpPr>
          <p:spPr>
            <a:xfrm>
              <a:off x="970263" y="5266918"/>
              <a:ext cx="2218551" cy="533223"/>
            </a:xfrm>
            <a:prstGeom prst="rect">
              <a:avLst/>
            </a:prstGeom>
          </p:spPr>
          <p:txBody>
            <a:bodyPr wrap="square">
              <a:spAutoFit/>
            </a:bodyPr>
            <a:lstStyle/>
            <a:p>
              <a:pPr defTabSz="837962"/>
              <a:r>
                <a:rPr lang="en-US" sz="955" dirty="0">
                  <a:solidFill>
                    <a:schemeClr val="bg1"/>
                  </a:solidFill>
                  <a:latin typeface="Arial" panose="020B0604020202020204" pitchFamily="34" charset="0"/>
                  <a:cs typeface="Times New Roman" panose="02020603050405020304" pitchFamily="18" charset="0"/>
                </a:rPr>
                <a:t>Leveraging automated playbooks, we can perform predefined scripted remediation activities</a:t>
              </a:r>
            </a:p>
          </p:txBody>
        </p:sp>
        <p:sp>
          <p:nvSpPr>
            <p:cNvPr id="103" name="Rectangle 102">
              <a:extLst>
                <a:ext uri="{FF2B5EF4-FFF2-40B4-BE49-F238E27FC236}">
                  <a16:creationId xmlns:a16="http://schemas.microsoft.com/office/drawing/2014/main" id="{500A1B26-5F5C-44B2-9D78-D031570C1785}"/>
                </a:ext>
              </a:extLst>
            </p:cNvPr>
            <p:cNvSpPr/>
            <p:nvPr/>
          </p:nvSpPr>
          <p:spPr>
            <a:xfrm>
              <a:off x="970263" y="5095645"/>
              <a:ext cx="1902596" cy="281295"/>
            </a:xfrm>
            <a:prstGeom prst="rect">
              <a:avLst/>
            </a:prstGeom>
          </p:spPr>
          <p:txBody>
            <a:bodyPr wrap="square">
              <a:spAutoFit/>
            </a:bodyPr>
            <a:lstStyle/>
            <a:p>
              <a:pPr marL="0" marR="0" lvl="0" indent="0" algn="l" defTabSz="837962" rtl="0" eaLnBrk="1" fontAlgn="auto" latinLnBrk="0" hangingPunct="1">
                <a:lnSpc>
                  <a:spcPct val="100000"/>
                </a:lnSpc>
                <a:spcBef>
                  <a:spcPts val="0"/>
                </a:spcBef>
                <a:spcAft>
                  <a:spcPts val="0"/>
                </a:spcAft>
                <a:buClrTx/>
                <a:buSzTx/>
                <a:buFontTx/>
                <a:buNone/>
                <a:tabLst/>
                <a:defRPr/>
              </a:pPr>
              <a:r>
                <a:rPr kumimoji="0" lang="en-US" sz="1228"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Automated response</a:t>
              </a:r>
            </a:p>
          </p:txBody>
        </p:sp>
        <p:grpSp>
          <p:nvGrpSpPr>
            <p:cNvPr id="2" name="Group 1">
              <a:extLst>
                <a:ext uri="{FF2B5EF4-FFF2-40B4-BE49-F238E27FC236}">
                  <a16:creationId xmlns:a16="http://schemas.microsoft.com/office/drawing/2014/main" id="{5A753F60-30DB-43CE-BDF6-FDF49DBFEE13}"/>
                </a:ext>
              </a:extLst>
            </p:cNvPr>
            <p:cNvGrpSpPr/>
            <p:nvPr/>
          </p:nvGrpSpPr>
          <p:grpSpPr>
            <a:xfrm>
              <a:off x="169783" y="3982104"/>
              <a:ext cx="703475" cy="703475"/>
              <a:chOff x="1353993" y="2887018"/>
              <a:chExt cx="761486" cy="761486"/>
            </a:xfrm>
          </p:grpSpPr>
          <p:sp>
            <p:nvSpPr>
              <p:cNvPr id="113" name="Oval 112">
                <a:extLst>
                  <a:ext uri="{FF2B5EF4-FFF2-40B4-BE49-F238E27FC236}">
                    <a16:creationId xmlns:a16="http://schemas.microsoft.com/office/drawing/2014/main" id="{005DBD0E-B24F-4C3E-BD87-1913A8FB24ED}"/>
                  </a:ext>
                </a:extLst>
              </p:cNvPr>
              <p:cNvSpPr/>
              <p:nvPr/>
            </p:nvSpPr>
            <p:spPr>
              <a:xfrm>
                <a:off x="1353993" y="2887018"/>
                <a:ext cx="761486" cy="761486"/>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7962"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3" name="Picture 122" descr="A black and white logo&#10;&#10;Description automatically generated with low confidence">
                <a:extLst>
                  <a:ext uri="{FF2B5EF4-FFF2-40B4-BE49-F238E27FC236}">
                    <a16:creationId xmlns:a16="http://schemas.microsoft.com/office/drawing/2014/main" id="{76012E1A-C56A-4D75-9D71-4E77DCF653EB}"/>
                  </a:ext>
                </a:extLst>
              </p:cNvPr>
              <p:cNvPicPr>
                <a:picLocks noChangeAspect="1"/>
              </p:cNvPicPr>
              <p:nvPr/>
            </p:nvPicPr>
            <p:blipFill>
              <a:blip r:embed="rId3"/>
              <a:stretch>
                <a:fillRect/>
              </a:stretch>
            </p:blipFill>
            <p:spPr>
              <a:xfrm>
                <a:off x="1557679" y="3097275"/>
                <a:ext cx="354114" cy="354114"/>
              </a:xfrm>
              <a:prstGeom prst="rect">
                <a:avLst/>
              </a:prstGeom>
            </p:spPr>
          </p:pic>
        </p:grpSp>
        <p:grpSp>
          <p:nvGrpSpPr>
            <p:cNvPr id="6" name="Group 5">
              <a:extLst>
                <a:ext uri="{FF2B5EF4-FFF2-40B4-BE49-F238E27FC236}">
                  <a16:creationId xmlns:a16="http://schemas.microsoft.com/office/drawing/2014/main" id="{ACE13DAA-C666-4E2D-915E-081A685ADCB5}"/>
                </a:ext>
              </a:extLst>
            </p:cNvPr>
            <p:cNvGrpSpPr/>
            <p:nvPr/>
          </p:nvGrpSpPr>
          <p:grpSpPr>
            <a:xfrm>
              <a:off x="6153323" y="5200277"/>
              <a:ext cx="703475" cy="703475"/>
              <a:chOff x="2648957" y="2887018"/>
              <a:chExt cx="761486" cy="761486"/>
            </a:xfrm>
          </p:grpSpPr>
          <p:sp>
            <p:nvSpPr>
              <p:cNvPr id="111" name="Oval 110">
                <a:extLst>
                  <a:ext uri="{FF2B5EF4-FFF2-40B4-BE49-F238E27FC236}">
                    <a16:creationId xmlns:a16="http://schemas.microsoft.com/office/drawing/2014/main" id="{5B2140CA-0F27-435C-9DAC-455A961635A6}"/>
                  </a:ext>
                </a:extLst>
              </p:cNvPr>
              <p:cNvSpPr/>
              <p:nvPr/>
            </p:nvSpPr>
            <p:spPr>
              <a:xfrm>
                <a:off x="2648957" y="2887018"/>
                <a:ext cx="761486" cy="761486"/>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7962"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5" name="Picture 124" descr="Icon&#10;&#10;Description automatically generated">
                <a:extLst>
                  <a:ext uri="{FF2B5EF4-FFF2-40B4-BE49-F238E27FC236}">
                    <a16:creationId xmlns:a16="http://schemas.microsoft.com/office/drawing/2014/main" id="{9EAD0D1F-01CF-4391-9937-510BB64B78DF}"/>
                  </a:ext>
                </a:extLst>
              </p:cNvPr>
              <p:cNvPicPr>
                <a:picLocks noChangeAspect="1"/>
              </p:cNvPicPr>
              <p:nvPr/>
            </p:nvPicPr>
            <p:blipFill>
              <a:blip r:embed="rId4"/>
              <a:stretch>
                <a:fillRect/>
              </a:stretch>
            </p:blipFill>
            <p:spPr>
              <a:xfrm>
                <a:off x="2855255" y="3093316"/>
                <a:ext cx="348890" cy="348890"/>
              </a:xfrm>
              <a:prstGeom prst="rect">
                <a:avLst/>
              </a:prstGeom>
            </p:spPr>
          </p:pic>
        </p:grpSp>
        <p:grpSp>
          <p:nvGrpSpPr>
            <p:cNvPr id="9" name="Group 8">
              <a:extLst>
                <a:ext uri="{FF2B5EF4-FFF2-40B4-BE49-F238E27FC236}">
                  <a16:creationId xmlns:a16="http://schemas.microsoft.com/office/drawing/2014/main" id="{0FE9E7A2-D35D-4751-8359-2471C7819E1B}"/>
                </a:ext>
              </a:extLst>
            </p:cNvPr>
            <p:cNvGrpSpPr/>
            <p:nvPr/>
          </p:nvGrpSpPr>
          <p:grpSpPr>
            <a:xfrm>
              <a:off x="6153323" y="3982104"/>
              <a:ext cx="703475" cy="703475"/>
              <a:chOff x="7173412" y="3787854"/>
              <a:chExt cx="761486" cy="761486"/>
            </a:xfrm>
          </p:grpSpPr>
          <p:sp>
            <p:nvSpPr>
              <p:cNvPr id="115" name="Oval 114">
                <a:extLst>
                  <a:ext uri="{FF2B5EF4-FFF2-40B4-BE49-F238E27FC236}">
                    <a16:creationId xmlns:a16="http://schemas.microsoft.com/office/drawing/2014/main" id="{FC4FC6C8-7F85-4CD2-8C46-24060B570574}"/>
                  </a:ext>
                </a:extLst>
              </p:cNvPr>
              <p:cNvSpPr/>
              <p:nvPr/>
            </p:nvSpPr>
            <p:spPr>
              <a:xfrm>
                <a:off x="7173412" y="3787854"/>
                <a:ext cx="761486" cy="761486"/>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7962"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3" name="Picture 132" descr="Icon&#10;&#10;Description automatically generated">
                <a:extLst>
                  <a:ext uri="{FF2B5EF4-FFF2-40B4-BE49-F238E27FC236}">
                    <a16:creationId xmlns:a16="http://schemas.microsoft.com/office/drawing/2014/main" id="{9480D019-AA8D-4A08-BB00-B4C12BB6CD13}"/>
                  </a:ext>
                </a:extLst>
              </p:cNvPr>
              <p:cNvPicPr>
                <a:picLocks noChangeAspect="1"/>
              </p:cNvPicPr>
              <p:nvPr/>
            </p:nvPicPr>
            <p:blipFill>
              <a:blip r:embed="rId5"/>
              <a:stretch>
                <a:fillRect/>
              </a:stretch>
            </p:blipFill>
            <p:spPr>
              <a:xfrm>
                <a:off x="7375855" y="3990297"/>
                <a:ext cx="356600" cy="356600"/>
              </a:xfrm>
              <a:prstGeom prst="rect">
                <a:avLst/>
              </a:prstGeom>
            </p:spPr>
          </p:pic>
        </p:grpSp>
        <p:grpSp>
          <p:nvGrpSpPr>
            <p:cNvPr id="8" name="Group 7">
              <a:extLst>
                <a:ext uri="{FF2B5EF4-FFF2-40B4-BE49-F238E27FC236}">
                  <a16:creationId xmlns:a16="http://schemas.microsoft.com/office/drawing/2014/main" id="{EC4EDE9D-6521-46DC-9C8C-4A5BAB4F1F75}"/>
                </a:ext>
              </a:extLst>
            </p:cNvPr>
            <p:cNvGrpSpPr/>
            <p:nvPr/>
          </p:nvGrpSpPr>
          <p:grpSpPr>
            <a:xfrm>
              <a:off x="9145092" y="3982104"/>
              <a:ext cx="703475" cy="703475"/>
              <a:chOff x="7125056" y="2871153"/>
              <a:chExt cx="761486" cy="761486"/>
            </a:xfrm>
          </p:grpSpPr>
          <p:sp>
            <p:nvSpPr>
              <p:cNvPr id="116" name="Oval 115">
                <a:extLst>
                  <a:ext uri="{FF2B5EF4-FFF2-40B4-BE49-F238E27FC236}">
                    <a16:creationId xmlns:a16="http://schemas.microsoft.com/office/drawing/2014/main" id="{39342686-F8B4-4A58-A4EC-E28565F9C121}"/>
                  </a:ext>
                </a:extLst>
              </p:cNvPr>
              <p:cNvSpPr/>
              <p:nvPr/>
            </p:nvSpPr>
            <p:spPr>
              <a:xfrm>
                <a:off x="7125056" y="2871153"/>
                <a:ext cx="761486" cy="761486"/>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7962"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5" name="Picture 134" descr="Icon&#10;&#10;Description automatically generated">
                <a:extLst>
                  <a:ext uri="{FF2B5EF4-FFF2-40B4-BE49-F238E27FC236}">
                    <a16:creationId xmlns:a16="http://schemas.microsoft.com/office/drawing/2014/main" id="{2BBE9480-BD45-4D2A-BA3E-7C50B14EB7FC}"/>
                  </a:ext>
                </a:extLst>
              </p:cNvPr>
              <p:cNvPicPr>
                <a:picLocks noChangeAspect="1"/>
              </p:cNvPicPr>
              <p:nvPr/>
            </p:nvPicPr>
            <p:blipFill>
              <a:blip r:embed="rId6"/>
              <a:stretch>
                <a:fillRect/>
              </a:stretch>
            </p:blipFill>
            <p:spPr>
              <a:xfrm>
                <a:off x="7321977" y="3068074"/>
                <a:ext cx="367644" cy="367644"/>
              </a:xfrm>
              <a:prstGeom prst="rect">
                <a:avLst/>
              </a:prstGeom>
            </p:spPr>
          </p:pic>
        </p:grpSp>
        <p:grpSp>
          <p:nvGrpSpPr>
            <p:cNvPr id="4" name="Group 3">
              <a:extLst>
                <a:ext uri="{FF2B5EF4-FFF2-40B4-BE49-F238E27FC236}">
                  <a16:creationId xmlns:a16="http://schemas.microsoft.com/office/drawing/2014/main" id="{8A84D39A-BBDD-4CA7-BDDF-D276CA8AC16F}"/>
                </a:ext>
              </a:extLst>
            </p:cNvPr>
            <p:cNvGrpSpPr/>
            <p:nvPr/>
          </p:nvGrpSpPr>
          <p:grpSpPr>
            <a:xfrm>
              <a:off x="3161553" y="5200277"/>
              <a:ext cx="703475" cy="703475"/>
              <a:chOff x="5578976" y="2895012"/>
              <a:chExt cx="761486" cy="761486"/>
            </a:xfrm>
          </p:grpSpPr>
          <p:sp>
            <p:nvSpPr>
              <p:cNvPr id="117" name="Oval 116">
                <a:extLst>
                  <a:ext uri="{FF2B5EF4-FFF2-40B4-BE49-F238E27FC236}">
                    <a16:creationId xmlns:a16="http://schemas.microsoft.com/office/drawing/2014/main" id="{5BB98146-1802-45E9-94DD-39031466BCA1}"/>
                  </a:ext>
                </a:extLst>
              </p:cNvPr>
              <p:cNvSpPr/>
              <p:nvPr/>
            </p:nvSpPr>
            <p:spPr>
              <a:xfrm>
                <a:off x="5578976" y="2895012"/>
                <a:ext cx="761486" cy="761486"/>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7962"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7" name="Picture 136" descr="Icon&#10;&#10;Description automatically generated">
                <a:extLst>
                  <a:ext uri="{FF2B5EF4-FFF2-40B4-BE49-F238E27FC236}">
                    <a16:creationId xmlns:a16="http://schemas.microsoft.com/office/drawing/2014/main" id="{9EA0551C-66C1-463E-8933-36583B31F538}"/>
                  </a:ext>
                </a:extLst>
              </p:cNvPr>
              <p:cNvPicPr>
                <a:picLocks noChangeAspect="1"/>
              </p:cNvPicPr>
              <p:nvPr/>
            </p:nvPicPr>
            <p:blipFill>
              <a:blip r:embed="rId7"/>
              <a:stretch>
                <a:fillRect/>
              </a:stretch>
            </p:blipFill>
            <p:spPr>
              <a:xfrm>
                <a:off x="5786560" y="3102596"/>
                <a:ext cx="346319" cy="346319"/>
              </a:xfrm>
              <a:prstGeom prst="rect">
                <a:avLst/>
              </a:prstGeom>
            </p:spPr>
          </p:pic>
        </p:grpSp>
        <p:grpSp>
          <p:nvGrpSpPr>
            <p:cNvPr id="3" name="Group 2">
              <a:extLst>
                <a:ext uri="{FF2B5EF4-FFF2-40B4-BE49-F238E27FC236}">
                  <a16:creationId xmlns:a16="http://schemas.microsoft.com/office/drawing/2014/main" id="{BFE11A91-B077-41D0-9738-3F44A5AC7714}"/>
                </a:ext>
              </a:extLst>
            </p:cNvPr>
            <p:cNvGrpSpPr/>
            <p:nvPr/>
          </p:nvGrpSpPr>
          <p:grpSpPr>
            <a:xfrm>
              <a:off x="169783" y="5200277"/>
              <a:ext cx="703475" cy="703475"/>
              <a:chOff x="1333383" y="4208304"/>
              <a:chExt cx="761486" cy="761486"/>
            </a:xfrm>
          </p:grpSpPr>
          <p:sp>
            <p:nvSpPr>
              <p:cNvPr id="118" name="Oval 117">
                <a:extLst>
                  <a:ext uri="{FF2B5EF4-FFF2-40B4-BE49-F238E27FC236}">
                    <a16:creationId xmlns:a16="http://schemas.microsoft.com/office/drawing/2014/main" id="{39E7B6FE-D94E-4614-9976-1011FD892FB8}"/>
                  </a:ext>
                </a:extLst>
              </p:cNvPr>
              <p:cNvSpPr/>
              <p:nvPr/>
            </p:nvSpPr>
            <p:spPr>
              <a:xfrm>
                <a:off x="1333383" y="4208304"/>
                <a:ext cx="761486" cy="761486"/>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7962"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9" name="Picture 138" descr="Icon&#10;&#10;Description automatically generated">
                <a:extLst>
                  <a:ext uri="{FF2B5EF4-FFF2-40B4-BE49-F238E27FC236}">
                    <a16:creationId xmlns:a16="http://schemas.microsoft.com/office/drawing/2014/main" id="{25CDE713-1F91-4B36-9DBB-F2D7A4B7F169}"/>
                  </a:ext>
                </a:extLst>
              </p:cNvPr>
              <p:cNvPicPr>
                <a:picLocks noChangeAspect="1"/>
              </p:cNvPicPr>
              <p:nvPr/>
            </p:nvPicPr>
            <p:blipFill>
              <a:blip r:embed="rId8"/>
              <a:stretch>
                <a:fillRect/>
              </a:stretch>
            </p:blipFill>
            <p:spPr>
              <a:xfrm>
                <a:off x="1531069" y="4379825"/>
                <a:ext cx="366114" cy="366114"/>
              </a:xfrm>
              <a:prstGeom prst="rect">
                <a:avLst/>
              </a:prstGeom>
            </p:spPr>
          </p:pic>
        </p:grpSp>
        <p:sp>
          <p:nvSpPr>
            <p:cNvPr id="68" name="Rectangle 67">
              <a:extLst>
                <a:ext uri="{FF2B5EF4-FFF2-40B4-BE49-F238E27FC236}">
                  <a16:creationId xmlns:a16="http://schemas.microsoft.com/office/drawing/2014/main" id="{F4F93593-50CF-4AFC-95DC-292384EA7AF0}"/>
                </a:ext>
              </a:extLst>
            </p:cNvPr>
            <p:cNvSpPr/>
            <p:nvPr/>
          </p:nvSpPr>
          <p:spPr>
            <a:xfrm>
              <a:off x="3899900" y="4058109"/>
              <a:ext cx="2218551" cy="827150"/>
            </a:xfrm>
            <a:prstGeom prst="rect">
              <a:avLst/>
            </a:prstGeom>
          </p:spPr>
          <p:txBody>
            <a:bodyPr wrap="square">
              <a:spAutoFit/>
            </a:bodyPr>
            <a:lstStyle/>
            <a:p>
              <a:pPr defTabSz="837962"/>
              <a:r>
                <a:rPr lang="en-US" sz="955" dirty="0">
                  <a:solidFill>
                    <a:schemeClr val="bg1"/>
                  </a:solidFill>
                  <a:latin typeface="Arial" panose="020B0604020202020204" pitchFamily="34" charset="0"/>
                  <a:cs typeface="Times New Roman" panose="02020603050405020304" pitchFamily="18" charset="0"/>
                </a:rPr>
                <a:t>Fully managed vulnerability capabilities include continuous scanning, file, and configuration monitoring, false positive analysis, and detailed remediation actions.</a:t>
              </a:r>
            </a:p>
          </p:txBody>
        </p:sp>
        <p:sp>
          <p:nvSpPr>
            <p:cNvPr id="69" name="Rectangle 68">
              <a:extLst>
                <a:ext uri="{FF2B5EF4-FFF2-40B4-BE49-F238E27FC236}">
                  <a16:creationId xmlns:a16="http://schemas.microsoft.com/office/drawing/2014/main" id="{F5B445C1-D6D2-43F1-AB75-60F8600C5107}"/>
                </a:ext>
              </a:extLst>
            </p:cNvPr>
            <p:cNvSpPr/>
            <p:nvPr/>
          </p:nvSpPr>
          <p:spPr>
            <a:xfrm>
              <a:off x="3899900" y="3885474"/>
              <a:ext cx="2372435" cy="281295"/>
            </a:xfrm>
            <a:prstGeom prst="rect">
              <a:avLst/>
            </a:prstGeom>
          </p:spPr>
          <p:txBody>
            <a:bodyPr wrap="square">
              <a:spAutoFit/>
            </a:bodyPr>
            <a:lstStyle/>
            <a:p>
              <a:pPr marL="0" marR="0" lvl="0" indent="0" algn="l" defTabSz="837962" rtl="0" eaLnBrk="1" fontAlgn="auto" latinLnBrk="0" hangingPunct="1">
                <a:lnSpc>
                  <a:spcPct val="100000"/>
                </a:lnSpc>
                <a:spcBef>
                  <a:spcPts val="0"/>
                </a:spcBef>
                <a:spcAft>
                  <a:spcPts val="0"/>
                </a:spcAft>
                <a:buClrTx/>
                <a:buSzTx/>
                <a:buFontTx/>
                <a:buNone/>
                <a:tabLst/>
                <a:defRPr/>
              </a:pPr>
              <a:r>
                <a:rPr kumimoji="0" lang="en-US" sz="1228"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Attack surface reduction</a:t>
              </a:r>
            </a:p>
          </p:txBody>
        </p:sp>
        <p:grpSp>
          <p:nvGrpSpPr>
            <p:cNvPr id="70" name="Group 69">
              <a:extLst>
                <a:ext uri="{FF2B5EF4-FFF2-40B4-BE49-F238E27FC236}">
                  <a16:creationId xmlns:a16="http://schemas.microsoft.com/office/drawing/2014/main" id="{2EEF7155-4EEA-4135-B5B7-3E8C2745915D}"/>
                </a:ext>
              </a:extLst>
            </p:cNvPr>
            <p:cNvGrpSpPr/>
            <p:nvPr/>
          </p:nvGrpSpPr>
          <p:grpSpPr>
            <a:xfrm>
              <a:off x="3161553" y="3982104"/>
              <a:ext cx="703475" cy="703475"/>
              <a:chOff x="4207960" y="2894007"/>
              <a:chExt cx="761486" cy="761486"/>
            </a:xfrm>
          </p:grpSpPr>
          <p:sp>
            <p:nvSpPr>
              <p:cNvPr id="71" name="Oval 70">
                <a:extLst>
                  <a:ext uri="{FF2B5EF4-FFF2-40B4-BE49-F238E27FC236}">
                    <a16:creationId xmlns:a16="http://schemas.microsoft.com/office/drawing/2014/main" id="{EC4D2D8A-E236-4760-AE6A-B556AB20B418}"/>
                  </a:ext>
                </a:extLst>
              </p:cNvPr>
              <p:cNvSpPr/>
              <p:nvPr/>
            </p:nvSpPr>
            <p:spPr>
              <a:xfrm>
                <a:off x="4207960" y="2894007"/>
                <a:ext cx="761486" cy="761486"/>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7962"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2" name="Picture 71" descr="Icon&#10;&#10;Description automatically generated">
                <a:extLst>
                  <a:ext uri="{FF2B5EF4-FFF2-40B4-BE49-F238E27FC236}">
                    <a16:creationId xmlns:a16="http://schemas.microsoft.com/office/drawing/2014/main" id="{B6227379-DB82-46AD-91B5-B217D54B04EC}"/>
                  </a:ext>
                </a:extLst>
              </p:cNvPr>
              <p:cNvPicPr>
                <a:picLocks noChangeAspect="1"/>
              </p:cNvPicPr>
              <p:nvPr/>
            </p:nvPicPr>
            <p:blipFill>
              <a:blip r:embed="rId9"/>
              <a:stretch>
                <a:fillRect/>
              </a:stretch>
            </p:blipFill>
            <p:spPr>
              <a:xfrm>
                <a:off x="4439274" y="3125321"/>
                <a:ext cx="298859" cy="298859"/>
              </a:xfrm>
              <a:prstGeom prst="rect">
                <a:avLst/>
              </a:prstGeom>
            </p:spPr>
          </p:pic>
        </p:grpSp>
        <p:sp>
          <p:nvSpPr>
            <p:cNvPr id="74" name="Rectangle 73">
              <a:extLst>
                <a:ext uri="{FF2B5EF4-FFF2-40B4-BE49-F238E27FC236}">
                  <a16:creationId xmlns:a16="http://schemas.microsoft.com/office/drawing/2014/main" id="{D04DEB77-A106-408A-A3C9-88BB6507B04C}"/>
                </a:ext>
              </a:extLst>
            </p:cNvPr>
            <p:cNvSpPr/>
            <p:nvPr/>
          </p:nvSpPr>
          <p:spPr>
            <a:xfrm>
              <a:off x="9886305" y="5266918"/>
              <a:ext cx="2218551" cy="680186"/>
            </a:xfrm>
            <a:prstGeom prst="rect">
              <a:avLst/>
            </a:prstGeom>
          </p:spPr>
          <p:txBody>
            <a:bodyPr wrap="square">
              <a:spAutoFit/>
            </a:bodyPr>
            <a:lstStyle/>
            <a:p>
              <a:pPr defTabSz="837962"/>
              <a:r>
                <a:rPr lang="en-US" sz="955" dirty="0">
                  <a:solidFill>
                    <a:schemeClr val="bg1"/>
                  </a:solidFill>
                  <a:latin typeface="Arial" panose="020B0604020202020204" pitchFamily="34" charset="0"/>
                  <a:cs typeface="Times New Roman" panose="02020603050405020304" pitchFamily="18" charset="0"/>
                </a:rPr>
                <a:t>Monitoring cybersquatting activity and protecting your domain name from typo-squatting to safeguard your reputation</a:t>
              </a:r>
            </a:p>
          </p:txBody>
        </p:sp>
        <p:grpSp>
          <p:nvGrpSpPr>
            <p:cNvPr id="10" name="Group 9">
              <a:extLst>
                <a:ext uri="{FF2B5EF4-FFF2-40B4-BE49-F238E27FC236}">
                  <a16:creationId xmlns:a16="http://schemas.microsoft.com/office/drawing/2014/main" id="{4EEFF1D8-3DF6-4076-96B2-9888E7C8101B}"/>
                </a:ext>
              </a:extLst>
            </p:cNvPr>
            <p:cNvGrpSpPr/>
            <p:nvPr/>
          </p:nvGrpSpPr>
          <p:grpSpPr>
            <a:xfrm>
              <a:off x="9145092" y="5200277"/>
              <a:ext cx="703475" cy="703475"/>
              <a:chOff x="6842317" y="4027253"/>
              <a:chExt cx="761486" cy="761486"/>
            </a:xfrm>
          </p:grpSpPr>
          <p:sp>
            <p:nvSpPr>
              <p:cNvPr id="77" name="Oval 76">
                <a:extLst>
                  <a:ext uri="{FF2B5EF4-FFF2-40B4-BE49-F238E27FC236}">
                    <a16:creationId xmlns:a16="http://schemas.microsoft.com/office/drawing/2014/main" id="{73FCD5E2-1178-43B9-A6DF-A276E2A29FAC}"/>
                  </a:ext>
                </a:extLst>
              </p:cNvPr>
              <p:cNvSpPr/>
              <p:nvPr/>
            </p:nvSpPr>
            <p:spPr>
              <a:xfrm>
                <a:off x="6842317" y="4027253"/>
                <a:ext cx="761486" cy="761486"/>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7962"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9" name="Picture 128" descr="A black and white logo&#10;&#10;Description automatically generated with low confidence">
                <a:extLst>
                  <a:ext uri="{FF2B5EF4-FFF2-40B4-BE49-F238E27FC236}">
                    <a16:creationId xmlns:a16="http://schemas.microsoft.com/office/drawing/2014/main" id="{AEE266F7-F041-4047-BAB6-FA16BE55AAA2}"/>
                  </a:ext>
                </a:extLst>
              </p:cNvPr>
              <p:cNvPicPr>
                <a:picLocks noChangeAspect="1"/>
              </p:cNvPicPr>
              <p:nvPr/>
            </p:nvPicPr>
            <p:blipFill>
              <a:blip r:embed="rId10"/>
              <a:stretch>
                <a:fillRect/>
              </a:stretch>
            </p:blipFill>
            <p:spPr>
              <a:xfrm>
                <a:off x="7033054" y="4217990"/>
                <a:ext cx="380012" cy="380012"/>
              </a:xfrm>
              <a:prstGeom prst="rect">
                <a:avLst/>
              </a:prstGeom>
            </p:spPr>
          </p:pic>
        </p:grpSp>
      </p:grpSp>
    </p:spTree>
    <p:extLst>
      <p:ext uri="{BB962C8B-B14F-4D97-AF65-F5344CB8AC3E}">
        <p14:creationId xmlns:p14="http://schemas.microsoft.com/office/powerpoint/2010/main" val="39358688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1017A79-AFD2-92A8-2123-82F4BDF23D1E}"/>
              </a:ext>
            </a:extLst>
          </p:cNvPr>
          <p:cNvGrpSpPr/>
          <p:nvPr/>
        </p:nvGrpSpPr>
        <p:grpSpPr>
          <a:xfrm>
            <a:off x="1562447" y="704822"/>
            <a:ext cx="9067106" cy="5448355"/>
            <a:chOff x="1561408" y="227140"/>
            <a:chExt cx="9067106" cy="5448355"/>
          </a:xfrm>
        </p:grpSpPr>
        <p:pic>
          <p:nvPicPr>
            <p:cNvPr id="71" name="Picture 70" descr="Logo&#10;&#10;Description automatically generated">
              <a:extLst>
                <a:ext uri="{FF2B5EF4-FFF2-40B4-BE49-F238E27FC236}">
                  <a16:creationId xmlns:a16="http://schemas.microsoft.com/office/drawing/2014/main" id="{CF72E3F0-AF49-46E9-B014-7C2EAAF55518}"/>
                </a:ext>
              </a:extLst>
            </p:cNvPr>
            <p:cNvPicPr>
              <a:picLocks noChangeAspect="1"/>
            </p:cNvPicPr>
            <p:nvPr/>
          </p:nvPicPr>
          <p:blipFill>
            <a:blip r:embed="rId3">
              <a:alphaModFix amt="30000"/>
            </a:blip>
            <a:stretch>
              <a:fillRect/>
            </a:stretch>
          </p:blipFill>
          <p:spPr>
            <a:xfrm>
              <a:off x="5127527" y="227140"/>
              <a:ext cx="1916123" cy="1916123"/>
            </a:xfrm>
            <a:prstGeom prst="rect">
              <a:avLst/>
            </a:prstGeom>
          </p:spPr>
        </p:pic>
        <p:pic>
          <p:nvPicPr>
            <p:cNvPr id="67" name="Picture 66" descr="Icon&#10;&#10;Description automatically generated">
              <a:extLst>
                <a:ext uri="{FF2B5EF4-FFF2-40B4-BE49-F238E27FC236}">
                  <a16:creationId xmlns:a16="http://schemas.microsoft.com/office/drawing/2014/main" id="{C2BFB503-345B-4002-90D0-60D895D725CF}"/>
                </a:ext>
              </a:extLst>
            </p:cNvPr>
            <p:cNvPicPr>
              <a:picLocks noChangeAspect="1"/>
            </p:cNvPicPr>
            <p:nvPr/>
          </p:nvPicPr>
          <p:blipFill>
            <a:blip r:embed="rId4">
              <a:alphaModFix amt="40000"/>
            </a:blip>
            <a:stretch>
              <a:fillRect/>
            </a:stretch>
          </p:blipFill>
          <p:spPr>
            <a:xfrm>
              <a:off x="8418423" y="350479"/>
              <a:ext cx="1643487" cy="1643487"/>
            </a:xfrm>
            <a:prstGeom prst="rect">
              <a:avLst/>
            </a:prstGeom>
          </p:spPr>
        </p:pic>
        <p:pic>
          <p:nvPicPr>
            <p:cNvPr id="65" name="Picture 64" descr="Logo&#10;&#10;Description automatically generated with medium confidence">
              <a:extLst>
                <a:ext uri="{FF2B5EF4-FFF2-40B4-BE49-F238E27FC236}">
                  <a16:creationId xmlns:a16="http://schemas.microsoft.com/office/drawing/2014/main" id="{006970C1-83A0-4FF2-BC61-8226A5DFC272}"/>
                </a:ext>
              </a:extLst>
            </p:cNvPr>
            <p:cNvPicPr>
              <a:picLocks noChangeAspect="1"/>
            </p:cNvPicPr>
            <p:nvPr/>
          </p:nvPicPr>
          <p:blipFill>
            <a:blip r:embed="rId5">
              <a:alphaModFix amt="40000"/>
            </a:blip>
            <a:stretch>
              <a:fillRect/>
            </a:stretch>
          </p:blipFill>
          <p:spPr>
            <a:xfrm>
              <a:off x="5263001" y="3975184"/>
              <a:ext cx="1643488" cy="1643488"/>
            </a:xfrm>
            <a:prstGeom prst="rect">
              <a:avLst/>
            </a:prstGeom>
          </p:spPr>
        </p:pic>
        <p:pic>
          <p:nvPicPr>
            <p:cNvPr id="63" name="Picture 62" descr="Icon&#10;&#10;Description automatically generated">
              <a:extLst>
                <a:ext uri="{FF2B5EF4-FFF2-40B4-BE49-F238E27FC236}">
                  <a16:creationId xmlns:a16="http://schemas.microsoft.com/office/drawing/2014/main" id="{81664722-ABF3-46ED-B8D6-0CFCD1A9C5AC}"/>
                </a:ext>
              </a:extLst>
            </p:cNvPr>
            <p:cNvPicPr>
              <a:picLocks noChangeAspect="1"/>
            </p:cNvPicPr>
            <p:nvPr/>
          </p:nvPicPr>
          <p:blipFill>
            <a:blip r:embed="rId6">
              <a:alphaModFix amt="30000"/>
            </a:blip>
            <a:stretch>
              <a:fillRect/>
            </a:stretch>
          </p:blipFill>
          <p:spPr>
            <a:xfrm>
              <a:off x="2129081" y="281551"/>
              <a:ext cx="1713535" cy="1713535"/>
            </a:xfrm>
            <a:prstGeom prst="rect">
              <a:avLst/>
            </a:prstGeom>
          </p:spPr>
        </p:pic>
        <p:pic>
          <p:nvPicPr>
            <p:cNvPr id="59" name="Picture 58" descr="Icon&#10;&#10;Description automatically generated">
              <a:extLst>
                <a:ext uri="{FF2B5EF4-FFF2-40B4-BE49-F238E27FC236}">
                  <a16:creationId xmlns:a16="http://schemas.microsoft.com/office/drawing/2014/main" id="{D1B55945-AEC5-4E10-A544-35F0B93877EB}"/>
                </a:ext>
              </a:extLst>
            </p:cNvPr>
            <p:cNvPicPr>
              <a:picLocks noChangeAspect="1"/>
            </p:cNvPicPr>
            <p:nvPr/>
          </p:nvPicPr>
          <p:blipFill>
            <a:blip r:embed="rId7">
              <a:alphaModFix amt="40000"/>
            </a:blip>
            <a:stretch>
              <a:fillRect/>
            </a:stretch>
          </p:blipFill>
          <p:spPr>
            <a:xfrm>
              <a:off x="8290346" y="2035248"/>
              <a:ext cx="1889149" cy="1889149"/>
            </a:xfrm>
            <a:prstGeom prst="rect">
              <a:avLst/>
            </a:prstGeom>
          </p:spPr>
        </p:pic>
        <p:pic>
          <p:nvPicPr>
            <p:cNvPr id="32" name="Picture 31" descr="A picture containing vector graphics&#10;&#10;Description automatically generated">
              <a:extLst>
                <a:ext uri="{FF2B5EF4-FFF2-40B4-BE49-F238E27FC236}">
                  <a16:creationId xmlns:a16="http://schemas.microsoft.com/office/drawing/2014/main" id="{AAFA6364-5BF9-48A6-97D7-72E16D5B891B}"/>
                </a:ext>
              </a:extLst>
            </p:cNvPr>
            <p:cNvPicPr>
              <a:picLocks noChangeAspect="1"/>
            </p:cNvPicPr>
            <p:nvPr/>
          </p:nvPicPr>
          <p:blipFill>
            <a:blip r:embed="rId8">
              <a:alphaModFix amt="40000"/>
            </a:blip>
            <a:stretch>
              <a:fillRect/>
            </a:stretch>
          </p:blipFill>
          <p:spPr>
            <a:xfrm>
              <a:off x="8339626" y="3990110"/>
              <a:ext cx="1685385" cy="1685385"/>
            </a:xfrm>
            <a:prstGeom prst="rect">
              <a:avLst/>
            </a:prstGeom>
          </p:spPr>
        </p:pic>
        <p:pic>
          <p:nvPicPr>
            <p:cNvPr id="29" name="Picture 28" descr="Icon&#10;&#10;Description automatically generated">
              <a:extLst>
                <a:ext uri="{FF2B5EF4-FFF2-40B4-BE49-F238E27FC236}">
                  <a16:creationId xmlns:a16="http://schemas.microsoft.com/office/drawing/2014/main" id="{E7EC8526-DD9B-43BC-A8F4-DF16D683806C}"/>
                </a:ext>
              </a:extLst>
            </p:cNvPr>
            <p:cNvPicPr>
              <a:picLocks noChangeAspect="1"/>
            </p:cNvPicPr>
            <p:nvPr/>
          </p:nvPicPr>
          <p:blipFill>
            <a:blip r:embed="rId9">
              <a:alphaModFix amt="40000"/>
            </a:blip>
            <a:stretch>
              <a:fillRect/>
            </a:stretch>
          </p:blipFill>
          <p:spPr>
            <a:xfrm>
              <a:off x="2129079" y="3947854"/>
              <a:ext cx="1708749" cy="1708749"/>
            </a:xfrm>
            <a:prstGeom prst="rect">
              <a:avLst/>
            </a:prstGeom>
          </p:spPr>
        </p:pic>
        <p:pic>
          <p:nvPicPr>
            <p:cNvPr id="27" name="Picture 26" descr="Icon&#10;&#10;Description automatically generated">
              <a:extLst>
                <a:ext uri="{FF2B5EF4-FFF2-40B4-BE49-F238E27FC236}">
                  <a16:creationId xmlns:a16="http://schemas.microsoft.com/office/drawing/2014/main" id="{A6B16214-308B-46BF-808B-7C84A32C2EA7}"/>
                </a:ext>
              </a:extLst>
            </p:cNvPr>
            <p:cNvPicPr>
              <a:picLocks noChangeAspect="1"/>
            </p:cNvPicPr>
            <p:nvPr/>
          </p:nvPicPr>
          <p:blipFill>
            <a:blip r:embed="rId10">
              <a:alphaModFix amt="40000"/>
            </a:blip>
            <a:stretch>
              <a:fillRect/>
            </a:stretch>
          </p:blipFill>
          <p:spPr>
            <a:xfrm>
              <a:off x="2111095" y="2143263"/>
              <a:ext cx="1708751" cy="1708751"/>
            </a:xfrm>
            <a:prstGeom prst="rect">
              <a:avLst/>
            </a:prstGeom>
          </p:spPr>
        </p:pic>
        <p:sp>
          <p:nvSpPr>
            <p:cNvPr id="51" name="Rectangle 50"/>
            <p:cNvSpPr/>
            <p:nvPr/>
          </p:nvSpPr>
          <p:spPr>
            <a:xfrm>
              <a:off x="1561408" y="976400"/>
              <a:ext cx="2803467" cy="784830"/>
            </a:xfrm>
            <a:prstGeom prst="rect">
              <a:avLst/>
            </a:prstGeom>
          </p:spPr>
          <p:txBody>
            <a:bodyPr wrap="square">
              <a:spAutoFit/>
            </a:bodyPr>
            <a:lstStyle/>
            <a:p>
              <a:pPr marL="0" marR="0" lvl="0" indent="0" algn="ctr" defTabSz="837962" rtl="0" eaLnBrk="1" fontAlgn="auto" latinLnBrk="0" hangingPunct="1">
                <a:lnSpc>
                  <a:spcPts val="1773"/>
                </a:lnSpc>
                <a:spcBef>
                  <a:spcPts val="0"/>
                </a:spcBef>
                <a:spcAft>
                  <a:spcPts val="0"/>
                </a:spcAft>
                <a:buClrTx/>
                <a:buSzTx/>
                <a:buFontTx/>
                <a:buNone/>
                <a:tabLst/>
                <a:defRPr/>
              </a:pPr>
              <a:r>
                <a:rPr kumimoji="0" lang="en-US" sz="3273" b="1" i="0" u="none" strike="noStrike" kern="1200" cap="none" spc="0" normalizeH="0" baseline="0" noProof="0" dirty="0">
                  <a:ln>
                    <a:noFill/>
                  </a:ln>
                  <a:solidFill>
                    <a:srgbClr val="009CDE"/>
                  </a:solidFill>
                  <a:effectLst/>
                  <a:uLnTx/>
                  <a:uFillTx/>
                  <a:latin typeface="Arial" panose="020B0604020202020204" pitchFamily="34" charset="0"/>
                  <a:ea typeface="Times New Roman" panose="02020603050405020304" pitchFamily="18" charset="0"/>
                  <a:cs typeface="Times New Roman" panose="02020603050405020304" pitchFamily="18" charset="0"/>
                </a:rPr>
                <a:t>10,000 </a:t>
              </a:r>
              <a:br>
                <a:rPr kumimoji="0" lang="en-US" sz="1636" b="1" i="0" u="none" strike="noStrike" kern="1200" cap="none" spc="0" normalizeH="0" baseline="0" noProof="0" dirty="0">
                  <a:ln>
                    <a:noFill/>
                  </a:ln>
                  <a:solidFill>
                    <a:srgbClr val="009CDE"/>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daily threats detected</a:t>
              </a:r>
              <a:b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and blocked</a:t>
              </a:r>
            </a:p>
          </p:txBody>
        </p:sp>
        <p:pic>
          <p:nvPicPr>
            <p:cNvPr id="15" name="Picture 14" descr="A picture containing shape&#10;&#10;Description automatically generated">
              <a:extLst>
                <a:ext uri="{FF2B5EF4-FFF2-40B4-BE49-F238E27FC236}">
                  <a16:creationId xmlns:a16="http://schemas.microsoft.com/office/drawing/2014/main" id="{F4133217-D1A8-4E84-BDF9-0F82C2878749}"/>
                </a:ext>
              </a:extLst>
            </p:cNvPr>
            <p:cNvPicPr>
              <a:picLocks noChangeAspect="1"/>
            </p:cNvPicPr>
            <p:nvPr/>
          </p:nvPicPr>
          <p:blipFill rotWithShape="1">
            <a:blip r:embed="rId11"/>
            <a:srcRect t="6184"/>
            <a:stretch/>
          </p:blipFill>
          <p:spPr>
            <a:xfrm>
              <a:off x="4369031" y="2055951"/>
              <a:ext cx="3441469" cy="1883375"/>
            </a:xfrm>
            <a:prstGeom prst="rect">
              <a:avLst/>
            </a:prstGeom>
          </p:spPr>
        </p:pic>
        <p:cxnSp>
          <p:nvCxnSpPr>
            <p:cNvPr id="18" name="Straight Connector 17">
              <a:extLst>
                <a:ext uri="{FF2B5EF4-FFF2-40B4-BE49-F238E27FC236}">
                  <a16:creationId xmlns:a16="http://schemas.microsoft.com/office/drawing/2014/main" id="{EA0B4784-45C9-4743-8BD0-95643FDCC11B}"/>
                </a:ext>
              </a:extLst>
            </p:cNvPr>
            <p:cNvCxnSpPr>
              <a:cxnSpLocks/>
            </p:cNvCxnSpPr>
            <p:nvPr/>
          </p:nvCxnSpPr>
          <p:spPr>
            <a:xfrm>
              <a:off x="1575955" y="2055951"/>
              <a:ext cx="9040091" cy="0"/>
            </a:xfrm>
            <a:prstGeom prst="line">
              <a:avLst/>
            </a:prstGeom>
            <a:ln>
              <a:solidFill>
                <a:srgbClr val="888B8D"/>
              </a:solidFill>
              <a:prstDash val="lg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CFAA7A6-B278-4B1D-8EA5-0768441631B2}"/>
                </a:ext>
              </a:extLst>
            </p:cNvPr>
            <p:cNvCxnSpPr/>
            <p:nvPr/>
          </p:nvCxnSpPr>
          <p:spPr>
            <a:xfrm>
              <a:off x="1575955" y="3930105"/>
              <a:ext cx="9040091" cy="0"/>
            </a:xfrm>
            <a:prstGeom prst="line">
              <a:avLst/>
            </a:prstGeom>
            <a:ln>
              <a:solidFill>
                <a:srgbClr val="888B8D"/>
              </a:solidFill>
              <a:prstDash val="lg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374D8AC-3383-40DC-A3E1-8E7E05ED646F}"/>
                </a:ext>
              </a:extLst>
            </p:cNvPr>
            <p:cNvCxnSpPr>
              <a:cxnSpLocks/>
            </p:cNvCxnSpPr>
            <p:nvPr/>
          </p:nvCxnSpPr>
          <p:spPr>
            <a:xfrm flipV="1">
              <a:off x="4366953" y="349136"/>
              <a:ext cx="0" cy="5230995"/>
            </a:xfrm>
            <a:prstGeom prst="line">
              <a:avLst/>
            </a:prstGeom>
            <a:ln>
              <a:solidFill>
                <a:srgbClr val="888B8D"/>
              </a:solidFill>
              <a:prstDash val="lg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FD54E26-F2A1-45E7-8191-9387243C85FA}"/>
                </a:ext>
              </a:extLst>
            </p:cNvPr>
            <p:cNvCxnSpPr>
              <a:cxnSpLocks/>
            </p:cNvCxnSpPr>
            <p:nvPr/>
          </p:nvCxnSpPr>
          <p:spPr>
            <a:xfrm flipV="1">
              <a:off x="7810500" y="349135"/>
              <a:ext cx="0" cy="5230784"/>
            </a:xfrm>
            <a:prstGeom prst="line">
              <a:avLst/>
            </a:prstGeom>
            <a:ln>
              <a:solidFill>
                <a:srgbClr val="888B8D"/>
              </a:solidFill>
              <a:prstDash val="lgDash"/>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AD03035D-BC10-44AE-867E-B813C6A6B2E3}"/>
                </a:ext>
              </a:extLst>
            </p:cNvPr>
            <p:cNvSpPr/>
            <p:nvPr/>
          </p:nvSpPr>
          <p:spPr>
            <a:xfrm>
              <a:off x="4364875" y="976884"/>
              <a:ext cx="3460172" cy="553998"/>
            </a:xfrm>
            <a:prstGeom prst="rect">
              <a:avLst/>
            </a:prstGeom>
          </p:spPr>
          <p:txBody>
            <a:bodyPr wrap="square">
              <a:spAutoFit/>
            </a:bodyPr>
            <a:lstStyle/>
            <a:p>
              <a:pPr marL="0" marR="0" lvl="0" indent="0" algn="ctr" defTabSz="837962" rtl="0" eaLnBrk="1" fontAlgn="auto" latinLnBrk="0" hangingPunct="1">
                <a:lnSpc>
                  <a:spcPts val="1773"/>
                </a:lnSpc>
                <a:spcBef>
                  <a:spcPts val="0"/>
                </a:spcBef>
                <a:spcAft>
                  <a:spcPts val="0"/>
                </a:spcAft>
                <a:buClrTx/>
                <a:buSzTx/>
                <a:buFontTx/>
                <a:buNone/>
                <a:tabLst/>
                <a:defRPr/>
              </a:pPr>
              <a:r>
                <a:rPr kumimoji="0" lang="en-US" sz="3273" b="1" i="0" u="none" strike="noStrike" kern="1200" cap="none" spc="0" normalizeH="0" baseline="0" noProof="0" dirty="0">
                  <a:ln>
                    <a:noFill/>
                  </a:ln>
                  <a:solidFill>
                    <a:srgbClr val="3F9C35"/>
                  </a:solidFill>
                  <a:effectLst/>
                  <a:uLnTx/>
                  <a:uFillTx/>
                  <a:latin typeface="Arial" panose="020B0604020202020204" pitchFamily="34" charset="0"/>
                  <a:ea typeface="Times New Roman" panose="02020603050405020304" pitchFamily="18" charset="0"/>
                  <a:cs typeface="Times New Roman" panose="02020603050405020304" pitchFamily="18" charset="0"/>
                </a:rPr>
                <a:t>40,000 </a:t>
              </a:r>
              <a:br>
                <a:rPr kumimoji="0" lang="en-US" sz="1636" b="1" i="0" u="none" strike="noStrike" kern="1200" cap="none" spc="0" normalizeH="0" baseline="0" noProof="0" dirty="0">
                  <a:ln>
                    <a:noFill/>
                  </a:ln>
                  <a:solidFill>
                    <a:srgbClr val="3F9C35"/>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unique threat indicators</a:t>
              </a:r>
            </a:p>
          </p:txBody>
        </p:sp>
        <p:sp>
          <p:nvSpPr>
            <p:cNvPr id="52" name="Rectangle 51">
              <a:extLst>
                <a:ext uri="{FF2B5EF4-FFF2-40B4-BE49-F238E27FC236}">
                  <a16:creationId xmlns:a16="http://schemas.microsoft.com/office/drawing/2014/main" id="{A7152EA4-AF31-4D64-ADEE-397445D78629}"/>
                </a:ext>
              </a:extLst>
            </p:cNvPr>
            <p:cNvSpPr/>
            <p:nvPr/>
          </p:nvSpPr>
          <p:spPr>
            <a:xfrm>
              <a:off x="7825047" y="904009"/>
              <a:ext cx="2803467" cy="784830"/>
            </a:xfrm>
            <a:prstGeom prst="rect">
              <a:avLst/>
            </a:prstGeom>
          </p:spPr>
          <p:txBody>
            <a:bodyPr wrap="square">
              <a:spAutoFit/>
            </a:bodyPr>
            <a:lstStyle/>
            <a:p>
              <a:pPr marL="0" marR="0" lvl="0" indent="0" algn="ctr" defTabSz="837962" rtl="0" eaLnBrk="1" fontAlgn="auto" latinLnBrk="0" hangingPunct="1">
                <a:lnSpc>
                  <a:spcPts val="1773"/>
                </a:lnSpc>
                <a:spcBef>
                  <a:spcPts val="0"/>
                </a:spcBef>
                <a:spcAft>
                  <a:spcPts val="0"/>
                </a:spcAft>
                <a:buClrTx/>
                <a:buSzTx/>
                <a:buFontTx/>
                <a:buNone/>
                <a:tabLst/>
                <a:defRPr/>
              </a:pPr>
              <a:r>
                <a:rPr kumimoji="0" lang="en-US" sz="3273" b="1" i="0" u="none" strike="noStrike" kern="1200" cap="none" spc="0" normalizeH="0" baseline="0" noProof="0" dirty="0">
                  <a:ln>
                    <a:noFill/>
                  </a:ln>
                  <a:solidFill>
                    <a:srgbClr val="009CDE"/>
                  </a:solidFill>
                  <a:effectLst/>
                  <a:uLnTx/>
                  <a:uFillTx/>
                  <a:latin typeface="Arial" panose="020B0604020202020204" pitchFamily="34" charset="0"/>
                  <a:ea typeface="Times New Roman" panose="02020603050405020304" pitchFamily="18" charset="0"/>
                  <a:cs typeface="Times New Roman" panose="02020603050405020304" pitchFamily="18" charset="0"/>
                </a:rPr>
                <a:t>150K+</a:t>
              </a:r>
              <a:r>
                <a:rPr kumimoji="0" lang="en-US" sz="3273" b="1" i="0" u="none" strike="noStrike" kern="1200" cap="none" spc="0" normalizeH="0" baseline="0" noProof="0" dirty="0">
                  <a:ln>
                    <a:noFill/>
                  </a:ln>
                  <a:solidFill>
                    <a:srgbClr val="888B8D"/>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br>
                <a:rPr kumimoji="0" lang="en-US" sz="1636" b="1" i="0" u="none" strike="noStrike" kern="1200" cap="none" spc="0" normalizeH="0" baseline="0" noProof="0" dirty="0">
                  <a:ln>
                    <a:noFill/>
                  </a:ln>
                  <a:solidFill>
                    <a:srgbClr val="888B8D"/>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endpoints and </a:t>
              </a:r>
              <a:b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assets managed</a:t>
              </a:r>
            </a:p>
          </p:txBody>
        </p:sp>
        <p:sp>
          <p:nvSpPr>
            <p:cNvPr id="53" name="Rectangle 52">
              <a:extLst>
                <a:ext uri="{FF2B5EF4-FFF2-40B4-BE49-F238E27FC236}">
                  <a16:creationId xmlns:a16="http://schemas.microsoft.com/office/drawing/2014/main" id="{3FBF5C28-51D9-4326-8301-3E31A83273F2}"/>
                </a:ext>
              </a:extLst>
            </p:cNvPr>
            <p:cNvSpPr/>
            <p:nvPr/>
          </p:nvSpPr>
          <p:spPr>
            <a:xfrm>
              <a:off x="1575955" y="2685428"/>
              <a:ext cx="2793076" cy="784830"/>
            </a:xfrm>
            <a:prstGeom prst="rect">
              <a:avLst/>
            </a:prstGeom>
          </p:spPr>
          <p:txBody>
            <a:bodyPr wrap="square">
              <a:spAutoFit/>
            </a:bodyPr>
            <a:lstStyle/>
            <a:p>
              <a:pPr marL="0" marR="0" lvl="0" indent="0" algn="ctr" defTabSz="837962" rtl="0" eaLnBrk="1" fontAlgn="auto" latinLnBrk="0" hangingPunct="1">
                <a:lnSpc>
                  <a:spcPts val="1773"/>
                </a:lnSpc>
                <a:spcBef>
                  <a:spcPts val="0"/>
                </a:spcBef>
                <a:spcAft>
                  <a:spcPts val="0"/>
                </a:spcAft>
                <a:buClrTx/>
                <a:buSzTx/>
                <a:buFontTx/>
                <a:buNone/>
                <a:tabLst/>
                <a:defRPr/>
              </a:pPr>
              <a:r>
                <a:rPr kumimoji="0" lang="en-US" sz="3273" b="1" i="0" u="none" strike="noStrike" kern="1200" cap="none" spc="0" normalizeH="0" baseline="0" noProof="0" dirty="0">
                  <a:ln>
                    <a:noFill/>
                  </a:ln>
                  <a:solidFill>
                    <a:srgbClr val="3F9C35"/>
                  </a:solidFill>
                  <a:effectLst/>
                  <a:uLnTx/>
                  <a:uFillTx/>
                  <a:latin typeface="Arial" panose="020B0604020202020204" pitchFamily="34" charset="0"/>
                  <a:ea typeface="Times New Roman" panose="02020603050405020304" pitchFamily="18" charset="0"/>
                  <a:cs typeface="Times New Roman" panose="02020603050405020304" pitchFamily="18" charset="0"/>
                </a:rPr>
                <a:t>250</a:t>
              </a:r>
              <a:r>
                <a:rPr kumimoji="0" lang="en-US" sz="3273" b="1" i="0" u="none" strike="noStrike" kern="1200" cap="none" spc="0" normalizeH="0" baseline="0" noProof="0" dirty="0">
                  <a:ln>
                    <a:noFill/>
                  </a:ln>
                  <a:solidFill>
                    <a:srgbClr val="63666A"/>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br>
                <a:rPr kumimoji="0" lang="en-US" sz="1636" b="1" i="0" u="none" strike="noStrike" kern="1200" cap="none" spc="0" normalizeH="0" baseline="0" noProof="0" dirty="0">
                  <a:ln>
                    <a:noFill/>
                  </a:ln>
                  <a:solidFill>
                    <a:srgbClr val="63666A"/>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security</a:t>
              </a:r>
              <a:b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professionals</a:t>
              </a:r>
            </a:p>
          </p:txBody>
        </p:sp>
        <p:sp>
          <p:nvSpPr>
            <p:cNvPr id="55" name="Rectangle 54">
              <a:extLst>
                <a:ext uri="{FF2B5EF4-FFF2-40B4-BE49-F238E27FC236}">
                  <a16:creationId xmlns:a16="http://schemas.microsoft.com/office/drawing/2014/main" id="{E784CF64-DDDB-420D-B014-2AA69EDC5E4A}"/>
                </a:ext>
              </a:extLst>
            </p:cNvPr>
            <p:cNvSpPr/>
            <p:nvPr/>
          </p:nvSpPr>
          <p:spPr>
            <a:xfrm>
              <a:off x="1561802" y="4473648"/>
              <a:ext cx="2790993" cy="784830"/>
            </a:xfrm>
            <a:prstGeom prst="rect">
              <a:avLst/>
            </a:prstGeom>
          </p:spPr>
          <p:txBody>
            <a:bodyPr wrap="square">
              <a:spAutoFit/>
            </a:bodyPr>
            <a:lstStyle/>
            <a:p>
              <a:pPr marL="0" marR="0" lvl="0" indent="0" algn="ctr" defTabSz="837962" rtl="0" eaLnBrk="1" fontAlgn="auto" latinLnBrk="0" hangingPunct="1">
                <a:lnSpc>
                  <a:spcPts val="1773"/>
                </a:lnSpc>
                <a:spcBef>
                  <a:spcPts val="0"/>
                </a:spcBef>
                <a:spcAft>
                  <a:spcPts val="0"/>
                </a:spcAft>
                <a:buClrTx/>
                <a:buSzTx/>
                <a:buFontTx/>
                <a:buNone/>
                <a:tabLst/>
                <a:defRPr/>
              </a:pPr>
              <a:r>
                <a:rPr kumimoji="0" lang="en-US" sz="3273" b="1" i="0" u="none" strike="noStrike" kern="1200" cap="none" spc="0" normalizeH="0" baseline="0" noProof="0" dirty="0">
                  <a:ln>
                    <a:noFill/>
                  </a:ln>
                  <a:solidFill>
                    <a:srgbClr val="009CDE"/>
                  </a:solidFill>
                  <a:effectLst/>
                  <a:uLnTx/>
                  <a:uFillTx/>
                  <a:latin typeface="Arial" panose="020B0604020202020204" pitchFamily="34" charset="0"/>
                  <a:ea typeface="Times New Roman" panose="02020603050405020304" pitchFamily="18" charset="0"/>
                  <a:cs typeface="Times New Roman" panose="02020603050405020304" pitchFamily="18" charset="0"/>
                </a:rPr>
                <a:t>900+ </a:t>
              </a:r>
              <a:br>
                <a:rPr kumimoji="0" lang="en-US" sz="3273" b="1" i="0" u="none" strike="noStrike" kern="1200" cap="none" spc="0" normalizeH="0" baseline="0" noProof="0" dirty="0">
                  <a:ln>
                    <a:noFill/>
                  </a:ln>
                  <a:solidFill>
                    <a:srgbClr val="888B8D"/>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cybersecurity clients nationally</a:t>
              </a:r>
            </a:p>
          </p:txBody>
        </p:sp>
        <p:sp>
          <p:nvSpPr>
            <p:cNvPr id="56" name="Rectangle 55">
              <a:extLst>
                <a:ext uri="{FF2B5EF4-FFF2-40B4-BE49-F238E27FC236}">
                  <a16:creationId xmlns:a16="http://schemas.microsoft.com/office/drawing/2014/main" id="{FA7782A3-5797-4828-85F1-8843E5F281C8}"/>
                </a:ext>
              </a:extLst>
            </p:cNvPr>
            <p:cNvSpPr/>
            <p:nvPr/>
          </p:nvSpPr>
          <p:spPr>
            <a:xfrm>
              <a:off x="7832431" y="2540248"/>
              <a:ext cx="2793076" cy="1015663"/>
            </a:xfrm>
            <a:prstGeom prst="rect">
              <a:avLst/>
            </a:prstGeom>
          </p:spPr>
          <p:txBody>
            <a:bodyPr wrap="square">
              <a:spAutoFit/>
            </a:bodyPr>
            <a:lstStyle/>
            <a:p>
              <a:pPr marL="0" marR="0" lvl="0" indent="0" algn="ctr" defTabSz="837962" rtl="0" eaLnBrk="1" fontAlgn="auto" latinLnBrk="0" hangingPunct="1">
                <a:lnSpc>
                  <a:spcPts val="1773"/>
                </a:lnSpc>
                <a:spcBef>
                  <a:spcPts val="0"/>
                </a:spcBef>
                <a:spcAft>
                  <a:spcPts val="0"/>
                </a:spcAft>
                <a:buClrTx/>
                <a:buSzTx/>
                <a:buFontTx/>
                <a:buNone/>
                <a:tabLst/>
                <a:defRPr/>
              </a:pPr>
              <a:r>
                <a:rPr kumimoji="0" lang="en-US" sz="3273" b="1" i="0" u="none" strike="noStrike" kern="1200" cap="none" spc="0" normalizeH="0" baseline="0" noProof="0" dirty="0">
                  <a:ln>
                    <a:noFill/>
                  </a:ln>
                  <a:solidFill>
                    <a:srgbClr val="3F9C35"/>
                  </a:solidFill>
                  <a:effectLst/>
                  <a:uLnTx/>
                  <a:uFillTx/>
                  <a:latin typeface="Arial" panose="020B0604020202020204" pitchFamily="34" charset="0"/>
                  <a:ea typeface="Times New Roman" panose="02020603050405020304" pitchFamily="18" charset="0"/>
                  <a:cs typeface="Times New Roman" panose="02020603050405020304" pitchFamily="18" charset="0"/>
                </a:rPr>
                <a:t>75 </a:t>
              </a:r>
            </a:p>
            <a:p>
              <a:pPr marL="0" marR="0" lvl="0" indent="0" algn="ctr" defTabSz="837962" rtl="0" eaLnBrk="1" fontAlgn="auto" latinLnBrk="0" hangingPunct="1">
                <a:lnSpc>
                  <a:spcPts val="1773"/>
                </a:lnSpc>
                <a:spcBef>
                  <a:spcPts val="0"/>
                </a:spcBef>
                <a:spcAft>
                  <a:spcPts val="0"/>
                </a:spcAft>
                <a:buClrTx/>
                <a:buSzTx/>
                <a:buFontTx/>
                <a:buNone/>
                <a:tabLst/>
                <a:defRPr/>
              </a:pP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collective years </a:t>
              </a:r>
              <a:b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delivering managed security solutions</a:t>
              </a:r>
            </a:p>
          </p:txBody>
        </p:sp>
        <p:sp>
          <p:nvSpPr>
            <p:cNvPr id="57" name="Rectangle 56">
              <a:extLst>
                <a:ext uri="{FF2B5EF4-FFF2-40B4-BE49-F238E27FC236}">
                  <a16:creationId xmlns:a16="http://schemas.microsoft.com/office/drawing/2014/main" id="{AA90BC9B-45A2-461C-B909-C209F9A3C864}"/>
                </a:ext>
              </a:extLst>
            </p:cNvPr>
            <p:cNvSpPr/>
            <p:nvPr/>
          </p:nvSpPr>
          <p:spPr>
            <a:xfrm>
              <a:off x="7825047" y="4546276"/>
              <a:ext cx="2790997" cy="595804"/>
            </a:xfrm>
            <a:prstGeom prst="rect">
              <a:avLst/>
            </a:prstGeom>
          </p:spPr>
          <p:txBody>
            <a:bodyPr wrap="square">
              <a:spAutoFit/>
            </a:bodyPr>
            <a:lstStyle/>
            <a:p>
              <a:pPr marL="0" marR="0" lvl="0" indent="0" algn="ctr" defTabSz="837962" rtl="0" eaLnBrk="1" fontAlgn="auto" latinLnBrk="0" hangingPunct="1">
                <a:lnSpc>
                  <a:spcPct val="100000"/>
                </a:lnSpc>
                <a:spcBef>
                  <a:spcPts val="0"/>
                </a:spcBef>
                <a:spcAft>
                  <a:spcPts val="0"/>
                </a:spcAft>
                <a:buClrTx/>
                <a:buSzTx/>
                <a:buFontTx/>
                <a:buNone/>
                <a:tabLst/>
                <a:defRPr/>
              </a:pP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Security professionals </a:t>
              </a:r>
              <a:b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in            countries</a:t>
              </a:r>
            </a:p>
          </p:txBody>
        </p:sp>
        <p:sp>
          <p:nvSpPr>
            <p:cNvPr id="58" name="Rectangle 57">
              <a:extLst>
                <a:ext uri="{FF2B5EF4-FFF2-40B4-BE49-F238E27FC236}">
                  <a16:creationId xmlns:a16="http://schemas.microsoft.com/office/drawing/2014/main" id="{CF58E1C0-F804-4106-9F8C-B757409F6A12}"/>
                </a:ext>
              </a:extLst>
            </p:cNvPr>
            <p:cNvSpPr/>
            <p:nvPr/>
          </p:nvSpPr>
          <p:spPr>
            <a:xfrm>
              <a:off x="8379855" y="4741390"/>
              <a:ext cx="943823" cy="595997"/>
            </a:xfrm>
            <a:prstGeom prst="rect">
              <a:avLst/>
            </a:prstGeom>
          </p:spPr>
          <p:txBody>
            <a:bodyPr wrap="square">
              <a:spAutoFit/>
            </a:bodyPr>
            <a:lstStyle/>
            <a:p>
              <a:pPr marL="0" marR="0" lvl="0" indent="0" algn="ctr" defTabSz="837962" rtl="0" eaLnBrk="1" fontAlgn="auto" latinLnBrk="0" hangingPunct="1">
                <a:lnSpc>
                  <a:spcPct val="100000"/>
                </a:lnSpc>
                <a:spcBef>
                  <a:spcPts val="0"/>
                </a:spcBef>
                <a:spcAft>
                  <a:spcPts val="0"/>
                </a:spcAft>
                <a:buClrTx/>
                <a:buSzTx/>
                <a:buFontTx/>
                <a:buNone/>
                <a:tabLst/>
                <a:defRPr/>
              </a:pPr>
              <a:r>
                <a:rPr kumimoji="0" lang="en-US" sz="3273" b="1" i="0" u="none" strike="noStrike" kern="1200" cap="none" spc="0" normalizeH="0" baseline="0" noProof="0">
                  <a:ln>
                    <a:noFill/>
                  </a:ln>
                  <a:solidFill>
                    <a:srgbClr val="009CDE"/>
                  </a:solidFill>
                  <a:effectLst/>
                  <a:uLnTx/>
                  <a:uFillTx/>
                  <a:latin typeface="Arial" panose="020B0604020202020204" pitchFamily="34" charset="0"/>
                  <a:ea typeface="Times New Roman" panose="02020603050405020304" pitchFamily="18" charset="0"/>
                  <a:cs typeface="Times New Roman" panose="02020603050405020304" pitchFamily="18" charset="0"/>
                </a:rPr>
                <a:t>29</a:t>
              </a:r>
            </a:p>
          </p:txBody>
        </p:sp>
      </p:grpSp>
    </p:spTree>
    <p:extLst>
      <p:ext uri="{BB962C8B-B14F-4D97-AF65-F5344CB8AC3E}">
        <p14:creationId xmlns:p14="http://schemas.microsoft.com/office/powerpoint/2010/main" val="31917709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1"/>
          <p:cNvSpPr txBox="1">
            <a:spLocks/>
          </p:cNvSpPr>
          <p:nvPr/>
        </p:nvSpPr>
        <p:spPr>
          <a:xfrm>
            <a:off x="640864" y="1404804"/>
            <a:ext cx="4364628" cy="356347"/>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44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effectLst/>
                <a:uLnTx/>
                <a:uFillTx/>
                <a:ea typeface="+mj-ea"/>
                <a:cs typeface="Arial" panose="020B0604020202020204" pitchFamily="34" charset="0"/>
              </a:rPr>
              <a:t>RSM SOC – Incident Alert &amp; Response Procedure</a:t>
            </a:r>
          </a:p>
        </p:txBody>
      </p:sp>
      <p:sp>
        <p:nvSpPr>
          <p:cNvPr id="27" name="Title 26">
            <a:extLst>
              <a:ext uri="{FF2B5EF4-FFF2-40B4-BE49-F238E27FC236}">
                <a16:creationId xmlns:a16="http://schemas.microsoft.com/office/drawing/2014/main" id="{116B0A9B-8605-48D9-BFC9-CE3C9BF0C757}"/>
              </a:ext>
            </a:extLst>
          </p:cNvPr>
          <p:cNvSpPr>
            <a:spLocks noGrp="1"/>
          </p:cNvSpPr>
          <p:nvPr>
            <p:ph type="title" idx="4294967295"/>
          </p:nvPr>
        </p:nvSpPr>
        <p:spPr>
          <a:xfrm>
            <a:off x="609600" y="612348"/>
            <a:ext cx="10010775" cy="554038"/>
          </a:xfrm>
        </p:spPr>
        <p:txBody>
          <a:bodyPr vert="horz" lIns="91440" tIns="45720" rIns="91440" bIns="45720" rtlCol="0" anchor="ctr">
            <a:normAutofit fontScale="90000"/>
          </a:bodyPr>
          <a:lstStyle/>
          <a:p>
            <a:r>
              <a:rPr lang="en-US" dirty="0">
                <a:latin typeface="Arial"/>
                <a:cs typeface="Arial"/>
              </a:rPr>
              <a:t>Day In The Life | Threat detection</a:t>
            </a:r>
          </a:p>
        </p:txBody>
      </p:sp>
      <p:sp>
        <p:nvSpPr>
          <p:cNvPr id="3" name="Slide Number Placeholder 2">
            <a:extLst>
              <a:ext uri="{FF2B5EF4-FFF2-40B4-BE49-F238E27FC236}">
                <a16:creationId xmlns:a16="http://schemas.microsoft.com/office/drawing/2014/main" id="{10C89B68-4A99-4EE1-B629-D437A8BC0C8D}"/>
              </a:ext>
            </a:extLst>
          </p:cNvPr>
          <p:cNvSpPr>
            <a:spLocks noGrp="1"/>
          </p:cNvSpPr>
          <p:nvPr>
            <p:ph type="sldNum" sz="quarter" idx="4294967295"/>
          </p:nvPr>
        </p:nvSpPr>
        <p:spPr>
          <a:xfrm>
            <a:off x="0" y="6553201"/>
            <a:ext cx="533400" cy="300038"/>
          </a:xfrm>
        </p:spPr>
        <p:txBody>
          <a:bodyPr/>
          <a:lstStyle/>
          <a:p>
            <a:fld id="{5F216A59-F14F-4160-BEAB-21121CD18D5D}" type="slidenum">
              <a:rPr lang="en-US" smtClean="0"/>
              <a:t>6</a:t>
            </a:fld>
            <a:endParaRPr lang="en-US" dirty="0"/>
          </a:p>
        </p:txBody>
      </p:sp>
      <p:grpSp>
        <p:nvGrpSpPr>
          <p:cNvPr id="2" name="Group 1">
            <a:extLst>
              <a:ext uri="{FF2B5EF4-FFF2-40B4-BE49-F238E27FC236}">
                <a16:creationId xmlns:a16="http://schemas.microsoft.com/office/drawing/2014/main" id="{2B3D51AD-8AC7-52DC-E981-0FA931201906}"/>
              </a:ext>
            </a:extLst>
          </p:cNvPr>
          <p:cNvGrpSpPr/>
          <p:nvPr/>
        </p:nvGrpSpPr>
        <p:grpSpPr>
          <a:xfrm>
            <a:off x="533400" y="1712166"/>
            <a:ext cx="11371033" cy="4745305"/>
            <a:chOff x="329702" y="1446489"/>
            <a:chExt cx="11371033" cy="4745305"/>
          </a:xfrm>
        </p:grpSpPr>
        <p:cxnSp>
          <p:nvCxnSpPr>
            <p:cNvPr id="37" name="Straight Arrow Connector 36"/>
            <p:cNvCxnSpPr>
              <a:cxnSpLocks/>
            </p:cNvCxnSpPr>
            <p:nvPr/>
          </p:nvCxnSpPr>
          <p:spPr>
            <a:xfrm flipV="1">
              <a:off x="3693598" y="3977780"/>
              <a:ext cx="342653" cy="264611"/>
            </a:xfrm>
            <a:prstGeom prst="straightConnector1">
              <a:avLst/>
            </a:prstGeom>
            <a:ln w="25400">
              <a:solidFill>
                <a:schemeClr val="accent1"/>
              </a:solidFill>
              <a:headEnd type="oval"/>
              <a:tailEnd type="triangle"/>
            </a:ln>
            <a:effectLst/>
          </p:spPr>
          <p:style>
            <a:lnRef idx="2">
              <a:schemeClr val="accent1"/>
            </a:lnRef>
            <a:fillRef idx="0">
              <a:schemeClr val="accent1"/>
            </a:fillRef>
            <a:effectRef idx="1">
              <a:schemeClr val="accent1"/>
            </a:effectRef>
            <a:fontRef idx="minor">
              <a:schemeClr val="tx1"/>
            </a:fontRef>
          </p:style>
        </p:cxnSp>
        <p:sp>
          <p:nvSpPr>
            <p:cNvPr id="38" name="Oval 43">
              <a:extLst>
                <a:ext uri="{FF2B5EF4-FFF2-40B4-BE49-F238E27FC236}">
                  <a16:creationId xmlns:a16="http://schemas.microsoft.com/office/drawing/2014/main" id="{39D1D432-1460-4937-8255-DDD48CAA601B}"/>
                </a:ext>
              </a:extLst>
            </p:cNvPr>
            <p:cNvSpPr>
              <a:spLocks noChangeArrowheads="1"/>
            </p:cNvSpPr>
            <p:nvPr/>
          </p:nvSpPr>
          <p:spPr bwMode="auto">
            <a:xfrm>
              <a:off x="9198201" y="3324569"/>
              <a:ext cx="2416601" cy="1005075"/>
            </a:xfrm>
            <a:prstGeom prst="roundRect">
              <a:avLst/>
            </a:prstGeom>
            <a:solidFill>
              <a:schemeClr val="accent1"/>
            </a:solidFill>
            <a:ln w="12700">
              <a:noFill/>
              <a:round/>
              <a:headEnd/>
              <a:tailEnd/>
            </a:ln>
          </p:spPr>
          <p:txBody>
            <a:bodyPr wrap="square" lIns="88900" tIns="88900" rIns="88900" bIns="88900" anchor="ctr">
              <a:noAutofit/>
            </a:bodyPr>
            <a:lstStyle/>
            <a:p>
              <a:pPr marL="0" marR="0" lvl="0" indent="0" algn="ctr" defTabSz="912813" rtl="0" eaLnBrk="1" fontAlgn="auto" latinLnBrk="0" hangingPunct="1">
                <a:lnSpc>
                  <a:spcPct val="100000"/>
                </a:lnSpc>
                <a:spcBef>
                  <a:spcPct val="0"/>
                </a:spcBef>
                <a:spcAft>
                  <a:spcPct val="37000"/>
                </a:spcAft>
                <a:buClrTx/>
                <a:buSzPct val="75000"/>
                <a:buFontTx/>
                <a:buNone/>
                <a:tabLst/>
                <a:defRPr/>
              </a:pPr>
              <a:r>
                <a:rPr kumimoji="0" lang="en-US" sz="1200" b="1" i="0" strike="noStrike" kern="1200" cap="none" spc="0" normalizeH="0" baseline="0" noProof="0">
                  <a:ln>
                    <a:noFill/>
                  </a:ln>
                  <a:solidFill>
                    <a:prstClr val="white"/>
                  </a:solidFill>
                  <a:effectLst/>
                  <a:uLnTx/>
                  <a:uFillTx/>
                  <a:latin typeface="+mj-lt"/>
                  <a:ea typeface="+mn-ea"/>
                  <a:cs typeface="+mn-cs"/>
                </a:rPr>
                <a:t>Continuous improvement:</a:t>
              </a:r>
            </a:p>
            <a:p>
              <a:pPr marL="171450" marR="0" lvl="0" indent="-171450" algn="l" defTabSz="912813" rtl="0" eaLnBrk="1" fontAlgn="auto" latinLnBrk="0" hangingPunct="1">
                <a:lnSpc>
                  <a:spcPct val="100000"/>
                </a:lnSpc>
                <a:spcBef>
                  <a:spcPct val="0"/>
                </a:spcBef>
                <a:spcAft>
                  <a:spcPct val="37000"/>
                </a:spcAft>
                <a:buClrTx/>
                <a:buSzPct val="75000"/>
                <a:buFont typeface="Arial" panose="020B0604020202020204" pitchFamily="34" charset="0"/>
                <a:buChar char="•"/>
                <a:tabLst/>
                <a:defRPr/>
              </a:pPr>
              <a:r>
                <a:rPr kumimoji="0" lang="en-US" sz="1100" b="1" i="0" u="none" strike="noStrike" kern="1200" cap="none" spc="0" normalizeH="0" baseline="0" noProof="0">
                  <a:ln>
                    <a:noFill/>
                  </a:ln>
                  <a:solidFill>
                    <a:prstClr val="white"/>
                  </a:solidFill>
                  <a:effectLst/>
                  <a:uLnTx/>
                  <a:uFillTx/>
                  <a:latin typeface="+mj-lt"/>
                  <a:ea typeface="+mn-ea"/>
                  <a:cs typeface="+mn-cs"/>
                </a:rPr>
                <a:t>Automation Candidate</a:t>
              </a:r>
            </a:p>
            <a:p>
              <a:pPr marL="171450" marR="0" lvl="0" indent="-171450" algn="l" defTabSz="912813" rtl="0" eaLnBrk="1" fontAlgn="auto" latinLnBrk="0" hangingPunct="1">
                <a:lnSpc>
                  <a:spcPct val="100000"/>
                </a:lnSpc>
                <a:spcBef>
                  <a:spcPct val="0"/>
                </a:spcBef>
                <a:spcAft>
                  <a:spcPct val="37000"/>
                </a:spcAft>
                <a:buClrTx/>
                <a:buSzPct val="75000"/>
                <a:buFont typeface="Arial" panose="020B0604020202020204" pitchFamily="34" charset="0"/>
                <a:buChar char="•"/>
                <a:tabLst/>
                <a:defRPr/>
              </a:pPr>
              <a:r>
                <a:rPr kumimoji="0" lang="en-US" sz="1100" b="1" i="0" u="none" strike="noStrike" kern="1200" cap="none" spc="0" normalizeH="0" baseline="0" noProof="0">
                  <a:ln>
                    <a:noFill/>
                  </a:ln>
                  <a:solidFill>
                    <a:prstClr val="white"/>
                  </a:solidFill>
                  <a:effectLst/>
                  <a:uLnTx/>
                  <a:uFillTx/>
                  <a:latin typeface="+mj-lt"/>
                  <a:ea typeface="+mn-ea"/>
                  <a:cs typeface="+mn-cs"/>
                </a:rPr>
                <a:t>Correct Remediation Tactic</a:t>
              </a:r>
            </a:p>
            <a:p>
              <a:pPr marL="171450" marR="0" lvl="0" indent="-171450" algn="l" defTabSz="912813" rtl="0" eaLnBrk="1" fontAlgn="auto" latinLnBrk="0" hangingPunct="1">
                <a:lnSpc>
                  <a:spcPct val="100000"/>
                </a:lnSpc>
                <a:spcBef>
                  <a:spcPct val="0"/>
                </a:spcBef>
                <a:spcAft>
                  <a:spcPct val="37000"/>
                </a:spcAft>
                <a:buClrTx/>
                <a:buSzPct val="75000"/>
                <a:buFont typeface="Arial" panose="020B0604020202020204" pitchFamily="34" charset="0"/>
                <a:buChar char="•"/>
                <a:tabLst/>
                <a:defRPr/>
              </a:pPr>
              <a:r>
                <a:rPr kumimoji="0" lang="en-US" sz="1100" b="1" i="0" u="none" strike="noStrike" kern="1200" cap="none" spc="0" normalizeH="0" baseline="0" noProof="0">
                  <a:ln>
                    <a:noFill/>
                  </a:ln>
                  <a:solidFill>
                    <a:prstClr val="white"/>
                  </a:solidFill>
                  <a:effectLst/>
                  <a:uLnTx/>
                  <a:uFillTx/>
                  <a:latin typeface="+mj-lt"/>
                  <a:ea typeface="+mn-ea"/>
                  <a:cs typeface="+mn-cs"/>
                </a:rPr>
                <a:t>Tune </a:t>
              </a:r>
              <a:r>
                <a:rPr lang="en-US" sz="1100" b="1">
                  <a:solidFill>
                    <a:prstClr val="white"/>
                  </a:solidFill>
                  <a:latin typeface="+mj-lt"/>
                </a:rPr>
                <a:t>OR</a:t>
              </a:r>
              <a:r>
                <a:rPr kumimoji="0" lang="en-US" sz="1100" b="1" i="0" u="none" strike="noStrike" kern="1200" cap="none" spc="0" normalizeH="0" baseline="0" noProof="0">
                  <a:ln>
                    <a:noFill/>
                  </a:ln>
                  <a:solidFill>
                    <a:prstClr val="white"/>
                  </a:solidFill>
                  <a:effectLst/>
                  <a:uLnTx/>
                  <a:uFillTx/>
                  <a:latin typeface="+mj-lt"/>
                  <a:ea typeface="+mn-ea"/>
                  <a:cs typeface="+mn-cs"/>
                </a:rPr>
                <a:t> Augment Rulesets</a:t>
              </a:r>
            </a:p>
          </p:txBody>
        </p:sp>
        <p:sp>
          <p:nvSpPr>
            <p:cNvPr id="39" name="Oval 43">
              <a:extLst>
                <a:ext uri="{FF2B5EF4-FFF2-40B4-BE49-F238E27FC236}">
                  <a16:creationId xmlns:a16="http://schemas.microsoft.com/office/drawing/2014/main" id="{39D1D432-1460-4937-8255-DDD48CAA601B}"/>
                </a:ext>
              </a:extLst>
            </p:cNvPr>
            <p:cNvSpPr>
              <a:spLocks noChangeArrowheads="1"/>
            </p:cNvSpPr>
            <p:nvPr/>
          </p:nvSpPr>
          <p:spPr bwMode="auto">
            <a:xfrm>
              <a:off x="9396444" y="5449399"/>
              <a:ext cx="2082747" cy="581715"/>
            </a:xfrm>
            <a:prstGeom prst="roundRect">
              <a:avLst/>
            </a:prstGeom>
            <a:solidFill>
              <a:srgbClr val="7030A0"/>
            </a:solidFill>
            <a:ln w="12700">
              <a:noFill/>
              <a:round/>
              <a:headEnd/>
              <a:tailEnd/>
            </a:ln>
          </p:spPr>
          <p:txBody>
            <a:bodyPr wrap="square" lIns="88900" tIns="88900" rIns="88900" bIns="88900" anchor="ctr">
              <a:noAutofit/>
            </a:bodyPr>
            <a:lstStyle/>
            <a:p>
              <a:pPr marL="0" marR="0" lvl="0" indent="0" algn="ctr" defTabSz="912813" rtl="0" eaLnBrk="1" fontAlgn="auto" latinLnBrk="0" hangingPunct="1">
                <a:lnSpc>
                  <a:spcPct val="100000"/>
                </a:lnSpc>
                <a:spcBef>
                  <a:spcPct val="0"/>
                </a:spcBef>
                <a:spcAft>
                  <a:spcPct val="37000"/>
                </a:spcAft>
                <a:buClrTx/>
                <a:buSzPct val="75000"/>
                <a:buFontTx/>
                <a:buNone/>
                <a:tabLst/>
                <a:defRPr/>
              </a:pPr>
              <a:r>
                <a:rPr kumimoji="0" lang="en-US" sz="1000" b="1" i="0" u="none" strike="noStrike" kern="1200" cap="none" spc="0" normalizeH="0" baseline="0" noProof="0">
                  <a:ln>
                    <a:noFill/>
                  </a:ln>
                  <a:solidFill>
                    <a:prstClr val="white"/>
                  </a:solidFill>
                  <a:effectLst/>
                  <a:uLnTx/>
                  <a:uFillTx/>
                  <a:latin typeface="+mj-lt"/>
                  <a:ea typeface="+mn-ea"/>
                  <a:cs typeface="+mn-cs"/>
                </a:rPr>
                <a:t>Closing and Continuous Improvement</a:t>
              </a:r>
            </a:p>
          </p:txBody>
        </p:sp>
        <p:cxnSp>
          <p:nvCxnSpPr>
            <p:cNvPr id="43" name="Straight Arrow Connector 42"/>
            <p:cNvCxnSpPr>
              <a:cxnSpLocks/>
              <a:stCxn id="36" idx="3"/>
            </p:cNvCxnSpPr>
            <p:nvPr/>
          </p:nvCxnSpPr>
          <p:spPr>
            <a:xfrm>
              <a:off x="3682713" y="3336061"/>
              <a:ext cx="353538" cy="285772"/>
            </a:xfrm>
            <a:prstGeom prst="straightConnector1">
              <a:avLst/>
            </a:prstGeom>
            <a:ln w="25400">
              <a:solidFill>
                <a:schemeClr val="accent1"/>
              </a:solidFill>
              <a:headEnd type="oval"/>
              <a:tailEnd type="triangle"/>
            </a:ln>
            <a:effectLst/>
          </p:spPr>
          <p:style>
            <a:lnRef idx="2">
              <a:schemeClr val="accent1"/>
            </a:lnRef>
            <a:fillRef idx="0">
              <a:schemeClr val="accent1"/>
            </a:fillRef>
            <a:effectRef idx="1">
              <a:schemeClr val="accent1"/>
            </a:effectRef>
            <a:fontRef idx="minor">
              <a:schemeClr val="tx1"/>
            </a:fontRef>
          </p:style>
        </p:cxnSp>
        <p:sp>
          <p:nvSpPr>
            <p:cNvPr id="40" name="Oval 43">
              <a:extLst>
                <a:ext uri="{FF2B5EF4-FFF2-40B4-BE49-F238E27FC236}">
                  <a16:creationId xmlns:a16="http://schemas.microsoft.com/office/drawing/2014/main" id="{39D1D432-1460-4937-8255-DDD48CAA601B}"/>
                </a:ext>
              </a:extLst>
            </p:cNvPr>
            <p:cNvSpPr>
              <a:spLocks noChangeArrowheads="1"/>
            </p:cNvSpPr>
            <p:nvPr/>
          </p:nvSpPr>
          <p:spPr bwMode="auto">
            <a:xfrm>
              <a:off x="2346522" y="4066809"/>
              <a:ext cx="1336191" cy="381804"/>
            </a:xfrm>
            <a:prstGeom prst="roundRect">
              <a:avLst/>
            </a:prstGeom>
            <a:solidFill>
              <a:srgbClr val="0070C0"/>
            </a:solidFill>
            <a:ln w="12700">
              <a:noFill/>
              <a:round/>
              <a:headEnd/>
              <a:tailEnd/>
            </a:ln>
          </p:spPr>
          <p:txBody>
            <a:bodyPr wrap="square" lIns="88900" tIns="88900" rIns="88900" bIns="88900" anchor="ctr">
              <a:noAutofit/>
            </a:bodyPr>
            <a:lstStyle/>
            <a:p>
              <a:pPr marL="0" marR="0" lvl="0" indent="0" algn="ctr" defTabSz="912813" rtl="0" eaLnBrk="1" fontAlgn="auto" latinLnBrk="0" hangingPunct="1">
                <a:lnSpc>
                  <a:spcPct val="100000"/>
                </a:lnSpc>
                <a:spcBef>
                  <a:spcPct val="0"/>
                </a:spcBef>
                <a:spcAft>
                  <a:spcPct val="37000"/>
                </a:spcAft>
                <a:buClrTx/>
                <a:buSzPct val="75000"/>
                <a:buFontTx/>
                <a:buNone/>
                <a:tabLst/>
                <a:defRPr/>
              </a:pPr>
              <a:r>
                <a:rPr kumimoji="0" lang="en-US" sz="1100" b="1" i="0" u="none" strike="noStrike" kern="1200" cap="none" spc="0" normalizeH="0" baseline="0" noProof="0">
                  <a:ln>
                    <a:noFill/>
                  </a:ln>
                  <a:solidFill>
                    <a:prstClr val="white"/>
                  </a:solidFill>
                  <a:effectLst/>
                  <a:uLnTx/>
                  <a:uFillTx/>
                  <a:latin typeface="+mj-lt"/>
                  <a:ea typeface="+mn-ea"/>
                  <a:cs typeface="+mn-cs"/>
                </a:rPr>
                <a:t>Query Threat Intel</a:t>
              </a:r>
            </a:p>
          </p:txBody>
        </p:sp>
        <p:cxnSp>
          <p:nvCxnSpPr>
            <p:cNvPr id="44" name="Straight Arrow Connector 43"/>
            <p:cNvCxnSpPr>
              <a:cxnSpLocks/>
              <a:stCxn id="47" idx="3"/>
            </p:cNvCxnSpPr>
            <p:nvPr/>
          </p:nvCxnSpPr>
          <p:spPr>
            <a:xfrm>
              <a:off x="3697844" y="3810622"/>
              <a:ext cx="311615" cy="0"/>
            </a:xfrm>
            <a:prstGeom prst="straightConnector1">
              <a:avLst/>
            </a:prstGeom>
            <a:ln w="25400">
              <a:solidFill>
                <a:schemeClr val="accent1"/>
              </a:solidFill>
              <a:headEnd type="oval"/>
              <a:tailEnd type="triangle"/>
            </a:ln>
            <a:effectLst/>
          </p:spPr>
          <p:style>
            <a:lnRef idx="2">
              <a:schemeClr val="accent1"/>
            </a:lnRef>
            <a:fillRef idx="0">
              <a:schemeClr val="accent1"/>
            </a:fillRef>
            <a:effectRef idx="1">
              <a:schemeClr val="accent1"/>
            </a:effectRef>
            <a:fontRef idx="minor">
              <a:schemeClr val="tx1"/>
            </a:fontRef>
          </p:style>
        </p:cxnSp>
        <p:sp>
          <p:nvSpPr>
            <p:cNvPr id="47" name="Oval 43">
              <a:extLst>
                <a:ext uri="{FF2B5EF4-FFF2-40B4-BE49-F238E27FC236}">
                  <a16:creationId xmlns:a16="http://schemas.microsoft.com/office/drawing/2014/main" id="{39D1D432-1460-4937-8255-DDD48CAA601B}"/>
                </a:ext>
              </a:extLst>
            </p:cNvPr>
            <p:cNvSpPr>
              <a:spLocks noChangeArrowheads="1"/>
            </p:cNvSpPr>
            <p:nvPr/>
          </p:nvSpPr>
          <p:spPr bwMode="auto">
            <a:xfrm>
              <a:off x="2346991" y="3619719"/>
              <a:ext cx="1350853" cy="381804"/>
            </a:xfrm>
            <a:prstGeom prst="roundRect">
              <a:avLst/>
            </a:prstGeom>
            <a:solidFill>
              <a:srgbClr val="0070C0"/>
            </a:solidFill>
            <a:ln w="12700">
              <a:noFill/>
              <a:round/>
              <a:headEnd/>
              <a:tailEnd/>
            </a:ln>
          </p:spPr>
          <p:txBody>
            <a:bodyPr wrap="square" lIns="88900" tIns="88900" rIns="88900" bIns="88900" anchor="ctr">
              <a:noAutofit/>
            </a:bodyPr>
            <a:lstStyle/>
            <a:p>
              <a:pPr marL="0" marR="0" lvl="0" indent="0" algn="ctr" defTabSz="912813" rtl="0" eaLnBrk="1" fontAlgn="auto" latinLnBrk="0" hangingPunct="1">
                <a:lnSpc>
                  <a:spcPct val="100000"/>
                </a:lnSpc>
                <a:spcBef>
                  <a:spcPct val="0"/>
                </a:spcBef>
                <a:spcAft>
                  <a:spcPct val="37000"/>
                </a:spcAft>
                <a:buClrTx/>
                <a:buSzPct val="75000"/>
                <a:buFontTx/>
                <a:buNone/>
                <a:tabLst/>
                <a:defRPr/>
              </a:pPr>
              <a:r>
                <a:rPr kumimoji="0" lang="en-US" sz="1100" b="1" i="0" u="none" strike="noStrike" kern="1200" cap="none" spc="0" normalizeH="0" baseline="0" noProof="0">
                  <a:ln>
                    <a:noFill/>
                  </a:ln>
                  <a:solidFill>
                    <a:prstClr val="white"/>
                  </a:solidFill>
                  <a:effectLst/>
                  <a:uLnTx/>
                  <a:uFillTx/>
                  <a:latin typeface="+mj-lt"/>
                  <a:ea typeface="+mn-ea"/>
                  <a:cs typeface="+mn-cs"/>
                </a:rPr>
                <a:t>Investigate</a:t>
              </a:r>
            </a:p>
          </p:txBody>
        </p:sp>
        <p:sp>
          <p:nvSpPr>
            <p:cNvPr id="52" name="TextBox 51"/>
            <p:cNvSpPr txBox="1"/>
            <p:nvPr/>
          </p:nvSpPr>
          <p:spPr>
            <a:xfrm>
              <a:off x="456944" y="3941657"/>
              <a:ext cx="143332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2"/>
                  </a:solidFill>
                  <a:effectLst/>
                  <a:uLnTx/>
                  <a:uFillTx/>
                  <a:latin typeface="+mj-lt"/>
                  <a:ea typeface="+mn-ea"/>
                  <a:cs typeface="+mn-cs"/>
                </a:rPr>
                <a:t>SOC analyst receives alert</a:t>
              </a:r>
            </a:p>
          </p:txBody>
        </p:sp>
        <p:cxnSp>
          <p:nvCxnSpPr>
            <p:cNvPr id="65" name="Straight Arrow Connector 64"/>
            <p:cNvCxnSpPr>
              <a:cxnSpLocks/>
              <a:endCxn id="40" idx="1"/>
            </p:cNvCxnSpPr>
            <p:nvPr/>
          </p:nvCxnSpPr>
          <p:spPr>
            <a:xfrm>
              <a:off x="1981999" y="3798396"/>
              <a:ext cx="364523" cy="459315"/>
            </a:xfrm>
            <a:prstGeom prst="straightConnector1">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a:cxnSpLocks/>
              <a:endCxn id="36" idx="1"/>
            </p:cNvCxnSpPr>
            <p:nvPr/>
          </p:nvCxnSpPr>
          <p:spPr>
            <a:xfrm flipV="1">
              <a:off x="1981999" y="3336061"/>
              <a:ext cx="364523" cy="462335"/>
            </a:xfrm>
            <a:prstGeom prst="straightConnector1">
              <a:avLst/>
            </a:prstGeom>
            <a:ln w="25400">
              <a:solidFill>
                <a:schemeClr val="accent1"/>
              </a:solidFill>
              <a:headEnd type="oval"/>
              <a:tailEnd type="triangle"/>
            </a:ln>
            <a:effectLst/>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a:cxnSpLocks/>
              <a:endCxn id="47" idx="1"/>
            </p:cNvCxnSpPr>
            <p:nvPr/>
          </p:nvCxnSpPr>
          <p:spPr>
            <a:xfrm flipV="1">
              <a:off x="1981999" y="3810621"/>
              <a:ext cx="364992" cy="2"/>
            </a:xfrm>
            <a:prstGeom prst="straightConnector1">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70" name="Double Bracket 69"/>
            <p:cNvSpPr/>
            <p:nvPr/>
          </p:nvSpPr>
          <p:spPr>
            <a:xfrm>
              <a:off x="7139014" y="1453487"/>
              <a:ext cx="1934320" cy="4738307"/>
            </a:xfrm>
            <a:prstGeom prst="bracketPair">
              <a:avLst>
                <a:gd name="adj" fmla="val 0"/>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pic>
          <p:nvPicPr>
            <p:cNvPr id="71" name="Picture 70" descr="Document outline"/>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rot="1510799">
              <a:off x="479264" y="4830777"/>
              <a:ext cx="448783" cy="448783"/>
            </a:xfrm>
            <a:prstGeom prst="rect">
              <a:avLst/>
            </a:prstGeom>
            <a:noFill/>
            <a:ln>
              <a:solidFill>
                <a:schemeClr val="accent1"/>
              </a:solidFill>
            </a:ln>
          </p:spPr>
        </p:pic>
        <p:sp>
          <p:nvSpPr>
            <p:cNvPr id="72" name="TextBox 71"/>
            <p:cNvSpPr txBox="1"/>
            <p:nvPr/>
          </p:nvSpPr>
          <p:spPr>
            <a:xfrm>
              <a:off x="933384" y="4902983"/>
              <a:ext cx="112266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2">
                      <a:lumMod val="75000"/>
                    </a:schemeClr>
                  </a:solidFill>
                  <a:effectLst/>
                  <a:uLnTx/>
                  <a:uFillTx/>
                  <a:latin typeface="+mj-lt"/>
                  <a:ea typeface="+mn-ea"/>
                  <a:cs typeface="+mn-cs"/>
                </a:rPr>
                <a:t>RSM analyst</a:t>
              </a:r>
            </a:p>
          </p:txBody>
        </p:sp>
        <p:grpSp>
          <p:nvGrpSpPr>
            <p:cNvPr id="14" name="Group 13">
              <a:extLst>
                <a:ext uri="{FF2B5EF4-FFF2-40B4-BE49-F238E27FC236}">
                  <a16:creationId xmlns:a16="http://schemas.microsoft.com/office/drawing/2014/main" id="{A65A7A5F-6F85-4A87-9DC0-D2D907F9678A}"/>
                </a:ext>
              </a:extLst>
            </p:cNvPr>
            <p:cNvGrpSpPr/>
            <p:nvPr/>
          </p:nvGrpSpPr>
          <p:grpSpPr>
            <a:xfrm>
              <a:off x="329702" y="1590244"/>
              <a:ext cx="1687807" cy="581715"/>
              <a:chOff x="251128" y="1794717"/>
              <a:chExt cx="1742330" cy="790506"/>
            </a:xfrm>
          </p:grpSpPr>
          <p:sp>
            <p:nvSpPr>
              <p:cNvPr id="73" name="Flowchart: Magnetic Disk 94">
                <a:extLst>
                  <a:ext uri="{FF2B5EF4-FFF2-40B4-BE49-F238E27FC236}">
                    <a16:creationId xmlns:a16="http://schemas.microsoft.com/office/drawing/2014/main" id="{AA2731B1-BDB8-48CA-97E8-341773CCD30D}"/>
                  </a:ext>
                </a:extLst>
              </p:cNvPr>
              <p:cNvSpPr/>
              <p:nvPr/>
            </p:nvSpPr>
            <p:spPr bwMode="gray">
              <a:xfrm>
                <a:off x="887799" y="1804459"/>
                <a:ext cx="1105659" cy="780764"/>
              </a:xfrm>
              <a:prstGeom prst="flowChartMagneticDisk">
                <a:avLst/>
              </a:prstGeom>
              <a:solidFill>
                <a:schemeClr val="accent1">
                  <a:lumMod val="50000"/>
                </a:schemeClr>
              </a:solidFill>
              <a:ln w="12700" cap="flat" cmpd="sng" algn="ctr">
                <a:solidFill>
                  <a:sysClr val="window" lastClr="FFFFFF"/>
                </a:solidFill>
                <a:prstDash val="solid"/>
                <a:miter lim="800000"/>
                <a:headEnd/>
                <a:tailEnd/>
              </a:ln>
              <a:effectLst/>
            </p:spPr>
            <p:txBody>
              <a:bodyPr wrap="square" lIns="27781" tIns="27781" rIns="27781"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mj-lt"/>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mj-lt"/>
                    <a:ea typeface="+mn-ea"/>
                    <a:cs typeface="Arial" panose="020B0604020202020204" pitchFamily="34" charset="0"/>
                  </a:rPr>
                  <a:t>Telemetry</a:t>
                </a:r>
              </a:p>
            </p:txBody>
          </p:sp>
          <p:sp>
            <p:nvSpPr>
              <p:cNvPr id="74" name="Flowchart: Magnetic Disk 95">
                <a:extLst>
                  <a:ext uri="{FF2B5EF4-FFF2-40B4-BE49-F238E27FC236}">
                    <a16:creationId xmlns:a16="http://schemas.microsoft.com/office/drawing/2014/main" id="{DE191F0C-907E-4A19-952B-53701C645CD3}"/>
                  </a:ext>
                </a:extLst>
              </p:cNvPr>
              <p:cNvSpPr/>
              <p:nvPr/>
            </p:nvSpPr>
            <p:spPr bwMode="gray">
              <a:xfrm>
                <a:off x="251128" y="1794717"/>
                <a:ext cx="576659" cy="765108"/>
              </a:xfrm>
              <a:prstGeom prst="flowChartMagneticDisk">
                <a:avLst/>
              </a:prstGeom>
              <a:solidFill>
                <a:schemeClr val="accent1">
                  <a:lumMod val="50000"/>
                </a:schemeClr>
              </a:solidFill>
              <a:ln w="12700" cap="flat" cmpd="sng" algn="ctr">
                <a:solidFill>
                  <a:sysClr val="window" lastClr="FFFFFF"/>
                </a:solidFill>
                <a:prstDash val="solid"/>
                <a:miter lim="800000"/>
                <a:headEnd/>
                <a:tailEnd/>
              </a:ln>
              <a:effectLst/>
            </p:spPr>
            <p:txBody>
              <a:bodyPr wrap="square" lIns="27781" tIns="27781" rIns="27781"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mj-lt"/>
                    <a:ea typeface="+mn-ea"/>
                    <a:cs typeface="Arial" panose="020B0604020202020204" pitchFamily="34" charset="0"/>
                  </a:rPr>
                  <a:t>Log</a:t>
                </a:r>
                <a:br>
                  <a:rPr kumimoji="0" lang="en-US" sz="900" b="0" i="0" u="none" strike="noStrike" kern="0" cap="none" spc="0" normalizeH="0" baseline="0" noProof="0">
                    <a:ln>
                      <a:noFill/>
                    </a:ln>
                    <a:solidFill>
                      <a:prstClr val="white"/>
                    </a:solidFill>
                    <a:effectLst/>
                    <a:uLnTx/>
                    <a:uFillTx/>
                    <a:latin typeface="+mj-lt"/>
                    <a:ea typeface="+mn-ea"/>
                    <a:cs typeface="Arial" panose="020B0604020202020204" pitchFamily="34" charset="0"/>
                  </a:rPr>
                </a:br>
                <a:r>
                  <a:rPr kumimoji="0" lang="en-US" sz="900" b="0" i="0" u="none" strike="noStrike" kern="0" cap="none" spc="0" normalizeH="0" baseline="0" noProof="0">
                    <a:ln>
                      <a:noFill/>
                    </a:ln>
                    <a:solidFill>
                      <a:prstClr val="white"/>
                    </a:solidFill>
                    <a:effectLst/>
                    <a:uLnTx/>
                    <a:uFillTx/>
                    <a:latin typeface="+mj-lt"/>
                    <a:ea typeface="+mn-ea"/>
                    <a:cs typeface="Arial" panose="020B0604020202020204" pitchFamily="34" charset="0"/>
                  </a:rPr>
                  <a:t>sources</a:t>
                </a:r>
              </a:p>
            </p:txBody>
          </p:sp>
        </p:grpSp>
        <p:sp>
          <p:nvSpPr>
            <p:cNvPr id="75" name="Flowchart: Magnetic Disk 96">
              <a:extLst>
                <a:ext uri="{FF2B5EF4-FFF2-40B4-BE49-F238E27FC236}">
                  <a16:creationId xmlns:a16="http://schemas.microsoft.com/office/drawing/2014/main" id="{386C42B6-438C-48D1-9963-E0D88B5DEB6D}"/>
                </a:ext>
              </a:extLst>
            </p:cNvPr>
            <p:cNvSpPr/>
            <p:nvPr/>
          </p:nvSpPr>
          <p:spPr bwMode="gray">
            <a:xfrm>
              <a:off x="329702" y="2259802"/>
              <a:ext cx="1687807" cy="563026"/>
            </a:xfrm>
            <a:prstGeom prst="flowChartMagneticDisk">
              <a:avLst/>
            </a:prstGeom>
            <a:solidFill>
              <a:schemeClr val="accent1">
                <a:lumMod val="50000"/>
              </a:schemeClr>
            </a:solidFill>
            <a:ln w="12700" cap="flat" cmpd="sng" algn="ctr">
              <a:solidFill>
                <a:sysClr val="window" lastClr="FFFFFF"/>
              </a:solidFill>
              <a:prstDash val="solid"/>
              <a:miter lim="800000"/>
              <a:headEnd/>
              <a:tailEnd/>
            </a:ln>
            <a:effectLst/>
          </p:spPr>
          <p:txBody>
            <a:bodyPr wrap="square" lIns="27781" tIns="27781" rIns="27781"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mj-lt"/>
                  <a:ea typeface="+mn-ea"/>
                  <a:cs typeface="Arial" panose="020B0604020202020204" pitchFamily="34" charset="0"/>
                </a:rPr>
                <a:t>Threat intelligence </a:t>
              </a:r>
            </a:p>
          </p:txBody>
        </p:sp>
        <p:sp>
          <p:nvSpPr>
            <p:cNvPr id="76" name="Double Bracket 75"/>
            <p:cNvSpPr/>
            <p:nvPr/>
          </p:nvSpPr>
          <p:spPr>
            <a:xfrm>
              <a:off x="2201882" y="1446489"/>
              <a:ext cx="3074041" cy="4745305"/>
            </a:xfrm>
            <a:prstGeom prst="bracketPair">
              <a:avLst>
                <a:gd name="adj" fmla="val 0"/>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77" name="Oval 43">
              <a:extLst>
                <a:ext uri="{FF2B5EF4-FFF2-40B4-BE49-F238E27FC236}">
                  <a16:creationId xmlns:a16="http://schemas.microsoft.com/office/drawing/2014/main" id="{39D1D432-1460-4937-8255-DDD48CAA601B}"/>
                </a:ext>
              </a:extLst>
            </p:cNvPr>
            <p:cNvSpPr>
              <a:spLocks noChangeArrowheads="1"/>
            </p:cNvSpPr>
            <p:nvPr/>
          </p:nvSpPr>
          <p:spPr bwMode="auto">
            <a:xfrm>
              <a:off x="437166" y="5449399"/>
              <a:ext cx="1638704" cy="581715"/>
            </a:xfrm>
            <a:prstGeom prst="roundRect">
              <a:avLst/>
            </a:prstGeom>
            <a:solidFill>
              <a:schemeClr val="accent2"/>
            </a:solidFill>
            <a:ln w="12700">
              <a:noFill/>
              <a:round/>
              <a:headEnd/>
              <a:tailEnd/>
            </a:ln>
          </p:spPr>
          <p:txBody>
            <a:bodyPr wrap="square" lIns="88900" tIns="88900" rIns="88900" bIns="88900" anchor="ctr">
              <a:noAutofit/>
            </a:bodyPr>
            <a:lstStyle/>
            <a:p>
              <a:pPr marL="0" marR="0" lvl="0" indent="0" algn="ctr" defTabSz="912813" rtl="0" eaLnBrk="1" fontAlgn="auto" latinLnBrk="0" hangingPunct="1">
                <a:lnSpc>
                  <a:spcPct val="100000"/>
                </a:lnSpc>
                <a:spcBef>
                  <a:spcPct val="0"/>
                </a:spcBef>
                <a:spcAft>
                  <a:spcPct val="37000"/>
                </a:spcAft>
                <a:buClrTx/>
                <a:buSzPct val="75000"/>
                <a:buFontTx/>
                <a:buNone/>
                <a:tabLst/>
                <a:defRPr/>
              </a:pPr>
              <a:r>
                <a:rPr kumimoji="0" lang="en-US" sz="1000" b="1" i="0" u="none" strike="noStrike" kern="1200" cap="none" spc="0" normalizeH="0" baseline="0" noProof="0">
                  <a:ln>
                    <a:noFill/>
                  </a:ln>
                  <a:solidFill>
                    <a:prstClr val="white"/>
                  </a:solidFill>
                  <a:effectLst/>
                  <a:uLnTx/>
                  <a:uFillTx/>
                  <a:latin typeface="+mj-lt"/>
                  <a:ea typeface="+mn-ea"/>
                  <a:cs typeface="+mn-cs"/>
                </a:rPr>
                <a:t>Alert Triggered</a:t>
              </a:r>
            </a:p>
          </p:txBody>
        </p:sp>
        <p:pic>
          <p:nvPicPr>
            <p:cNvPr id="79" name="Picture 78" descr="Document outline"/>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rot="1510799">
              <a:off x="2993645" y="4830777"/>
              <a:ext cx="448783" cy="448783"/>
            </a:xfrm>
            <a:prstGeom prst="rect">
              <a:avLst/>
            </a:prstGeom>
            <a:ln>
              <a:solidFill>
                <a:schemeClr val="accent1"/>
              </a:solidFill>
            </a:ln>
          </p:spPr>
        </p:pic>
        <p:sp>
          <p:nvSpPr>
            <p:cNvPr id="80" name="TextBox 79"/>
            <p:cNvSpPr txBox="1"/>
            <p:nvPr/>
          </p:nvSpPr>
          <p:spPr>
            <a:xfrm>
              <a:off x="3437583" y="4862727"/>
              <a:ext cx="112266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2">
                      <a:lumMod val="75000"/>
                    </a:schemeClr>
                  </a:solidFill>
                  <a:effectLst/>
                  <a:uLnTx/>
                  <a:uFillTx/>
                  <a:latin typeface="+mj-lt"/>
                  <a:ea typeface="+mn-ea"/>
                  <a:cs typeface="+mn-cs"/>
                </a:rPr>
                <a:t>RSM analyst</a:t>
              </a:r>
            </a:p>
          </p:txBody>
        </p:sp>
        <p:sp>
          <p:nvSpPr>
            <p:cNvPr id="82" name="TextBox 81"/>
            <p:cNvSpPr txBox="1"/>
            <p:nvPr/>
          </p:nvSpPr>
          <p:spPr>
            <a:xfrm>
              <a:off x="5930900" y="4804313"/>
              <a:ext cx="112266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2">
                      <a:lumMod val="75000"/>
                    </a:schemeClr>
                  </a:solidFill>
                  <a:effectLst/>
                  <a:uLnTx/>
                  <a:uFillTx/>
                  <a:latin typeface="+mj-lt"/>
                  <a:ea typeface="+mn-ea"/>
                  <a:cs typeface="+mn-cs"/>
                </a:rPr>
                <a:t>Operations</a:t>
              </a:r>
              <a:r>
                <a:rPr kumimoji="0" lang="en-US" sz="800" b="1" i="0" u="none" strike="noStrike" kern="1200" cap="none" spc="0" normalizeH="0" baseline="0" noProof="0">
                  <a:ln>
                    <a:noFill/>
                  </a:ln>
                  <a:solidFill>
                    <a:schemeClr val="tx2">
                      <a:lumMod val="75000"/>
                    </a:schemeClr>
                  </a:solidFill>
                  <a:effectLst/>
                  <a:uLnTx/>
                  <a:uFillTx/>
                  <a:latin typeface="+mj-lt"/>
                  <a:ea typeface="+mn-ea"/>
                  <a:cs typeface="+mn-cs"/>
                </a:rPr>
                <a:t> </a:t>
              </a:r>
              <a:r>
                <a:rPr kumimoji="0" lang="en-US" sz="1000" b="1" i="0" u="none" strike="noStrike" kern="1200" cap="none" spc="0" normalizeH="0" baseline="0" noProof="0">
                  <a:ln>
                    <a:noFill/>
                  </a:ln>
                  <a:solidFill>
                    <a:schemeClr val="tx2">
                      <a:lumMod val="75000"/>
                    </a:schemeClr>
                  </a:solidFill>
                  <a:effectLst/>
                  <a:uLnTx/>
                  <a:uFillTx/>
                  <a:latin typeface="+mj-lt"/>
                  <a:ea typeface="+mn-ea"/>
                  <a:cs typeface="+mn-cs"/>
                </a:rPr>
                <a:t>team</a:t>
              </a:r>
            </a:p>
          </p:txBody>
        </p:sp>
        <p:sp>
          <p:nvSpPr>
            <p:cNvPr id="83" name="Oval 43">
              <a:extLst>
                <a:ext uri="{FF2B5EF4-FFF2-40B4-BE49-F238E27FC236}">
                  <a16:creationId xmlns:a16="http://schemas.microsoft.com/office/drawing/2014/main" id="{39D1D432-1460-4937-8255-DDD48CAA601B}"/>
                </a:ext>
              </a:extLst>
            </p:cNvPr>
            <p:cNvSpPr>
              <a:spLocks noChangeArrowheads="1"/>
            </p:cNvSpPr>
            <p:nvPr/>
          </p:nvSpPr>
          <p:spPr bwMode="auto">
            <a:xfrm>
              <a:off x="5408486" y="5449127"/>
              <a:ext cx="1597964" cy="581715"/>
            </a:xfrm>
            <a:prstGeom prst="roundRect">
              <a:avLst/>
            </a:prstGeom>
            <a:solidFill>
              <a:srgbClr val="828487"/>
            </a:solidFill>
            <a:ln w="12700">
              <a:noFill/>
              <a:round/>
              <a:headEnd/>
              <a:tailEnd/>
            </a:ln>
          </p:spPr>
          <p:txBody>
            <a:bodyPr wrap="square" lIns="88900" tIns="88900" rIns="88900" bIns="88900" anchor="ctr">
              <a:noAutofit/>
            </a:bodyPr>
            <a:lstStyle/>
            <a:p>
              <a:pPr marL="0" marR="0" lvl="0" indent="0" algn="ctr" defTabSz="912813" rtl="0" eaLnBrk="1" fontAlgn="auto" latinLnBrk="0" hangingPunct="1">
                <a:lnSpc>
                  <a:spcPct val="100000"/>
                </a:lnSpc>
                <a:spcBef>
                  <a:spcPct val="0"/>
                </a:spcBef>
                <a:spcAft>
                  <a:spcPct val="37000"/>
                </a:spcAft>
                <a:buClrTx/>
                <a:buSzPct val="75000"/>
                <a:buFontTx/>
                <a:buNone/>
                <a:tabLst/>
                <a:defRPr/>
              </a:pPr>
              <a:r>
                <a:rPr kumimoji="0" lang="en-US" sz="1000" b="1" i="0" u="none" strike="noStrike" kern="1200" cap="none" spc="0" normalizeH="0" baseline="0" noProof="0" dirty="0">
                  <a:ln>
                    <a:noFill/>
                  </a:ln>
                  <a:solidFill>
                    <a:prstClr val="white"/>
                  </a:solidFill>
                  <a:effectLst/>
                  <a:uLnTx/>
                  <a:uFillTx/>
                  <a:latin typeface="+mj-lt"/>
                  <a:ea typeface="+mn-ea"/>
                  <a:cs typeface="+mn-cs"/>
                </a:rPr>
                <a:t>Notify &amp; Remediate</a:t>
              </a:r>
            </a:p>
          </p:txBody>
        </p:sp>
        <p:sp>
          <p:nvSpPr>
            <p:cNvPr id="86" name="TextBox 85"/>
            <p:cNvSpPr txBox="1"/>
            <p:nvPr/>
          </p:nvSpPr>
          <p:spPr>
            <a:xfrm>
              <a:off x="7887241" y="4862727"/>
              <a:ext cx="112266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2">
                      <a:lumMod val="75000"/>
                    </a:schemeClr>
                  </a:solidFill>
                  <a:effectLst/>
                  <a:uLnTx/>
                  <a:uFillTx/>
                  <a:latin typeface="+mj-lt"/>
                  <a:ea typeface="+mn-ea"/>
                  <a:cs typeface="+mn-cs"/>
                </a:rPr>
                <a:t>RSM analyst</a:t>
              </a:r>
            </a:p>
          </p:txBody>
        </p:sp>
        <p:sp>
          <p:nvSpPr>
            <p:cNvPr id="88" name="TextBox 87"/>
            <p:cNvSpPr txBox="1"/>
            <p:nvPr/>
          </p:nvSpPr>
          <p:spPr>
            <a:xfrm>
              <a:off x="10231136" y="4862727"/>
              <a:ext cx="112266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2">
                      <a:lumMod val="75000"/>
                    </a:schemeClr>
                  </a:solidFill>
                  <a:effectLst/>
                  <a:uLnTx/>
                  <a:uFillTx/>
                  <a:latin typeface="+mj-lt"/>
                  <a:ea typeface="+mn-ea"/>
                  <a:cs typeface="+mn-cs"/>
                </a:rPr>
                <a:t>RSM QC </a:t>
              </a:r>
            </a:p>
          </p:txBody>
        </p:sp>
        <p:pic>
          <p:nvPicPr>
            <p:cNvPr id="89" name="Picture 88"/>
            <p:cNvPicPr>
              <a:picLocks noChangeAspect="1"/>
            </p:cNvPicPr>
            <p:nvPr/>
          </p:nvPicPr>
          <p:blipFill>
            <a:blip r:embed="rId4">
              <a:biLevel thresh="25000"/>
            </a:blip>
            <a:stretch>
              <a:fillRect/>
            </a:stretch>
          </p:blipFill>
          <p:spPr>
            <a:xfrm>
              <a:off x="5729651" y="1653576"/>
              <a:ext cx="931156" cy="908583"/>
            </a:xfrm>
            <a:prstGeom prst="rect">
              <a:avLst/>
            </a:prstGeom>
            <a:noFill/>
            <a:ln>
              <a:noFill/>
            </a:ln>
          </p:spPr>
        </p:pic>
        <p:pic>
          <p:nvPicPr>
            <p:cNvPr id="90" name="Picture 89"/>
            <p:cNvPicPr>
              <a:picLocks noChangeAspect="1"/>
            </p:cNvPicPr>
            <p:nvPr/>
          </p:nvPicPr>
          <p:blipFill>
            <a:blip r:embed="rId5">
              <a:biLevel thresh="25000"/>
            </a:blip>
            <a:stretch>
              <a:fillRect/>
            </a:stretch>
          </p:blipFill>
          <p:spPr>
            <a:xfrm>
              <a:off x="7625518" y="1664762"/>
              <a:ext cx="961312" cy="906041"/>
            </a:xfrm>
            <a:prstGeom prst="rect">
              <a:avLst/>
            </a:prstGeom>
            <a:noFill/>
            <a:ln>
              <a:noFill/>
            </a:ln>
          </p:spPr>
        </p:pic>
        <p:pic>
          <p:nvPicPr>
            <p:cNvPr id="92" name="Picture 91"/>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212377" y="1632218"/>
              <a:ext cx="949990" cy="929942"/>
            </a:xfrm>
            <a:prstGeom prst="rect">
              <a:avLst/>
            </a:prstGeom>
            <a:noFill/>
            <a:ln>
              <a:noFill/>
            </a:ln>
          </p:spPr>
        </p:pic>
        <p:sp>
          <p:nvSpPr>
            <p:cNvPr id="93" name="Oval 43">
              <a:extLst>
                <a:ext uri="{FF2B5EF4-FFF2-40B4-BE49-F238E27FC236}">
                  <a16:creationId xmlns:a16="http://schemas.microsoft.com/office/drawing/2014/main" id="{39D1D432-1460-4937-8255-DDD48CAA601B}"/>
                </a:ext>
              </a:extLst>
            </p:cNvPr>
            <p:cNvSpPr>
              <a:spLocks noChangeArrowheads="1"/>
            </p:cNvSpPr>
            <p:nvPr/>
          </p:nvSpPr>
          <p:spPr bwMode="auto">
            <a:xfrm>
              <a:off x="7256654" y="3324569"/>
              <a:ext cx="1713215" cy="590248"/>
            </a:xfrm>
            <a:prstGeom prst="roundRect">
              <a:avLst/>
            </a:prstGeom>
            <a:solidFill>
              <a:schemeClr val="accent1"/>
            </a:solidFill>
            <a:ln w="12700">
              <a:noFill/>
              <a:round/>
              <a:headEnd/>
              <a:tailEnd/>
            </a:ln>
          </p:spPr>
          <p:txBody>
            <a:bodyPr wrap="square" lIns="88900" tIns="88900" rIns="88900" bIns="88900" anchor="ctr">
              <a:noAutofit/>
            </a:bodyPr>
            <a:lstStyle/>
            <a:p>
              <a:pPr algn="ctr">
                <a:defRPr/>
              </a:pPr>
              <a:r>
                <a:rPr lang="en-US" sz="1100" b="1">
                  <a:solidFill>
                    <a:prstClr val="white"/>
                  </a:solidFill>
                  <a:latin typeface="+mj-lt"/>
                </a:rPr>
                <a:t>Remediate</a:t>
              </a:r>
            </a:p>
            <a:p>
              <a:pPr algn="ctr">
                <a:defRPr/>
              </a:pPr>
              <a:r>
                <a:rPr lang="en-US" sz="1100" b="1">
                  <a:solidFill>
                    <a:prstClr val="white"/>
                  </a:solidFill>
                  <a:latin typeface="+mj-lt"/>
                </a:rPr>
                <a:t>Review</a:t>
              </a:r>
            </a:p>
            <a:p>
              <a:pPr algn="ctr">
                <a:defRPr/>
              </a:pPr>
              <a:r>
                <a:rPr lang="en-US" sz="1100" b="1">
                  <a:solidFill>
                    <a:prstClr val="white"/>
                  </a:solidFill>
                  <a:latin typeface="+mj-lt"/>
                </a:rPr>
                <a:t>Recommend</a:t>
              </a:r>
            </a:p>
          </p:txBody>
        </p:sp>
        <p:sp>
          <p:nvSpPr>
            <p:cNvPr id="94" name="Oval 43">
              <a:extLst>
                <a:ext uri="{FF2B5EF4-FFF2-40B4-BE49-F238E27FC236}">
                  <a16:creationId xmlns:a16="http://schemas.microsoft.com/office/drawing/2014/main" id="{39D1D432-1460-4937-8255-DDD48CAA601B}"/>
                </a:ext>
              </a:extLst>
            </p:cNvPr>
            <p:cNvSpPr>
              <a:spLocks noChangeArrowheads="1"/>
            </p:cNvSpPr>
            <p:nvPr/>
          </p:nvSpPr>
          <p:spPr bwMode="auto">
            <a:xfrm>
              <a:off x="5376312" y="3324569"/>
              <a:ext cx="1637835" cy="590248"/>
            </a:xfrm>
            <a:prstGeom prst="roundRect">
              <a:avLst/>
            </a:prstGeom>
            <a:solidFill>
              <a:schemeClr val="accent1"/>
            </a:solidFill>
            <a:ln w="12700">
              <a:noFill/>
              <a:round/>
              <a:headEnd/>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prstClr val="white"/>
                  </a:solidFill>
                  <a:latin typeface="+mj-lt"/>
                </a:rPr>
                <a:t>Analyst Quarterback</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prstClr val="white"/>
                  </a:solidFill>
                  <a:latin typeface="+mj-lt"/>
                </a:rPr>
                <a:t>Escalate &amp; Engage</a:t>
              </a:r>
              <a:endParaRPr kumimoji="0" lang="en-US" sz="1100" b="0" i="0" u="none" strike="noStrike" kern="1200" cap="none" spc="0" normalizeH="0" baseline="0" noProof="0">
                <a:ln>
                  <a:noFill/>
                </a:ln>
                <a:solidFill>
                  <a:prstClr val="white"/>
                </a:solidFill>
                <a:effectLst/>
                <a:uLnTx/>
                <a:uFillTx/>
                <a:latin typeface="+mj-lt"/>
                <a:ea typeface="+mn-ea"/>
                <a:cs typeface="+mn-cs"/>
              </a:endParaRPr>
            </a:p>
          </p:txBody>
        </p:sp>
        <p:sp>
          <p:nvSpPr>
            <p:cNvPr id="95" name="Oval 43">
              <a:extLst>
                <a:ext uri="{FF2B5EF4-FFF2-40B4-BE49-F238E27FC236}">
                  <a16:creationId xmlns:a16="http://schemas.microsoft.com/office/drawing/2014/main" id="{39D1D432-1460-4937-8255-DDD48CAA601B}"/>
                </a:ext>
              </a:extLst>
            </p:cNvPr>
            <p:cNvSpPr>
              <a:spLocks noChangeArrowheads="1"/>
            </p:cNvSpPr>
            <p:nvPr/>
          </p:nvSpPr>
          <p:spPr bwMode="auto">
            <a:xfrm>
              <a:off x="4051382" y="3313002"/>
              <a:ext cx="1132839" cy="455991"/>
            </a:xfrm>
            <a:prstGeom prst="roundRect">
              <a:avLst/>
            </a:prstGeom>
            <a:solidFill>
              <a:schemeClr val="accent1"/>
            </a:solidFill>
            <a:ln w="12700">
              <a:noFill/>
              <a:round/>
              <a:headEnd/>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mj-lt"/>
                  <a:ea typeface="+mn-ea"/>
                  <a:cs typeface="+mn-cs"/>
                </a:rPr>
                <a:t>Threat </a:t>
              </a:r>
            </a:p>
          </p:txBody>
        </p:sp>
        <p:pic>
          <p:nvPicPr>
            <p:cNvPr id="13" name="Graphic 12" descr="Office worker female outline">
              <a:extLst>
                <a:ext uri="{FF2B5EF4-FFF2-40B4-BE49-F238E27FC236}">
                  <a16:creationId xmlns:a16="http://schemas.microsoft.com/office/drawing/2014/main" id="{31924F7A-3D0F-4FD8-870E-A14E17B47C7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740059" y="3116225"/>
              <a:ext cx="867093" cy="867093"/>
            </a:xfrm>
            <a:prstGeom prst="rect">
              <a:avLst/>
            </a:prstGeom>
          </p:spPr>
        </p:pic>
        <p:cxnSp>
          <p:nvCxnSpPr>
            <p:cNvPr id="16" name="Straight Arrow Connector 15">
              <a:extLst>
                <a:ext uri="{FF2B5EF4-FFF2-40B4-BE49-F238E27FC236}">
                  <a16:creationId xmlns:a16="http://schemas.microsoft.com/office/drawing/2014/main" id="{BC0D1317-4832-42B4-969D-B51BC870237C}"/>
                </a:ext>
              </a:extLst>
            </p:cNvPr>
            <p:cNvCxnSpPr>
              <a:cxnSpLocks/>
              <a:stCxn id="75" idx="3"/>
              <a:endCxn id="13" idx="0"/>
            </p:cNvCxnSpPr>
            <p:nvPr/>
          </p:nvCxnSpPr>
          <p:spPr>
            <a:xfrm>
              <a:off x="1173606" y="2822829"/>
              <a:ext cx="0" cy="293397"/>
            </a:xfrm>
            <a:prstGeom prst="straightConnector1">
              <a:avLst/>
            </a:prstGeom>
            <a:ln w="25400">
              <a:solidFill>
                <a:schemeClr val="accent1"/>
              </a:solidFill>
              <a:headEnd type="oval"/>
              <a:tailEnd type="triangle"/>
            </a:ln>
            <a:effectLst/>
          </p:spPr>
          <p:style>
            <a:lnRef idx="2">
              <a:schemeClr val="accent1"/>
            </a:lnRef>
            <a:fillRef idx="0">
              <a:schemeClr val="accent1"/>
            </a:fillRef>
            <a:effectRef idx="1">
              <a:schemeClr val="accent1"/>
            </a:effectRef>
            <a:fontRef idx="minor">
              <a:schemeClr val="tx1"/>
            </a:fontRef>
          </p:style>
        </p:cxnSp>
        <p:sp>
          <p:nvSpPr>
            <p:cNvPr id="36" name="Oval 43">
              <a:extLst>
                <a:ext uri="{FF2B5EF4-FFF2-40B4-BE49-F238E27FC236}">
                  <a16:creationId xmlns:a16="http://schemas.microsoft.com/office/drawing/2014/main" id="{39D1D432-1460-4937-8255-DDD48CAA601B}"/>
                </a:ext>
              </a:extLst>
            </p:cNvPr>
            <p:cNvSpPr>
              <a:spLocks noChangeArrowheads="1"/>
            </p:cNvSpPr>
            <p:nvPr/>
          </p:nvSpPr>
          <p:spPr bwMode="auto">
            <a:xfrm>
              <a:off x="2346522" y="3163323"/>
              <a:ext cx="1336191" cy="345475"/>
            </a:xfrm>
            <a:prstGeom prst="roundRect">
              <a:avLst/>
            </a:prstGeom>
            <a:solidFill>
              <a:srgbClr val="0070C0"/>
            </a:solidFill>
            <a:ln w="12700">
              <a:noFill/>
              <a:round/>
              <a:headEnd/>
              <a:tailEnd/>
            </a:ln>
          </p:spPr>
          <p:txBody>
            <a:bodyPr wrap="square" lIns="88900" tIns="88900" rIns="88900" bIns="88900" anchor="ctr">
              <a:noAutofit/>
            </a:bodyPr>
            <a:lstStyle/>
            <a:p>
              <a:pPr marL="0" marR="0" lvl="0" indent="0" algn="ctr" defTabSz="912813" rtl="0" eaLnBrk="1" fontAlgn="auto" latinLnBrk="0" hangingPunct="1">
                <a:lnSpc>
                  <a:spcPct val="100000"/>
                </a:lnSpc>
                <a:spcBef>
                  <a:spcPct val="0"/>
                </a:spcBef>
                <a:spcAft>
                  <a:spcPct val="37000"/>
                </a:spcAft>
                <a:buClrTx/>
                <a:buSzPct val="75000"/>
                <a:buFontTx/>
                <a:buNone/>
                <a:tabLst/>
                <a:defRPr/>
              </a:pPr>
              <a:r>
                <a:rPr kumimoji="0" lang="en-US" sz="1100" b="1" i="0" u="none" strike="noStrike" kern="1200" cap="none" spc="0" normalizeH="0" baseline="0" noProof="0" dirty="0">
                  <a:ln>
                    <a:noFill/>
                  </a:ln>
                  <a:solidFill>
                    <a:prstClr val="white"/>
                  </a:solidFill>
                  <a:effectLst/>
                  <a:uLnTx/>
                  <a:uFillTx/>
                  <a:latin typeface="+mj-lt"/>
                  <a:ea typeface="+mn-ea"/>
                  <a:cs typeface="+mn-cs"/>
                </a:rPr>
                <a:t>Vulnerability Scan</a:t>
              </a:r>
            </a:p>
          </p:txBody>
        </p:sp>
        <p:pic>
          <p:nvPicPr>
            <p:cNvPr id="46" name="Picture 78" descr="Document outline">
              <a:extLst>
                <a:ext uri="{FF2B5EF4-FFF2-40B4-BE49-F238E27FC236}">
                  <a16:creationId xmlns:a16="http://schemas.microsoft.com/office/drawing/2014/main" id="{14447C9D-0202-41D5-97E6-606A1083775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rot="1510799">
              <a:off x="5531899" y="4801701"/>
              <a:ext cx="448783" cy="448783"/>
            </a:xfrm>
            <a:prstGeom prst="rect">
              <a:avLst/>
            </a:prstGeom>
            <a:ln>
              <a:solidFill>
                <a:schemeClr val="accent1"/>
              </a:solidFill>
            </a:ln>
          </p:spPr>
        </p:pic>
        <p:pic>
          <p:nvPicPr>
            <p:cNvPr id="48" name="Picture 78" descr="Document outline">
              <a:extLst>
                <a:ext uri="{FF2B5EF4-FFF2-40B4-BE49-F238E27FC236}">
                  <a16:creationId xmlns:a16="http://schemas.microsoft.com/office/drawing/2014/main" id="{434C1E6F-3C09-45DE-A458-067034EA58E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rot="1510799">
              <a:off x="7489623" y="4801701"/>
              <a:ext cx="448783" cy="448783"/>
            </a:xfrm>
            <a:prstGeom prst="rect">
              <a:avLst/>
            </a:prstGeom>
            <a:ln>
              <a:solidFill>
                <a:schemeClr val="accent1"/>
              </a:solidFill>
            </a:ln>
          </p:spPr>
        </p:pic>
        <p:pic>
          <p:nvPicPr>
            <p:cNvPr id="49" name="Picture 78" descr="Document outline">
              <a:extLst>
                <a:ext uri="{FF2B5EF4-FFF2-40B4-BE49-F238E27FC236}">
                  <a16:creationId xmlns:a16="http://schemas.microsoft.com/office/drawing/2014/main" id="{33EB34B6-43C6-45F7-B803-5FA6D1D4958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rot="1510799">
              <a:off x="9902950" y="4807407"/>
              <a:ext cx="448783" cy="448783"/>
            </a:xfrm>
            <a:prstGeom prst="rect">
              <a:avLst/>
            </a:prstGeom>
            <a:ln>
              <a:solidFill>
                <a:schemeClr val="accent1"/>
              </a:solidFill>
            </a:ln>
          </p:spPr>
        </p:pic>
        <p:cxnSp>
          <p:nvCxnSpPr>
            <p:cNvPr id="51" name="Straight Arrow Connector 50">
              <a:extLst>
                <a:ext uri="{FF2B5EF4-FFF2-40B4-BE49-F238E27FC236}">
                  <a16:creationId xmlns:a16="http://schemas.microsoft.com/office/drawing/2014/main" id="{61C5EC0C-9112-44CD-B36D-9796DB67FAC1}"/>
                </a:ext>
              </a:extLst>
            </p:cNvPr>
            <p:cNvCxnSpPr>
              <a:cxnSpLocks/>
              <a:stCxn id="95" idx="3"/>
            </p:cNvCxnSpPr>
            <p:nvPr/>
          </p:nvCxnSpPr>
          <p:spPr>
            <a:xfrm>
              <a:off x="5184221" y="3540998"/>
              <a:ext cx="216926" cy="0"/>
            </a:xfrm>
            <a:prstGeom prst="straightConnector1">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53" name="Oval 43">
              <a:extLst>
                <a:ext uri="{FF2B5EF4-FFF2-40B4-BE49-F238E27FC236}">
                  <a16:creationId xmlns:a16="http://schemas.microsoft.com/office/drawing/2014/main" id="{01C04084-AED5-4DC3-B353-A2996201414F}"/>
                </a:ext>
              </a:extLst>
            </p:cNvPr>
            <p:cNvSpPr>
              <a:spLocks noChangeArrowheads="1"/>
            </p:cNvSpPr>
            <p:nvPr/>
          </p:nvSpPr>
          <p:spPr bwMode="auto">
            <a:xfrm>
              <a:off x="4051382" y="3831157"/>
              <a:ext cx="1132839" cy="455991"/>
            </a:xfrm>
            <a:prstGeom prst="roundRect">
              <a:avLst/>
            </a:prstGeom>
            <a:solidFill>
              <a:schemeClr val="accent1"/>
            </a:solidFill>
            <a:ln w="12700">
              <a:noFill/>
              <a:round/>
              <a:headEnd/>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mj-lt"/>
                  <a:ea typeface="+mn-ea"/>
                  <a:cs typeface="+mn-cs"/>
                </a:rPr>
                <a:t>False Positive </a:t>
              </a:r>
            </a:p>
          </p:txBody>
        </p:sp>
        <p:cxnSp>
          <p:nvCxnSpPr>
            <p:cNvPr id="50" name="Straight Arrow Connector 49">
              <a:extLst>
                <a:ext uri="{FF2B5EF4-FFF2-40B4-BE49-F238E27FC236}">
                  <a16:creationId xmlns:a16="http://schemas.microsoft.com/office/drawing/2014/main" id="{380B3E24-8A44-429E-A615-7107326F72F6}"/>
                </a:ext>
              </a:extLst>
            </p:cNvPr>
            <p:cNvCxnSpPr>
              <a:cxnSpLocks/>
            </p:cNvCxnSpPr>
            <p:nvPr/>
          </p:nvCxnSpPr>
          <p:spPr>
            <a:xfrm flipV="1">
              <a:off x="5184221" y="4159793"/>
              <a:ext cx="4028155" cy="14385"/>
            </a:xfrm>
            <a:prstGeom prst="straightConnector1">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54" name="Picture 53">
              <a:extLst>
                <a:ext uri="{FF2B5EF4-FFF2-40B4-BE49-F238E27FC236}">
                  <a16:creationId xmlns:a16="http://schemas.microsoft.com/office/drawing/2014/main" id="{C05A881E-2D69-4FB8-8BDA-9D827F3A2BC2}"/>
                </a:ext>
              </a:extLst>
            </p:cNvPr>
            <p:cNvPicPr>
              <a:picLocks noChangeAspect="1"/>
            </p:cNvPicPr>
            <p:nvPr/>
          </p:nvPicPr>
          <p:blipFill>
            <a:blip r:embed="rId9">
              <a:biLevel thresh="25000"/>
            </a:blip>
            <a:stretch>
              <a:fillRect/>
            </a:stretch>
          </p:blipFill>
          <p:spPr>
            <a:xfrm>
              <a:off x="2431592" y="1657038"/>
              <a:ext cx="611141" cy="566870"/>
            </a:xfrm>
            <a:prstGeom prst="rect">
              <a:avLst/>
            </a:prstGeom>
            <a:noFill/>
            <a:ln>
              <a:noFill/>
            </a:ln>
          </p:spPr>
        </p:pic>
        <p:sp>
          <p:nvSpPr>
            <p:cNvPr id="55" name="TextBox 54">
              <a:extLst>
                <a:ext uri="{FF2B5EF4-FFF2-40B4-BE49-F238E27FC236}">
                  <a16:creationId xmlns:a16="http://schemas.microsoft.com/office/drawing/2014/main" id="{3E6D48A4-826C-420C-B51C-7BDE7D17C885}"/>
                </a:ext>
              </a:extLst>
            </p:cNvPr>
            <p:cNvSpPr txBox="1"/>
            <p:nvPr/>
          </p:nvSpPr>
          <p:spPr>
            <a:xfrm>
              <a:off x="3101693" y="1655788"/>
              <a:ext cx="2320064" cy="1107996"/>
            </a:xfrm>
            <a:prstGeom prst="rect">
              <a:avLst/>
            </a:prstGeom>
            <a:noFill/>
          </p:spPr>
          <p:txBody>
            <a:bodyPr wrap="square" rtlCol="0">
              <a:sp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chemeClr val="tx2">
                      <a:lumMod val="75000"/>
                    </a:schemeClr>
                  </a:solidFill>
                  <a:effectLst/>
                  <a:uLnTx/>
                  <a:uFillTx/>
                  <a:latin typeface="+mj-lt"/>
                  <a:ea typeface="+mn-ea"/>
                  <a:cs typeface="+mn-cs"/>
                </a:rPr>
                <a:t>400 SOC  Procedure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1" dirty="0">
                <a:solidFill>
                  <a:schemeClr val="tx2">
                    <a:lumMod val="75000"/>
                  </a:schemeClr>
                </a:solidFill>
                <a:latin typeface="+mj-lt"/>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chemeClr val="tx2">
                      <a:lumMod val="75000"/>
                    </a:schemeClr>
                  </a:solidFill>
                  <a:effectLst/>
                  <a:uLnTx/>
                  <a:uFillTx/>
                  <a:latin typeface="+mj-lt"/>
                  <a:ea typeface="+mn-ea"/>
                  <a:cs typeface="+mn-cs"/>
                </a:rPr>
                <a:t>Robust Quality Control</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1" dirty="0">
                <a:solidFill>
                  <a:schemeClr val="tx2">
                    <a:lumMod val="75000"/>
                  </a:schemeClr>
                </a:solidFill>
                <a:latin typeface="+mj-lt"/>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chemeClr val="tx2">
                      <a:lumMod val="75000"/>
                    </a:schemeClr>
                  </a:solidFill>
                  <a:effectLst/>
                  <a:uLnTx/>
                  <a:uFillTx/>
                  <a:latin typeface="+mj-lt"/>
                  <a:ea typeface="+mn-ea"/>
                  <a:cs typeface="+mn-cs"/>
                </a:rPr>
                <a:t>Pre-Approved Research Sources</a:t>
              </a:r>
            </a:p>
          </p:txBody>
        </p:sp>
        <p:sp>
          <p:nvSpPr>
            <p:cNvPr id="56" name="TextBox 55">
              <a:extLst>
                <a:ext uri="{FF2B5EF4-FFF2-40B4-BE49-F238E27FC236}">
                  <a16:creationId xmlns:a16="http://schemas.microsoft.com/office/drawing/2014/main" id="{F260E677-2BD3-45A1-971D-BC58EEE64DD5}"/>
                </a:ext>
              </a:extLst>
            </p:cNvPr>
            <p:cNvSpPr txBox="1"/>
            <p:nvPr/>
          </p:nvSpPr>
          <p:spPr>
            <a:xfrm>
              <a:off x="10157518" y="1567322"/>
              <a:ext cx="1543217" cy="1277273"/>
            </a:xfrm>
            <a:prstGeom prst="rect">
              <a:avLst/>
            </a:prstGeom>
            <a:noFill/>
          </p:spPr>
          <p:txBody>
            <a:bodyPr wrap="square" rtlCol="0">
              <a:sp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chemeClr val="tx2">
                      <a:lumMod val="75000"/>
                    </a:schemeClr>
                  </a:solidFill>
                  <a:effectLst/>
                  <a:uLnTx/>
                  <a:uFillTx/>
                  <a:latin typeface="+mj-lt"/>
                  <a:ea typeface="+mn-ea"/>
                  <a:cs typeface="+mn-cs"/>
                </a:rPr>
                <a:t>Tuning</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1">
                <a:solidFill>
                  <a:schemeClr val="tx2">
                    <a:lumMod val="75000"/>
                  </a:schemeClr>
                </a:solidFill>
                <a:latin typeface="+mj-lt"/>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chemeClr val="tx2">
                      <a:lumMod val="75000"/>
                    </a:schemeClr>
                  </a:solidFill>
                  <a:effectLst/>
                  <a:uLnTx/>
                  <a:uFillTx/>
                  <a:latin typeface="+mj-lt"/>
                  <a:ea typeface="+mn-ea"/>
                  <a:cs typeface="+mn-cs"/>
                </a:rPr>
                <a:t>Automation</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1">
                <a:solidFill>
                  <a:schemeClr val="tx2">
                    <a:lumMod val="75000"/>
                  </a:schemeClr>
                </a:solidFill>
                <a:latin typeface="+mj-lt"/>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chemeClr val="tx2">
                      <a:lumMod val="75000"/>
                    </a:schemeClr>
                  </a:solidFill>
                  <a:effectLst/>
                  <a:uLnTx/>
                  <a:uFillTx/>
                  <a:latin typeface="+mj-lt"/>
                  <a:ea typeface="+mn-ea"/>
                  <a:cs typeface="+mn-cs"/>
                </a:rPr>
                <a:t>Enrichment</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1">
                <a:solidFill>
                  <a:schemeClr val="tx2">
                    <a:lumMod val="75000"/>
                  </a:schemeClr>
                </a:solidFill>
                <a:latin typeface="+mj-lt"/>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chemeClr val="tx2">
                      <a:lumMod val="75000"/>
                    </a:schemeClr>
                  </a:solidFill>
                  <a:effectLst/>
                  <a:uLnTx/>
                  <a:uFillTx/>
                  <a:latin typeface="+mj-lt"/>
                  <a:ea typeface="+mn-ea"/>
                  <a:cs typeface="+mn-cs"/>
                </a:rPr>
                <a:t>Knowledge Base</a:t>
              </a:r>
            </a:p>
          </p:txBody>
        </p:sp>
        <p:sp>
          <p:nvSpPr>
            <p:cNvPr id="57" name="Oval 43">
              <a:extLst>
                <a:ext uri="{FF2B5EF4-FFF2-40B4-BE49-F238E27FC236}">
                  <a16:creationId xmlns:a16="http://schemas.microsoft.com/office/drawing/2014/main" id="{11378EC0-83AF-44DE-A0EF-7805563E5941}"/>
                </a:ext>
              </a:extLst>
            </p:cNvPr>
            <p:cNvSpPr>
              <a:spLocks noChangeArrowheads="1"/>
            </p:cNvSpPr>
            <p:nvPr/>
          </p:nvSpPr>
          <p:spPr bwMode="auto">
            <a:xfrm>
              <a:off x="2709043" y="5451624"/>
              <a:ext cx="2027411" cy="581715"/>
            </a:xfrm>
            <a:prstGeom prst="roundRect">
              <a:avLst/>
            </a:prstGeom>
            <a:solidFill>
              <a:srgbClr val="B7B9BA"/>
            </a:solidFill>
            <a:ln w="12700">
              <a:noFill/>
              <a:round/>
              <a:headEnd/>
              <a:tailEnd/>
            </a:ln>
          </p:spPr>
          <p:txBody>
            <a:bodyPr wrap="square" lIns="88900" tIns="88900" rIns="88900" bIns="88900" anchor="ctr">
              <a:noAutofit/>
            </a:bodyPr>
            <a:lstStyle/>
            <a:p>
              <a:pPr marL="0" marR="0" lvl="0" indent="0" algn="ctr" defTabSz="912813" rtl="0" eaLnBrk="1" fontAlgn="auto" latinLnBrk="0" hangingPunct="1">
                <a:lnSpc>
                  <a:spcPct val="100000"/>
                </a:lnSpc>
                <a:spcBef>
                  <a:spcPct val="0"/>
                </a:spcBef>
                <a:spcAft>
                  <a:spcPct val="37000"/>
                </a:spcAft>
                <a:buClrTx/>
                <a:buSzPct val="75000"/>
                <a:buFontTx/>
                <a:buNone/>
                <a:tabLst/>
                <a:defRPr/>
              </a:pPr>
              <a:r>
                <a:rPr kumimoji="0" lang="en-US" sz="1000" b="1" i="0" u="none" strike="noStrike" kern="1200" cap="none" spc="0" normalizeH="0" baseline="0" noProof="0" dirty="0">
                  <a:ln>
                    <a:noFill/>
                  </a:ln>
                  <a:solidFill>
                    <a:prstClr val="white"/>
                  </a:solidFill>
                  <a:effectLst/>
                  <a:uLnTx/>
                  <a:uFillTx/>
                  <a:latin typeface="+mj-lt"/>
                  <a:ea typeface="+mn-ea"/>
                  <a:cs typeface="+mn-cs"/>
                </a:rPr>
                <a:t>Triage – Collect Additional Context</a:t>
              </a:r>
            </a:p>
          </p:txBody>
        </p:sp>
        <p:sp>
          <p:nvSpPr>
            <p:cNvPr id="58" name="Oval 43">
              <a:extLst>
                <a:ext uri="{FF2B5EF4-FFF2-40B4-BE49-F238E27FC236}">
                  <a16:creationId xmlns:a16="http://schemas.microsoft.com/office/drawing/2014/main" id="{E72F58F8-9A95-4D98-9C32-237CCA50BD42}"/>
                </a:ext>
              </a:extLst>
            </p:cNvPr>
            <p:cNvSpPr>
              <a:spLocks noChangeArrowheads="1"/>
            </p:cNvSpPr>
            <p:nvPr/>
          </p:nvSpPr>
          <p:spPr bwMode="auto">
            <a:xfrm>
              <a:off x="7307192" y="5447114"/>
              <a:ext cx="1597964" cy="581715"/>
            </a:xfrm>
            <a:prstGeom prst="roundRect">
              <a:avLst/>
            </a:prstGeom>
            <a:solidFill>
              <a:srgbClr val="63666A"/>
            </a:solidFill>
            <a:ln w="12700">
              <a:noFill/>
              <a:round/>
              <a:headEnd/>
              <a:tailEnd/>
            </a:ln>
          </p:spPr>
          <p:txBody>
            <a:bodyPr wrap="square" lIns="88900" tIns="88900" rIns="88900" bIns="88900" anchor="ctr">
              <a:noAutofit/>
            </a:bodyPr>
            <a:lstStyle/>
            <a:p>
              <a:pPr marL="0" marR="0" lvl="0" indent="0" algn="ctr" defTabSz="912813" rtl="0" eaLnBrk="1" fontAlgn="auto" latinLnBrk="0" hangingPunct="1">
                <a:lnSpc>
                  <a:spcPct val="100000"/>
                </a:lnSpc>
                <a:spcBef>
                  <a:spcPct val="0"/>
                </a:spcBef>
                <a:spcAft>
                  <a:spcPct val="37000"/>
                </a:spcAft>
                <a:buClrTx/>
                <a:buSzPct val="75000"/>
                <a:buFontTx/>
                <a:buNone/>
                <a:tabLst/>
                <a:defRPr/>
              </a:pPr>
              <a:r>
                <a:rPr kumimoji="0" lang="en-US" sz="1000" b="1" i="0" u="none" strike="noStrike" kern="1200" cap="none" spc="0" normalizeH="0" baseline="0" noProof="0">
                  <a:ln>
                    <a:noFill/>
                  </a:ln>
                  <a:solidFill>
                    <a:prstClr val="white"/>
                  </a:solidFill>
                  <a:effectLst/>
                  <a:uLnTx/>
                  <a:uFillTx/>
                  <a:latin typeface="+mj-lt"/>
                  <a:ea typeface="+mn-ea"/>
                  <a:cs typeface="+mn-cs"/>
                </a:rPr>
                <a:t>After-Action Report / </a:t>
              </a:r>
            </a:p>
            <a:p>
              <a:pPr marL="0" marR="0" lvl="0" indent="0" algn="ctr" defTabSz="912813" rtl="0" eaLnBrk="1" fontAlgn="auto" latinLnBrk="0" hangingPunct="1">
                <a:lnSpc>
                  <a:spcPct val="100000"/>
                </a:lnSpc>
                <a:spcBef>
                  <a:spcPct val="0"/>
                </a:spcBef>
                <a:spcAft>
                  <a:spcPct val="37000"/>
                </a:spcAft>
                <a:buClrTx/>
                <a:buSzPct val="75000"/>
                <a:buFontTx/>
                <a:buNone/>
                <a:tabLst/>
                <a:defRPr/>
              </a:pPr>
              <a:r>
                <a:rPr kumimoji="0" lang="en-US" sz="1000" b="1" i="0" u="none" strike="noStrike" kern="1200" cap="none" spc="0" normalizeH="0" baseline="0" noProof="0">
                  <a:ln>
                    <a:noFill/>
                  </a:ln>
                  <a:solidFill>
                    <a:prstClr val="white"/>
                  </a:solidFill>
                  <a:effectLst/>
                  <a:uLnTx/>
                  <a:uFillTx/>
                  <a:latin typeface="+mj-lt"/>
                  <a:ea typeface="+mn-ea"/>
                  <a:cs typeface="+mn-cs"/>
                </a:rPr>
                <a:t>Close loop feedback</a:t>
              </a:r>
            </a:p>
          </p:txBody>
        </p:sp>
      </p:grpSp>
    </p:spTree>
    <p:extLst>
      <p:ext uri="{BB962C8B-B14F-4D97-AF65-F5344CB8AC3E}">
        <p14:creationId xmlns:p14="http://schemas.microsoft.com/office/powerpoint/2010/main" val="12166674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1" name="Curved Connector 80">
            <a:extLst>
              <a:ext uri="{FF2B5EF4-FFF2-40B4-BE49-F238E27FC236}">
                <a16:creationId xmlns:a16="http://schemas.microsoft.com/office/drawing/2014/main" id="{82E649BD-123B-72F5-D79F-D01F4E874ED2}"/>
              </a:ext>
            </a:extLst>
          </p:cNvPr>
          <p:cNvCxnSpPr>
            <a:cxnSpLocks/>
            <a:stCxn id="123" idx="0"/>
            <a:endCxn id="1026" idx="0"/>
          </p:cNvCxnSpPr>
          <p:nvPr/>
        </p:nvCxnSpPr>
        <p:spPr>
          <a:xfrm>
            <a:off x="9090660" y="4016088"/>
            <a:ext cx="1835444" cy="515804"/>
          </a:xfrm>
          <a:prstGeom prst="curvedConnector2">
            <a:avLst/>
          </a:prstGeom>
          <a:ln w="28575"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80" name="Curved Connector 80">
            <a:extLst>
              <a:ext uri="{FF2B5EF4-FFF2-40B4-BE49-F238E27FC236}">
                <a16:creationId xmlns:a16="http://schemas.microsoft.com/office/drawing/2014/main" id="{A2BD7E6B-E2D5-D05F-C4F3-8FBBBEFAFFD8}"/>
              </a:ext>
            </a:extLst>
          </p:cNvPr>
          <p:cNvCxnSpPr>
            <a:cxnSpLocks/>
            <a:stCxn id="123" idx="0"/>
            <a:endCxn id="75" idx="2"/>
          </p:cNvCxnSpPr>
          <p:nvPr/>
        </p:nvCxnSpPr>
        <p:spPr>
          <a:xfrm flipV="1">
            <a:off x="9090660" y="3802037"/>
            <a:ext cx="1772858" cy="214051"/>
          </a:xfrm>
          <a:prstGeom prst="curvedConnector2">
            <a:avLst/>
          </a:prstGeom>
          <a:ln w="28575"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25" name="Trapezoid 124">
            <a:extLst>
              <a:ext uri="{FF2B5EF4-FFF2-40B4-BE49-F238E27FC236}">
                <a16:creationId xmlns:a16="http://schemas.microsoft.com/office/drawing/2014/main" id="{0B7D7ACE-5E1C-5981-BC76-0317A7719B69}"/>
              </a:ext>
            </a:extLst>
          </p:cNvPr>
          <p:cNvSpPr>
            <a:spLocks/>
          </p:cNvSpPr>
          <p:nvPr/>
        </p:nvSpPr>
        <p:spPr>
          <a:xfrm rot="5400000">
            <a:off x="1827062" y="-265894"/>
            <a:ext cx="5944538" cy="8582662"/>
          </a:xfrm>
          <a:prstGeom prst="trapezoid">
            <a:avLst>
              <a:gd name="adj" fmla="val 38214"/>
            </a:avLst>
          </a:prstGeom>
          <a:gradFill>
            <a:gsLst>
              <a:gs pos="0">
                <a:schemeClr val="bg1">
                  <a:lumMod val="85000"/>
                </a:schemeClr>
              </a:gs>
              <a:gs pos="100000">
                <a:schemeClr val="bg1">
                  <a:lumMod val="85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0" name="Title 39">
            <a:extLst>
              <a:ext uri="{FF2B5EF4-FFF2-40B4-BE49-F238E27FC236}">
                <a16:creationId xmlns:a16="http://schemas.microsoft.com/office/drawing/2014/main" id="{C5DD99DD-9FEE-7F45-C0AF-71FE8401B30E}"/>
              </a:ext>
            </a:extLst>
          </p:cNvPr>
          <p:cNvSpPr>
            <a:spLocks noGrp="1"/>
          </p:cNvSpPr>
          <p:nvPr>
            <p:ph type="title" idx="4294967295"/>
          </p:nvPr>
        </p:nvSpPr>
        <p:spPr>
          <a:xfrm>
            <a:off x="596190" y="400148"/>
            <a:ext cx="10024185" cy="554038"/>
          </a:xfrm>
        </p:spPr>
        <p:txBody>
          <a:bodyPr/>
          <a:lstStyle/>
          <a:p>
            <a:r>
              <a:rPr lang="en-US" dirty="0"/>
              <a:t>RSM Defense Tech Stack</a:t>
            </a:r>
          </a:p>
        </p:txBody>
      </p:sp>
      <p:sp>
        <p:nvSpPr>
          <p:cNvPr id="123" name="Trapezoid 122">
            <a:extLst>
              <a:ext uri="{FF2B5EF4-FFF2-40B4-BE49-F238E27FC236}">
                <a16:creationId xmlns:a16="http://schemas.microsoft.com/office/drawing/2014/main" id="{3EC2D9F7-DD55-DB2E-31FF-57E6414F1DAE}"/>
              </a:ext>
            </a:extLst>
          </p:cNvPr>
          <p:cNvSpPr/>
          <p:nvPr/>
        </p:nvSpPr>
        <p:spPr>
          <a:xfrm rot="5400000">
            <a:off x="7299895" y="3271988"/>
            <a:ext cx="2093330" cy="1488199"/>
          </a:xfrm>
          <a:prstGeom prst="trapezoid">
            <a:avLst>
              <a:gd name="adj" fmla="val 2129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91" name="Graphic 190">
            <a:extLst>
              <a:ext uri="{FF2B5EF4-FFF2-40B4-BE49-F238E27FC236}">
                <a16:creationId xmlns:a16="http://schemas.microsoft.com/office/drawing/2014/main" id="{C4DA6434-A8CF-44A6-0B23-EDB51F6F367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36104" y="4173190"/>
            <a:ext cx="448951" cy="309036"/>
          </a:xfrm>
          <a:prstGeom prst="rect">
            <a:avLst/>
          </a:prstGeom>
        </p:spPr>
      </p:pic>
      <p:pic>
        <p:nvPicPr>
          <p:cNvPr id="192" name="Graphic 191">
            <a:extLst>
              <a:ext uri="{FF2B5EF4-FFF2-40B4-BE49-F238E27FC236}">
                <a16:creationId xmlns:a16="http://schemas.microsoft.com/office/drawing/2014/main" id="{44D36887-5168-166D-5C6B-9211FD1CEC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85515" y="3632362"/>
            <a:ext cx="523651" cy="335012"/>
          </a:xfrm>
          <a:prstGeom prst="rect">
            <a:avLst/>
          </a:prstGeom>
        </p:spPr>
      </p:pic>
      <p:pic>
        <p:nvPicPr>
          <p:cNvPr id="193" name="Graphic 192">
            <a:extLst>
              <a:ext uri="{FF2B5EF4-FFF2-40B4-BE49-F238E27FC236}">
                <a16:creationId xmlns:a16="http://schemas.microsoft.com/office/drawing/2014/main" id="{0E7FD287-80FF-9DD3-12CD-BF2E0079F60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40114" y="4315416"/>
            <a:ext cx="467112" cy="333621"/>
          </a:xfrm>
          <a:prstGeom prst="rect">
            <a:avLst/>
          </a:prstGeom>
        </p:spPr>
      </p:pic>
      <p:pic>
        <p:nvPicPr>
          <p:cNvPr id="194" name="Graphic 193">
            <a:extLst>
              <a:ext uri="{FF2B5EF4-FFF2-40B4-BE49-F238E27FC236}">
                <a16:creationId xmlns:a16="http://schemas.microsoft.com/office/drawing/2014/main" id="{84BDADA4-3443-67CE-AD52-52014586A6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50910" y="3295106"/>
            <a:ext cx="452241" cy="409082"/>
          </a:xfrm>
          <a:prstGeom prst="rect">
            <a:avLst/>
          </a:prstGeom>
        </p:spPr>
      </p:pic>
      <p:sp>
        <p:nvSpPr>
          <p:cNvPr id="121" name="Trapezoid 120">
            <a:extLst>
              <a:ext uri="{FF2B5EF4-FFF2-40B4-BE49-F238E27FC236}">
                <a16:creationId xmlns:a16="http://schemas.microsoft.com/office/drawing/2014/main" id="{1E5F4814-9717-45EF-08F3-F881277B750C}"/>
              </a:ext>
            </a:extLst>
          </p:cNvPr>
          <p:cNvSpPr/>
          <p:nvPr/>
        </p:nvSpPr>
        <p:spPr>
          <a:xfrm rot="5400000">
            <a:off x="5055567" y="2999528"/>
            <a:ext cx="2976449" cy="2036701"/>
          </a:xfrm>
          <a:prstGeom prst="trapezoid">
            <a:avLst>
              <a:gd name="adj" fmla="val 2129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69" name="Picture 68" descr="A picture containing diagram&#10;&#10;Description automatically generated">
            <a:extLst>
              <a:ext uri="{FF2B5EF4-FFF2-40B4-BE49-F238E27FC236}">
                <a16:creationId xmlns:a16="http://schemas.microsoft.com/office/drawing/2014/main" id="{27AC9FFF-DD05-C751-860C-0E466C2F6765}"/>
              </a:ext>
            </a:extLst>
          </p:cNvPr>
          <p:cNvPicPr>
            <a:picLocks noChangeAspect="1"/>
          </p:cNvPicPr>
          <p:nvPr/>
        </p:nvPicPr>
        <p:blipFill>
          <a:blip r:embed="rId10"/>
          <a:stretch>
            <a:fillRect/>
          </a:stretch>
        </p:blipFill>
        <p:spPr>
          <a:xfrm>
            <a:off x="5722334" y="3063523"/>
            <a:ext cx="1839808" cy="1870371"/>
          </a:xfrm>
          <a:prstGeom prst="rect">
            <a:avLst/>
          </a:prstGeom>
          <a:effectLst/>
          <a:scene3d>
            <a:camera prst="orthographicFront">
              <a:rot lat="20699998" lon="19799989" rev="0"/>
            </a:camera>
            <a:lightRig rig="threePt" dir="t"/>
          </a:scene3d>
        </p:spPr>
      </p:pic>
      <p:sp>
        <p:nvSpPr>
          <p:cNvPr id="83" name="TextBox 82">
            <a:extLst>
              <a:ext uri="{FF2B5EF4-FFF2-40B4-BE49-F238E27FC236}">
                <a16:creationId xmlns:a16="http://schemas.microsoft.com/office/drawing/2014/main" id="{99465F22-4C5E-0E85-1956-0E15726066AF}"/>
              </a:ext>
            </a:extLst>
          </p:cNvPr>
          <p:cNvSpPr txBox="1"/>
          <p:nvPr/>
        </p:nvSpPr>
        <p:spPr>
          <a:xfrm>
            <a:off x="5628550" y="2314208"/>
            <a:ext cx="1953751" cy="43088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100" b="1" i="0" u="none" strike="noStrike" kern="1200" cap="none" spc="0" normalizeH="0" baseline="0" noProof="0" dirty="0">
                <a:ln>
                  <a:noFill/>
                </a:ln>
                <a:effectLst/>
                <a:uLnTx/>
                <a:uFillTx/>
                <a:latin typeface="Lato Black" panose="020F0502020204030203" pitchFamily="34" charset="0"/>
                <a:ea typeface="Lato Black" panose="020F0502020204030203" pitchFamily="34" charset="0"/>
                <a:cs typeface="Lato Black" panose="020F0502020204030203" pitchFamily="34" charset="0"/>
              </a:rPr>
              <a:t>ML-Based Incident Correlation</a:t>
            </a:r>
          </a:p>
        </p:txBody>
      </p:sp>
      <p:sp>
        <p:nvSpPr>
          <p:cNvPr id="84" name="TextBox 83">
            <a:extLst>
              <a:ext uri="{FF2B5EF4-FFF2-40B4-BE49-F238E27FC236}">
                <a16:creationId xmlns:a16="http://schemas.microsoft.com/office/drawing/2014/main" id="{CDC29829-9D85-AD5F-7DE6-60E8E7A07A0E}"/>
              </a:ext>
            </a:extLst>
          </p:cNvPr>
          <p:cNvSpPr txBox="1"/>
          <p:nvPr/>
        </p:nvSpPr>
        <p:spPr>
          <a:xfrm>
            <a:off x="7417434" y="2608350"/>
            <a:ext cx="2397973"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400" b="1" i="0" u="none" strike="noStrike" kern="1200" cap="none" spc="0" normalizeH="0" baseline="0" noProof="0" dirty="0">
                <a:ln>
                  <a:noFill/>
                </a:ln>
                <a:solidFill>
                  <a:schemeClr val="accent1"/>
                </a:solidFill>
                <a:effectLst/>
                <a:uLnTx/>
                <a:uFillTx/>
                <a:latin typeface="Lato Black" panose="020F0502020204030203" pitchFamily="34" charset="0"/>
                <a:ea typeface="Lato Black" panose="020F0502020204030203" pitchFamily="34" charset="0"/>
                <a:cs typeface="Lato Black" panose="020F0502020204030203" pitchFamily="34" charset="0"/>
              </a:rPr>
              <a:t>Investigation &amp;  Intelligent Response</a:t>
            </a:r>
          </a:p>
        </p:txBody>
      </p:sp>
      <p:sp>
        <p:nvSpPr>
          <p:cNvPr id="126" name="TextBox 125">
            <a:extLst>
              <a:ext uri="{FF2B5EF4-FFF2-40B4-BE49-F238E27FC236}">
                <a16:creationId xmlns:a16="http://schemas.microsoft.com/office/drawing/2014/main" id="{565317B2-C144-C427-68A0-01F5F67CF3D2}"/>
              </a:ext>
            </a:extLst>
          </p:cNvPr>
          <p:cNvSpPr txBox="1"/>
          <p:nvPr/>
        </p:nvSpPr>
        <p:spPr>
          <a:xfrm rot="16200000">
            <a:off x="-346460" y="4292605"/>
            <a:ext cx="1546745" cy="33855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600" b="1" i="0" u="none" strike="noStrike" kern="1200" cap="none" spc="0" normalizeH="0" baseline="0" noProof="0" dirty="0">
                <a:ln>
                  <a:noFill/>
                </a:ln>
                <a:effectLst/>
                <a:uLnTx/>
                <a:uFillTx/>
                <a:latin typeface="Lato" panose="020F0502020204030203" pitchFamily="34" charset="0"/>
                <a:ea typeface="+mn-ea"/>
                <a:cs typeface="Lato" panose="020F0502020204030203" pitchFamily="34" charset="0"/>
              </a:rPr>
              <a:t>YOUR  TOOLS</a:t>
            </a:r>
          </a:p>
        </p:txBody>
      </p:sp>
      <p:sp>
        <p:nvSpPr>
          <p:cNvPr id="147" name="TextBox 146">
            <a:extLst>
              <a:ext uri="{FF2B5EF4-FFF2-40B4-BE49-F238E27FC236}">
                <a16:creationId xmlns:a16="http://schemas.microsoft.com/office/drawing/2014/main" id="{226076AA-DD4A-EAC6-E0BF-7873BD49F4F4}"/>
              </a:ext>
            </a:extLst>
          </p:cNvPr>
          <p:cNvSpPr txBox="1"/>
          <p:nvPr/>
        </p:nvSpPr>
        <p:spPr>
          <a:xfrm rot="16200000">
            <a:off x="-120804" y="1959775"/>
            <a:ext cx="1085240" cy="5847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600" b="1" i="0" u="none" strike="noStrike" kern="1200" cap="none" spc="0" normalizeH="0" baseline="0" noProof="0" dirty="0">
                <a:ln>
                  <a:noFill/>
                </a:ln>
                <a:effectLst/>
                <a:uLnTx/>
                <a:uFillTx/>
                <a:latin typeface="Lato" panose="020F0502020204030203" pitchFamily="34" charset="0"/>
                <a:ea typeface="+mn-ea"/>
                <a:cs typeface="Lato" panose="020F0502020204030203" pitchFamily="34" charset="0"/>
              </a:rPr>
              <a:t>RSM DEFENSE</a:t>
            </a:r>
          </a:p>
        </p:txBody>
      </p:sp>
      <p:grpSp>
        <p:nvGrpSpPr>
          <p:cNvPr id="9" name="Group 8">
            <a:extLst>
              <a:ext uri="{FF2B5EF4-FFF2-40B4-BE49-F238E27FC236}">
                <a16:creationId xmlns:a16="http://schemas.microsoft.com/office/drawing/2014/main" id="{5A569760-97B4-1A5A-3964-4AFE3BA949B5}"/>
              </a:ext>
            </a:extLst>
          </p:cNvPr>
          <p:cNvGrpSpPr/>
          <p:nvPr/>
        </p:nvGrpSpPr>
        <p:grpSpPr>
          <a:xfrm>
            <a:off x="2969193" y="2553755"/>
            <a:ext cx="673908" cy="3332569"/>
            <a:chOff x="3128535" y="2553755"/>
            <a:chExt cx="1597747" cy="3332569"/>
          </a:xfrm>
        </p:grpSpPr>
        <p:cxnSp>
          <p:nvCxnSpPr>
            <p:cNvPr id="201" name="Curved Connector 200">
              <a:extLst>
                <a:ext uri="{FF2B5EF4-FFF2-40B4-BE49-F238E27FC236}">
                  <a16:creationId xmlns:a16="http://schemas.microsoft.com/office/drawing/2014/main" id="{EEFF6B73-D4BC-B845-4669-AC48B88DCE1D}"/>
                </a:ext>
              </a:extLst>
            </p:cNvPr>
            <p:cNvCxnSpPr>
              <a:cxnSpLocks/>
              <a:endCxn id="58" idx="1"/>
            </p:cNvCxnSpPr>
            <p:nvPr/>
          </p:nvCxnSpPr>
          <p:spPr>
            <a:xfrm rot="5400000" flipH="1" flipV="1">
              <a:off x="3359523" y="3855419"/>
              <a:ext cx="1230838" cy="1502680"/>
            </a:xfrm>
            <a:prstGeom prst="curvedConnector2">
              <a:avLst/>
            </a:prstGeom>
            <a:ln w="28575" cap="rnd">
              <a:solidFill>
                <a:schemeClr val="accent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1" name="Curved Connector 80">
              <a:extLst>
                <a:ext uri="{FF2B5EF4-FFF2-40B4-BE49-F238E27FC236}">
                  <a16:creationId xmlns:a16="http://schemas.microsoft.com/office/drawing/2014/main" id="{85A93564-4261-8D61-8D17-F0F4E79A6098}"/>
                </a:ext>
              </a:extLst>
            </p:cNvPr>
            <p:cNvCxnSpPr>
              <a:cxnSpLocks/>
              <a:endCxn id="58" idx="1"/>
            </p:cNvCxnSpPr>
            <p:nvPr/>
          </p:nvCxnSpPr>
          <p:spPr>
            <a:xfrm rot="16200000" flipH="1">
              <a:off x="3257918" y="2522976"/>
              <a:ext cx="1437586" cy="1499143"/>
            </a:xfrm>
            <a:prstGeom prst="curvedConnector2">
              <a:avLst/>
            </a:prstGeom>
            <a:ln w="28575"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82" name="Curved Connector 81">
              <a:extLst>
                <a:ext uri="{FF2B5EF4-FFF2-40B4-BE49-F238E27FC236}">
                  <a16:creationId xmlns:a16="http://schemas.microsoft.com/office/drawing/2014/main" id="{D4566970-DF69-BFD4-70E2-5F26E5A3CCE1}"/>
                </a:ext>
              </a:extLst>
            </p:cNvPr>
            <p:cNvCxnSpPr>
              <a:cxnSpLocks/>
              <a:endCxn id="58" idx="1"/>
            </p:cNvCxnSpPr>
            <p:nvPr/>
          </p:nvCxnSpPr>
          <p:spPr>
            <a:xfrm rot="16200000" flipH="1">
              <a:off x="3605154" y="2870212"/>
              <a:ext cx="752550" cy="1489707"/>
            </a:xfrm>
            <a:prstGeom prst="curvedConnector2">
              <a:avLst/>
            </a:prstGeom>
            <a:ln w="28575" cap="rnd">
              <a:solidFill>
                <a:schemeClr val="accent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B115952-5137-175D-8176-F0AA63A3E188}"/>
                </a:ext>
              </a:extLst>
            </p:cNvPr>
            <p:cNvCxnSpPr>
              <a:cxnSpLocks/>
              <a:endCxn id="58" idx="1"/>
            </p:cNvCxnSpPr>
            <p:nvPr/>
          </p:nvCxnSpPr>
          <p:spPr>
            <a:xfrm>
              <a:off x="3128535" y="3985958"/>
              <a:ext cx="1597747" cy="5382"/>
            </a:xfrm>
            <a:prstGeom prst="line">
              <a:avLst/>
            </a:prstGeom>
            <a:ln w="28575" cap="rnd">
              <a:solidFill>
                <a:schemeClr val="accent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5" name="Curved Connector 164">
              <a:extLst>
                <a:ext uri="{FF2B5EF4-FFF2-40B4-BE49-F238E27FC236}">
                  <a16:creationId xmlns:a16="http://schemas.microsoft.com/office/drawing/2014/main" id="{F64CAA8D-F5FB-DE9C-AA45-A045B157A786}"/>
                </a:ext>
              </a:extLst>
            </p:cNvPr>
            <p:cNvCxnSpPr>
              <a:cxnSpLocks/>
              <a:endCxn id="58" idx="1"/>
            </p:cNvCxnSpPr>
            <p:nvPr/>
          </p:nvCxnSpPr>
          <p:spPr>
            <a:xfrm rot="5400000" flipH="1" flipV="1">
              <a:off x="3657448" y="3561032"/>
              <a:ext cx="638526" cy="1499143"/>
            </a:xfrm>
            <a:prstGeom prst="curvedConnector2">
              <a:avLst/>
            </a:prstGeom>
            <a:ln w="28575" cap="rnd">
              <a:solidFill>
                <a:schemeClr val="accent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6" name="Curved Connector 165">
              <a:extLst>
                <a:ext uri="{FF2B5EF4-FFF2-40B4-BE49-F238E27FC236}">
                  <a16:creationId xmlns:a16="http://schemas.microsoft.com/office/drawing/2014/main" id="{392219A9-6E77-EA07-680D-582E77EFED70}"/>
                </a:ext>
              </a:extLst>
            </p:cNvPr>
            <p:cNvCxnSpPr>
              <a:cxnSpLocks/>
              <a:endCxn id="58" idx="1"/>
            </p:cNvCxnSpPr>
            <p:nvPr/>
          </p:nvCxnSpPr>
          <p:spPr>
            <a:xfrm rot="5400000" flipH="1" flipV="1">
              <a:off x="3025992" y="4186034"/>
              <a:ext cx="1894984" cy="1505596"/>
            </a:xfrm>
            <a:prstGeom prst="curvedConnector2">
              <a:avLst/>
            </a:prstGeom>
            <a:ln w="28575" cap="rnd">
              <a:solidFill>
                <a:schemeClr val="accent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15" name="Trapezoid 114">
            <a:extLst>
              <a:ext uri="{FF2B5EF4-FFF2-40B4-BE49-F238E27FC236}">
                <a16:creationId xmlns:a16="http://schemas.microsoft.com/office/drawing/2014/main" id="{FCECF668-7BD1-879F-60F4-A2F07748DAC9}"/>
              </a:ext>
            </a:extLst>
          </p:cNvPr>
          <p:cNvSpPr/>
          <p:nvPr/>
        </p:nvSpPr>
        <p:spPr>
          <a:xfrm rot="5400000">
            <a:off x="1909953" y="3575256"/>
            <a:ext cx="3925140" cy="863923"/>
          </a:xfrm>
          <a:prstGeom prst="trapezoid">
            <a:avLst>
              <a:gd name="adj" fmla="val 22205"/>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56" name="Group 55">
            <a:extLst>
              <a:ext uri="{FF2B5EF4-FFF2-40B4-BE49-F238E27FC236}">
                <a16:creationId xmlns:a16="http://schemas.microsoft.com/office/drawing/2014/main" id="{C308A983-8B3E-824F-2815-31F1FFFBFA89}"/>
              </a:ext>
            </a:extLst>
          </p:cNvPr>
          <p:cNvGrpSpPr/>
          <p:nvPr/>
        </p:nvGrpSpPr>
        <p:grpSpPr>
          <a:xfrm>
            <a:off x="3643101" y="3494143"/>
            <a:ext cx="547899" cy="594297"/>
            <a:chOff x="4580329" y="5579806"/>
            <a:chExt cx="644949" cy="699565"/>
          </a:xfrm>
        </p:grpSpPr>
        <p:sp>
          <p:nvSpPr>
            <p:cNvPr id="57" name="Rounded Rectangle 56">
              <a:extLst>
                <a:ext uri="{FF2B5EF4-FFF2-40B4-BE49-F238E27FC236}">
                  <a16:creationId xmlns:a16="http://schemas.microsoft.com/office/drawing/2014/main" id="{5421AF7D-1931-2E9A-C81A-AD92D5201EBE}"/>
                </a:ext>
              </a:extLst>
            </p:cNvPr>
            <p:cNvSpPr/>
            <p:nvPr/>
          </p:nvSpPr>
          <p:spPr>
            <a:xfrm>
              <a:off x="4580329" y="5579806"/>
              <a:ext cx="228600" cy="228600"/>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8" name="Rounded Rectangle 57">
              <a:extLst>
                <a:ext uri="{FF2B5EF4-FFF2-40B4-BE49-F238E27FC236}">
                  <a16:creationId xmlns:a16="http://schemas.microsoft.com/office/drawing/2014/main" id="{645AFBA1-C390-D301-0BAB-99D0CCD43051}"/>
                </a:ext>
              </a:extLst>
            </p:cNvPr>
            <p:cNvSpPr/>
            <p:nvPr/>
          </p:nvSpPr>
          <p:spPr>
            <a:xfrm>
              <a:off x="4580329" y="6050771"/>
              <a:ext cx="228600" cy="228600"/>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9" name="Rounded Rectangle 58">
              <a:extLst>
                <a:ext uri="{FF2B5EF4-FFF2-40B4-BE49-F238E27FC236}">
                  <a16:creationId xmlns:a16="http://schemas.microsoft.com/office/drawing/2014/main" id="{F6AF2571-73E7-95B0-EE57-55F6C2A34E0A}"/>
                </a:ext>
              </a:extLst>
            </p:cNvPr>
            <p:cNvSpPr/>
            <p:nvPr/>
          </p:nvSpPr>
          <p:spPr>
            <a:xfrm>
              <a:off x="4996678" y="5584251"/>
              <a:ext cx="228600" cy="228600"/>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0" name="Rounded Rectangle 59">
              <a:extLst>
                <a:ext uri="{FF2B5EF4-FFF2-40B4-BE49-F238E27FC236}">
                  <a16:creationId xmlns:a16="http://schemas.microsoft.com/office/drawing/2014/main" id="{A7F48F4D-C897-5F97-458B-DCAE1BCD9DE1}"/>
                </a:ext>
              </a:extLst>
            </p:cNvPr>
            <p:cNvSpPr/>
            <p:nvPr/>
          </p:nvSpPr>
          <p:spPr>
            <a:xfrm>
              <a:off x="4994508" y="6050771"/>
              <a:ext cx="228600" cy="228600"/>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61" name="Straight Connector 60">
              <a:extLst>
                <a:ext uri="{FF2B5EF4-FFF2-40B4-BE49-F238E27FC236}">
                  <a16:creationId xmlns:a16="http://schemas.microsoft.com/office/drawing/2014/main" id="{BA495216-7D2E-AE5C-4C1A-1D7363CC3B32}"/>
                </a:ext>
              </a:extLst>
            </p:cNvPr>
            <p:cNvCxnSpPr>
              <a:stCxn id="57" idx="2"/>
              <a:endCxn id="58" idx="0"/>
            </p:cNvCxnSpPr>
            <p:nvPr/>
          </p:nvCxnSpPr>
          <p:spPr>
            <a:xfrm>
              <a:off x="4694629" y="5808406"/>
              <a:ext cx="0" cy="24236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A9B3280-E144-F56B-FC04-5F80B9E89422}"/>
                </a:ext>
              </a:extLst>
            </p:cNvPr>
            <p:cNvCxnSpPr>
              <a:cxnSpLocks/>
              <a:stCxn id="60" idx="0"/>
              <a:endCxn id="59" idx="2"/>
            </p:cNvCxnSpPr>
            <p:nvPr/>
          </p:nvCxnSpPr>
          <p:spPr>
            <a:xfrm flipV="1">
              <a:off x="5108808" y="5812851"/>
              <a:ext cx="2170" cy="23792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33A8687-5044-B59D-2246-6B86C8EC1747}"/>
                </a:ext>
              </a:extLst>
            </p:cNvPr>
            <p:cNvCxnSpPr>
              <a:cxnSpLocks/>
              <a:stCxn id="60" idx="1"/>
              <a:endCxn id="58" idx="3"/>
            </p:cNvCxnSpPr>
            <p:nvPr/>
          </p:nvCxnSpPr>
          <p:spPr>
            <a:xfrm flipH="1">
              <a:off x="4808929" y="6165071"/>
              <a:ext cx="18557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4112F32-272C-C3E9-D0DA-AB97E709713E}"/>
                </a:ext>
              </a:extLst>
            </p:cNvPr>
            <p:cNvCxnSpPr>
              <a:cxnSpLocks/>
              <a:stCxn id="59" idx="1"/>
              <a:endCxn id="57" idx="3"/>
            </p:cNvCxnSpPr>
            <p:nvPr/>
          </p:nvCxnSpPr>
          <p:spPr>
            <a:xfrm flipH="1" flipV="1">
              <a:off x="4808929" y="5694106"/>
              <a:ext cx="187749" cy="4445"/>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65" name="TextBox 64">
            <a:extLst>
              <a:ext uri="{FF2B5EF4-FFF2-40B4-BE49-F238E27FC236}">
                <a16:creationId xmlns:a16="http://schemas.microsoft.com/office/drawing/2014/main" id="{89A0977D-FA29-D8F7-D994-EA27206DD6C0}"/>
              </a:ext>
            </a:extLst>
          </p:cNvPr>
          <p:cNvSpPr txBox="1"/>
          <p:nvPr/>
        </p:nvSpPr>
        <p:spPr>
          <a:xfrm>
            <a:off x="3450080" y="2493179"/>
            <a:ext cx="863922"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t>THREAT INTEL</a:t>
            </a:r>
          </a:p>
        </p:txBody>
      </p:sp>
      <p:sp>
        <p:nvSpPr>
          <p:cNvPr id="164" name="TextBox 163">
            <a:extLst>
              <a:ext uri="{FF2B5EF4-FFF2-40B4-BE49-F238E27FC236}">
                <a16:creationId xmlns:a16="http://schemas.microsoft.com/office/drawing/2014/main" id="{364DEAB6-109B-4089-BEA8-1F339D286A30}"/>
              </a:ext>
            </a:extLst>
          </p:cNvPr>
          <p:cNvSpPr txBox="1"/>
          <p:nvPr/>
        </p:nvSpPr>
        <p:spPr>
          <a:xfrm>
            <a:off x="3440561" y="4853977"/>
            <a:ext cx="863922"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t>LOCATION</a:t>
            </a:r>
          </a:p>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t>ASSET USER CONTEXT</a:t>
            </a:r>
          </a:p>
        </p:txBody>
      </p:sp>
      <p:cxnSp>
        <p:nvCxnSpPr>
          <p:cNvPr id="170" name="Straight Connector 169">
            <a:extLst>
              <a:ext uri="{FF2B5EF4-FFF2-40B4-BE49-F238E27FC236}">
                <a16:creationId xmlns:a16="http://schemas.microsoft.com/office/drawing/2014/main" id="{35EB28CE-3335-D196-315B-33512B7FE2C2}"/>
              </a:ext>
            </a:extLst>
          </p:cNvPr>
          <p:cNvCxnSpPr>
            <a:cxnSpLocks/>
            <a:stCxn id="65" idx="2"/>
          </p:cNvCxnSpPr>
          <p:nvPr/>
        </p:nvCxnSpPr>
        <p:spPr>
          <a:xfrm>
            <a:off x="3882041" y="2862511"/>
            <a:ext cx="0" cy="562516"/>
          </a:xfrm>
          <a:prstGeom prst="line">
            <a:avLst/>
          </a:prstGeom>
          <a:ln w="28575" cap="rnd">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3B970F04-C1D0-D83B-1D62-F17AD8864EC2}"/>
              </a:ext>
            </a:extLst>
          </p:cNvPr>
          <p:cNvCxnSpPr>
            <a:cxnSpLocks/>
            <a:endCxn id="164" idx="0"/>
          </p:cNvCxnSpPr>
          <p:nvPr/>
        </p:nvCxnSpPr>
        <p:spPr>
          <a:xfrm flipH="1">
            <a:off x="3872522" y="4117007"/>
            <a:ext cx="9519" cy="736970"/>
          </a:xfrm>
          <a:prstGeom prst="line">
            <a:avLst/>
          </a:prstGeom>
          <a:ln w="28575" cap="rnd">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E256FD28-412F-82E6-DD4B-0E7BF69010B4}"/>
              </a:ext>
            </a:extLst>
          </p:cNvPr>
          <p:cNvSpPr txBox="1"/>
          <p:nvPr/>
        </p:nvSpPr>
        <p:spPr>
          <a:xfrm>
            <a:off x="3319973" y="1564879"/>
            <a:ext cx="1090958" cy="43088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100" b="1" i="0" u="none" strike="noStrike" kern="1200" cap="none" spc="0" normalizeH="0" baseline="0" noProof="0" dirty="0">
                <a:ln>
                  <a:noFill/>
                </a:ln>
                <a:effectLst/>
                <a:uLnTx/>
                <a:uFillTx/>
                <a:latin typeface="Lato Black" panose="020F0502020204030203" pitchFamily="34" charset="0"/>
                <a:ea typeface="Lato Black" panose="020F0502020204030203" pitchFamily="34" charset="0"/>
                <a:cs typeface="Lato Black" panose="020F0502020204030203" pitchFamily="34" charset="0"/>
              </a:rPr>
              <a:t>Normalized, </a:t>
            </a:r>
            <a:br>
              <a:rPr kumimoji="0" lang="en-US" sz="1100" b="1" i="0" u="none" strike="noStrike" kern="1200" cap="none" spc="0" normalizeH="0" baseline="0" noProof="0" dirty="0">
                <a:ln>
                  <a:noFill/>
                </a:ln>
                <a:effectLst/>
                <a:uLnTx/>
                <a:uFillTx/>
                <a:latin typeface="Lato Black" panose="020F0502020204030203" pitchFamily="34" charset="0"/>
                <a:ea typeface="Lato Black" panose="020F0502020204030203" pitchFamily="34" charset="0"/>
                <a:cs typeface="Lato Black" panose="020F0502020204030203" pitchFamily="34" charset="0"/>
              </a:rPr>
            </a:br>
            <a:r>
              <a:rPr kumimoji="0" lang="en-US" sz="1100" b="1" i="0" u="none" strike="noStrike" kern="1200" cap="none" spc="0" normalizeH="0" baseline="0" noProof="0" dirty="0">
                <a:ln>
                  <a:noFill/>
                </a:ln>
                <a:effectLst/>
                <a:uLnTx/>
                <a:uFillTx/>
                <a:latin typeface="Lato Black" panose="020F0502020204030203" pitchFamily="34" charset="0"/>
                <a:ea typeface="Lato Black" panose="020F0502020204030203" pitchFamily="34" charset="0"/>
                <a:cs typeface="Lato Black" panose="020F0502020204030203" pitchFamily="34" charset="0"/>
              </a:rPr>
              <a:t>Enriched Data</a:t>
            </a:r>
          </a:p>
        </p:txBody>
      </p:sp>
      <p:sp>
        <p:nvSpPr>
          <p:cNvPr id="117" name="Trapezoid 116">
            <a:extLst>
              <a:ext uri="{FF2B5EF4-FFF2-40B4-BE49-F238E27FC236}">
                <a16:creationId xmlns:a16="http://schemas.microsoft.com/office/drawing/2014/main" id="{E8DB2D26-E82A-D74A-C1F4-E255FE135618}"/>
              </a:ext>
            </a:extLst>
          </p:cNvPr>
          <p:cNvSpPr/>
          <p:nvPr/>
        </p:nvSpPr>
        <p:spPr>
          <a:xfrm rot="5400000">
            <a:off x="3174937" y="3485884"/>
            <a:ext cx="3473703" cy="1072223"/>
          </a:xfrm>
          <a:prstGeom prst="trapezoid">
            <a:avLst>
              <a:gd name="adj" fmla="val 2129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50" name="Group 49">
            <a:extLst>
              <a:ext uri="{FF2B5EF4-FFF2-40B4-BE49-F238E27FC236}">
                <a16:creationId xmlns:a16="http://schemas.microsoft.com/office/drawing/2014/main" id="{0FA89C59-8E44-B91E-A426-A9FCBD766AA4}"/>
              </a:ext>
            </a:extLst>
          </p:cNvPr>
          <p:cNvGrpSpPr/>
          <p:nvPr/>
        </p:nvGrpSpPr>
        <p:grpSpPr>
          <a:xfrm>
            <a:off x="4378141" y="2758407"/>
            <a:ext cx="1072224" cy="2294597"/>
            <a:chOff x="5653887" y="2782320"/>
            <a:chExt cx="1072224" cy="2294597"/>
          </a:xfrm>
        </p:grpSpPr>
        <p:sp>
          <p:nvSpPr>
            <p:cNvPr id="180" name="TextBox 179">
              <a:extLst>
                <a:ext uri="{FF2B5EF4-FFF2-40B4-BE49-F238E27FC236}">
                  <a16:creationId xmlns:a16="http://schemas.microsoft.com/office/drawing/2014/main" id="{6E56D94A-E41E-DB20-0152-ECD335D7BF60}"/>
                </a:ext>
              </a:extLst>
            </p:cNvPr>
            <p:cNvSpPr txBox="1"/>
            <p:nvPr/>
          </p:nvSpPr>
          <p:spPr>
            <a:xfrm>
              <a:off x="5755586" y="3408703"/>
              <a:ext cx="863922"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t>KNOWN</a:t>
              </a:r>
              <a:b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br>
              <a: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t>BAD</a:t>
              </a:r>
            </a:p>
          </p:txBody>
        </p:sp>
        <p:grpSp>
          <p:nvGrpSpPr>
            <p:cNvPr id="49" name="Group 48">
              <a:extLst>
                <a:ext uri="{FF2B5EF4-FFF2-40B4-BE49-F238E27FC236}">
                  <a16:creationId xmlns:a16="http://schemas.microsoft.com/office/drawing/2014/main" id="{774AE5EE-D60C-833D-E274-A3C708FB7C60}"/>
                </a:ext>
              </a:extLst>
            </p:cNvPr>
            <p:cNvGrpSpPr/>
            <p:nvPr/>
          </p:nvGrpSpPr>
          <p:grpSpPr>
            <a:xfrm>
              <a:off x="5653887" y="2782320"/>
              <a:ext cx="1072224" cy="2294597"/>
              <a:chOff x="5653887" y="2782320"/>
              <a:chExt cx="1072224" cy="2294597"/>
            </a:xfrm>
          </p:grpSpPr>
          <p:grpSp>
            <p:nvGrpSpPr>
              <p:cNvPr id="48" name="Group 47">
                <a:extLst>
                  <a:ext uri="{FF2B5EF4-FFF2-40B4-BE49-F238E27FC236}">
                    <a16:creationId xmlns:a16="http://schemas.microsoft.com/office/drawing/2014/main" id="{9CF9DBD1-8F19-90D7-7E62-DBF5BBB166D0}"/>
                  </a:ext>
                </a:extLst>
              </p:cNvPr>
              <p:cNvGrpSpPr/>
              <p:nvPr/>
            </p:nvGrpSpPr>
            <p:grpSpPr>
              <a:xfrm>
                <a:off x="5971277" y="2782320"/>
                <a:ext cx="443832" cy="1707085"/>
                <a:chOff x="5971277" y="2782320"/>
                <a:chExt cx="443832" cy="1707085"/>
              </a:xfrm>
            </p:grpSpPr>
            <p:sp>
              <p:nvSpPr>
                <p:cNvPr id="46" name="Triangle 45">
                  <a:extLst>
                    <a:ext uri="{FF2B5EF4-FFF2-40B4-BE49-F238E27FC236}">
                      <a16:creationId xmlns:a16="http://schemas.microsoft.com/office/drawing/2014/main" id="{66308505-9376-220D-BD91-E581F8662087}"/>
                    </a:ext>
                  </a:extLst>
                </p:cNvPr>
                <p:cNvSpPr/>
                <p:nvPr/>
              </p:nvSpPr>
              <p:spPr>
                <a:xfrm>
                  <a:off x="5991104" y="2782320"/>
                  <a:ext cx="424005" cy="387542"/>
                </a:xfrm>
                <a:prstGeom prst="triangle">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0046"/>
                    </a:solidFill>
                    <a:effectLst/>
                    <a:uLnTx/>
                    <a:uFillTx/>
                    <a:latin typeface="Arial" panose="020B0604020202020204"/>
                    <a:ea typeface="+mn-ea"/>
                    <a:cs typeface="+mn-cs"/>
                  </a:endParaRPr>
                </a:p>
              </p:txBody>
            </p:sp>
            <p:sp>
              <p:nvSpPr>
                <p:cNvPr id="172" name="TextBox 171">
                  <a:extLst>
                    <a:ext uri="{FF2B5EF4-FFF2-40B4-BE49-F238E27FC236}">
                      <a16:creationId xmlns:a16="http://schemas.microsoft.com/office/drawing/2014/main" id="{D7D29215-40AF-C7DF-6878-87ACDF108C44}"/>
                    </a:ext>
                  </a:extLst>
                </p:cNvPr>
                <p:cNvSpPr txBox="1"/>
                <p:nvPr/>
              </p:nvSpPr>
              <p:spPr>
                <a:xfrm>
                  <a:off x="6066180" y="2821956"/>
                  <a:ext cx="284815"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800" b="1" i="0" u="none" strike="noStrike" kern="1200" cap="none" spc="0" normalizeH="0" baseline="0" noProof="0">
                      <a:ln>
                        <a:noFill/>
                      </a:ln>
                      <a:solidFill>
                        <a:srgbClr val="E40046"/>
                      </a:solidFill>
                      <a:effectLst/>
                      <a:uLnTx/>
                      <a:uFillTx/>
                      <a:latin typeface="Lato" panose="020F0502020204030203" pitchFamily="34" charset="77"/>
                      <a:ea typeface="+mn-ea"/>
                      <a:cs typeface="+mn-cs"/>
                    </a:rPr>
                    <a:t>!</a:t>
                  </a:r>
                </a:p>
              </p:txBody>
            </p:sp>
            <p:sp>
              <p:nvSpPr>
                <p:cNvPr id="174" name="Triangle 173">
                  <a:extLst>
                    <a:ext uri="{FF2B5EF4-FFF2-40B4-BE49-F238E27FC236}">
                      <a16:creationId xmlns:a16="http://schemas.microsoft.com/office/drawing/2014/main" id="{9B4C0A2D-E054-E7BD-8319-3DB23836954D}"/>
                    </a:ext>
                  </a:extLst>
                </p:cNvPr>
                <p:cNvSpPr/>
                <p:nvPr/>
              </p:nvSpPr>
              <p:spPr>
                <a:xfrm>
                  <a:off x="5971277" y="4080437"/>
                  <a:ext cx="424005" cy="387542"/>
                </a:xfrm>
                <a:prstGeom prst="triangl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9C35"/>
                    </a:solidFill>
                    <a:effectLst/>
                    <a:uLnTx/>
                    <a:uFillTx/>
                    <a:latin typeface="Arial" panose="020B0604020202020204"/>
                    <a:ea typeface="+mn-ea"/>
                    <a:cs typeface="+mn-cs"/>
                  </a:endParaRPr>
                </a:p>
              </p:txBody>
            </p:sp>
            <p:sp>
              <p:nvSpPr>
                <p:cNvPr id="175" name="TextBox 174">
                  <a:extLst>
                    <a:ext uri="{FF2B5EF4-FFF2-40B4-BE49-F238E27FC236}">
                      <a16:creationId xmlns:a16="http://schemas.microsoft.com/office/drawing/2014/main" id="{55ACBF11-DC0C-D840-D1D5-D0B56CF543A9}"/>
                    </a:ext>
                  </a:extLst>
                </p:cNvPr>
                <p:cNvSpPr txBox="1"/>
                <p:nvPr/>
              </p:nvSpPr>
              <p:spPr>
                <a:xfrm>
                  <a:off x="6046353" y="4120073"/>
                  <a:ext cx="284815" cy="369332"/>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800" b="1" i="0" u="none" strike="noStrike" kern="1200" cap="none" spc="0" normalizeH="0" baseline="0" noProof="0">
                      <a:ln>
                        <a:noFill/>
                      </a:ln>
                      <a:solidFill>
                        <a:srgbClr val="F1B434"/>
                      </a:solidFill>
                      <a:effectLst/>
                      <a:uLnTx/>
                      <a:uFillTx/>
                      <a:latin typeface="Lato" panose="020F0502020204030203" pitchFamily="34" charset="77"/>
                      <a:ea typeface="+mn-ea"/>
                      <a:cs typeface="+mn-cs"/>
                    </a:rPr>
                    <a:t>!</a:t>
                  </a:r>
                </a:p>
              </p:txBody>
            </p:sp>
          </p:grpSp>
          <p:sp>
            <p:nvSpPr>
              <p:cNvPr id="181" name="TextBox 180">
                <a:extLst>
                  <a:ext uri="{FF2B5EF4-FFF2-40B4-BE49-F238E27FC236}">
                    <a16:creationId xmlns:a16="http://schemas.microsoft.com/office/drawing/2014/main" id="{225DAEC6-052B-3589-47C3-F55517D32794}"/>
                  </a:ext>
                </a:extLst>
              </p:cNvPr>
              <p:cNvSpPr txBox="1"/>
              <p:nvPr/>
            </p:nvSpPr>
            <p:spPr>
              <a:xfrm>
                <a:off x="5653887" y="4707585"/>
                <a:ext cx="1072224"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t>UNKNOWN</a:t>
                </a:r>
                <a:b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br>
                <a: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t>BAD</a:t>
                </a:r>
              </a:p>
            </p:txBody>
          </p:sp>
        </p:grpSp>
      </p:grpSp>
      <p:sp>
        <p:nvSpPr>
          <p:cNvPr id="76" name="TextBox 75">
            <a:extLst>
              <a:ext uri="{FF2B5EF4-FFF2-40B4-BE49-F238E27FC236}">
                <a16:creationId xmlns:a16="http://schemas.microsoft.com/office/drawing/2014/main" id="{1A860B50-ED99-B4DB-8B9A-745557FE1D58}"/>
              </a:ext>
            </a:extLst>
          </p:cNvPr>
          <p:cNvSpPr txBox="1"/>
          <p:nvPr/>
        </p:nvSpPr>
        <p:spPr>
          <a:xfrm>
            <a:off x="4425450" y="1902381"/>
            <a:ext cx="1176447" cy="43088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100" b="1" i="0" u="none" strike="noStrike" kern="1200" cap="none" spc="0" normalizeH="0" baseline="0" noProof="0" dirty="0">
                <a:ln>
                  <a:noFill/>
                </a:ln>
                <a:effectLst/>
                <a:uLnTx/>
                <a:uFillTx/>
                <a:latin typeface="Lato Black" panose="020F0502020204030203" pitchFamily="34" charset="0"/>
                <a:ea typeface="Lato Black" panose="020F0502020204030203" pitchFamily="34" charset="0"/>
                <a:cs typeface="Lato Black" panose="020F0502020204030203" pitchFamily="34" charset="0"/>
              </a:rPr>
              <a:t>Multi Method Detections</a:t>
            </a:r>
          </a:p>
        </p:txBody>
      </p:sp>
      <p:cxnSp>
        <p:nvCxnSpPr>
          <p:cNvPr id="149" name="Straight Connector 148">
            <a:extLst>
              <a:ext uri="{FF2B5EF4-FFF2-40B4-BE49-F238E27FC236}">
                <a16:creationId xmlns:a16="http://schemas.microsoft.com/office/drawing/2014/main" id="{5EF1DF70-8465-ADC7-FD34-3F12DE6E420B}"/>
              </a:ext>
            </a:extLst>
          </p:cNvPr>
          <p:cNvCxnSpPr>
            <a:cxnSpLocks/>
          </p:cNvCxnSpPr>
          <p:nvPr/>
        </p:nvCxnSpPr>
        <p:spPr>
          <a:xfrm flipV="1">
            <a:off x="922531" y="2784653"/>
            <a:ext cx="2054621" cy="977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512F6DB4-35F8-C835-6603-B73F9103768F}"/>
              </a:ext>
            </a:extLst>
          </p:cNvPr>
          <p:cNvSpPr txBox="1"/>
          <p:nvPr/>
        </p:nvSpPr>
        <p:spPr>
          <a:xfrm>
            <a:off x="901077" y="1189978"/>
            <a:ext cx="2097530" cy="43088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100" b="1" i="0" u="none" strike="noStrike" kern="1200" cap="none" spc="0" normalizeH="0" baseline="0" noProof="0" dirty="0">
                <a:ln>
                  <a:noFill/>
                </a:ln>
                <a:effectLst/>
                <a:uLnTx/>
                <a:uFillTx/>
                <a:latin typeface="Lato Black" panose="020F0502020204030203" pitchFamily="34" charset="0"/>
                <a:ea typeface="Lato Black" panose="020F0502020204030203" pitchFamily="34" charset="0"/>
                <a:cs typeface="Lato Black" panose="020F0502020204030203" pitchFamily="34" charset="0"/>
              </a:rPr>
              <a:t>Entire Enterprise Attack Surface Collection</a:t>
            </a:r>
          </a:p>
        </p:txBody>
      </p:sp>
      <p:sp>
        <p:nvSpPr>
          <p:cNvPr id="71" name="Rounded Rectangle 70">
            <a:extLst>
              <a:ext uri="{FF2B5EF4-FFF2-40B4-BE49-F238E27FC236}">
                <a16:creationId xmlns:a16="http://schemas.microsoft.com/office/drawing/2014/main" id="{7E0E3EA6-5E14-AEAF-85B6-F5F208996F36}"/>
              </a:ext>
            </a:extLst>
          </p:cNvPr>
          <p:cNvSpPr/>
          <p:nvPr/>
        </p:nvSpPr>
        <p:spPr>
          <a:xfrm>
            <a:off x="932295" y="1706491"/>
            <a:ext cx="2043664" cy="4529462"/>
          </a:xfrm>
          <a:prstGeom prst="roundRect">
            <a:avLst>
              <a:gd name="adj" fmla="val 13304"/>
            </a:avLst>
          </a:prstGeom>
          <a:noFill/>
          <a:ln w="28575">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7" name="Straight Connector 6">
            <a:extLst>
              <a:ext uri="{FF2B5EF4-FFF2-40B4-BE49-F238E27FC236}">
                <a16:creationId xmlns:a16="http://schemas.microsoft.com/office/drawing/2014/main" id="{DED3AB0B-DCAC-29CE-DF98-4259FAF9F9E8}"/>
              </a:ext>
            </a:extLst>
          </p:cNvPr>
          <p:cNvCxnSpPr>
            <a:cxnSpLocks/>
          </p:cNvCxnSpPr>
          <p:nvPr/>
        </p:nvCxnSpPr>
        <p:spPr>
          <a:xfrm>
            <a:off x="932295" y="3474839"/>
            <a:ext cx="2021589" cy="22118"/>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014CA5E-BDDA-8F27-BBF9-266DF8D13B1A}"/>
              </a:ext>
            </a:extLst>
          </p:cNvPr>
          <p:cNvCxnSpPr>
            <a:cxnSpLocks/>
          </p:cNvCxnSpPr>
          <p:nvPr/>
        </p:nvCxnSpPr>
        <p:spPr>
          <a:xfrm>
            <a:off x="974807" y="4215073"/>
            <a:ext cx="1979077"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E312EC7A-C8AA-1049-B54C-7CC6595924EC}"/>
              </a:ext>
            </a:extLst>
          </p:cNvPr>
          <p:cNvCxnSpPr>
            <a:cxnSpLocks/>
          </p:cNvCxnSpPr>
          <p:nvPr/>
        </p:nvCxnSpPr>
        <p:spPr>
          <a:xfrm>
            <a:off x="974807" y="4846142"/>
            <a:ext cx="1979077"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69ECBCC-2D80-5AD4-5A25-E97A798390D6}"/>
              </a:ext>
            </a:extLst>
          </p:cNvPr>
          <p:cNvCxnSpPr>
            <a:cxnSpLocks/>
          </p:cNvCxnSpPr>
          <p:nvPr/>
        </p:nvCxnSpPr>
        <p:spPr>
          <a:xfrm>
            <a:off x="974807" y="5506100"/>
            <a:ext cx="1979077"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34D2E301-F537-F864-1FC4-C5D2108DEC88}"/>
              </a:ext>
            </a:extLst>
          </p:cNvPr>
          <p:cNvSpPr txBox="1"/>
          <p:nvPr/>
        </p:nvSpPr>
        <p:spPr>
          <a:xfrm>
            <a:off x="1046026" y="3045343"/>
            <a:ext cx="1105860"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
                <a:srgbClr val="009CDE"/>
              </a:buClr>
              <a:buSzTx/>
              <a:buFontTx/>
              <a:buNone/>
              <a:tabLst/>
              <a:defRPr/>
            </a:pPr>
            <a:r>
              <a:rPr kumimoji="0" lang="en-US" sz="1400" b="1" i="0" u="none" strike="noStrike" kern="1200" cap="none" spc="0" normalizeH="0" baseline="0" noProof="0">
                <a:ln>
                  <a:noFill/>
                </a:ln>
                <a:solidFill>
                  <a:srgbClr val="3F9C35"/>
                </a:solidFill>
                <a:effectLst/>
                <a:uLnTx/>
                <a:uFillTx/>
                <a:latin typeface="Lato" panose="020F0502020204030203" pitchFamily="34" charset="0"/>
                <a:ea typeface="+mn-ea"/>
                <a:cs typeface="Lato" panose="020F0502020204030203" pitchFamily="34" charset="0"/>
              </a:rPr>
              <a:t>NETWORK</a:t>
            </a:r>
          </a:p>
        </p:txBody>
      </p:sp>
      <p:sp>
        <p:nvSpPr>
          <p:cNvPr id="87" name="TextBox 86">
            <a:extLst>
              <a:ext uri="{FF2B5EF4-FFF2-40B4-BE49-F238E27FC236}">
                <a16:creationId xmlns:a16="http://schemas.microsoft.com/office/drawing/2014/main" id="{B1CAD529-13A7-37FE-44A2-1F17E1510ED5}"/>
              </a:ext>
            </a:extLst>
          </p:cNvPr>
          <p:cNvSpPr txBox="1"/>
          <p:nvPr/>
        </p:nvSpPr>
        <p:spPr>
          <a:xfrm>
            <a:off x="1046026" y="3704188"/>
            <a:ext cx="1104915"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
                <a:srgbClr val="009CDE"/>
              </a:buClr>
              <a:buSzTx/>
              <a:buFontTx/>
              <a:buNone/>
              <a:tabLst/>
              <a:defRPr/>
            </a:pPr>
            <a:r>
              <a:rPr kumimoji="0" lang="en-US" sz="1400" b="1" i="0" u="none" strike="noStrike" kern="1200" cap="none" spc="0" normalizeH="0" baseline="0" noProof="0">
                <a:ln>
                  <a:noFill/>
                </a:ln>
                <a:solidFill>
                  <a:srgbClr val="3F9C35"/>
                </a:solidFill>
                <a:effectLst/>
                <a:uLnTx/>
                <a:uFillTx/>
                <a:latin typeface="Lato" panose="020F0502020204030203" pitchFamily="34" charset="0"/>
                <a:ea typeface="+mn-ea"/>
                <a:cs typeface="Lato" panose="020F0502020204030203" pitchFamily="34" charset="0"/>
              </a:rPr>
              <a:t>ENDPOINT</a:t>
            </a:r>
          </a:p>
        </p:txBody>
      </p:sp>
      <p:sp>
        <p:nvSpPr>
          <p:cNvPr id="88" name="TextBox 87">
            <a:extLst>
              <a:ext uri="{FF2B5EF4-FFF2-40B4-BE49-F238E27FC236}">
                <a16:creationId xmlns:a16="http://schemas.microsoft.com/office/drawing/2014/main" id="{DAF2CDF1-D7AA-A8A4-036F-0E6EE8068742}"/>
              </a:ext>
            </a:extLst>
          </p:cNvPr>
          <p:cNvSpPr txBox="1"/>
          <p:nvPr/>
        </p:nvSpPr>
        <p:spPr>
          <a:xfrm>
            <a:off x="1046026" y="4388560"/>
            <a:ext cx="1080749"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
                <a:srgbClr val="009CDE"/>
              </a:buClr>
              <a:buSzTx/>
              <a:buFontTx/>
              <a:buNone/>
              <a:tabLst/>
              <a:defRPr/>
            </a:pPr>
            <a:r>
              <a:rPr kumimoji="0" lang="en-US" sz="1400" b="1" i="0" u="none" strike="noStrike" kern="1200" cap="none" spc="0" normalizeH="0" baseline="0" noProof="0">
                <a:ln>
                  <a:noFill/>
                </a:ln>
                <a:solidFill>
                  <a:srgbClr val="3F9C35"/>
                </a:solidFill>
                <a:effectLst/>
                <a:uLnTx/>
                <a:uFillTx/>
                <a:latin typeface="Lato" panose="020F0502020204030203" pitchFamily="34" charset="0"/>
                <a:ea typeface="+mn-ea"/>
                <a:cs typeface="Lato" panose="020F0502020204030203" pitchFamily="34" charset="0"/>
              </a:rPr>
              <a:t>CLOUD</a:t>
            </a:r>
          </a:p>
        </p:txBody>
      </p:sp>
      <p:sp>
        <p:nvSpPr>
          <p:cNvPr id="89" name="TextBox 88">
            <a:extLst>
              <a:ext uri="{FF2B5EF4-FFF2-40B4-BE49-F238E27FC236}">
                <a16:creationId xmlns:a16="http://schemas.microsoft.com/office/drawing/2014/main" id="{4B076437-FA1E-1F4F-96C9-F8C72029A4C2}"/>
              </a:ext>
            </a:extLst>
          </p:cNvPr>
          <p:cNvSpPr txBox="1"/>
          <p:nvPr/>
        </p:nvSpPr>
        <p:spPr>
          <a:xfrm>
            <a:off x="1046026" y="5062752"/>
            <a:ext cx="1105860"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
                <a:srgbClr val="009CDE"/>
              </a:buClr>
              <a:buSzTx/>
              <a:buFontTx/>
              <a:buNone/>
              <a:tabLst/>
              <a:defRPr/>
            </a:pPr>
            <a:r>
              <a:rPr kumimoji="0" lang="en-US" sz="1400" b="1" i="0" u="none" strike="noStrike" kern="1200" cap="none" spc="0" normalizeH="0" baseline="0" noProof="0">
                <a:ln>
                  <a:noFill/>
                </a:ln>
                <a:solidFill>
                  <a:srgbClr val="3F9C35"/>
                </a:solidFill>
                <a:effectLst/>
                <a:uLnTx/>
                <a:uFillTx/>
                <a:latin typeface="Lato" panose="020F0502020204030203" pitchFamily="34" charset="0"/>
                <a:ea typeface="+mn-ea"/>
                <a:cs typeface="Lato" panose="020F0502020204030203" pitchFamily="34" charset="0"/>
              </a:rPr>
              <a:t>IDENTITY</a:t>
            </a:r>
          </a:p>
        </p:txBody>
      </p:sp>
      <p:sp>
        <p:nvSpPr>
          <p:cNvPr id="91" name="TextBox 90">
            <a:extLst>
              <a:ext uri="{FF2B5EF4-FFF2-40B4-BE49-F238E27FC236}">
                <a16:creationId xmlns:a16="http://schemas.microsoft.com/office/drawing/2014/main" id="{89104E2D-6A04-D52C-5C95-B0B4BBEB536E}"/>
              </a:ext>
            </a:extLst>
          </p:cNvPr>
          <p:cNvSpPr txBox="1"/>
          <p:nvPr/>
        </p:nvSpPr>
        <p:spPr>
          <a:xfrm>
            <a:off x="1046026" y="5666735"/>
            <a:ext cx="1105860"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
                <a:srgbClr val="009CDE"/>
              </a:buClr>
              <a:buSzTx/>
              <a:buFontTx/>
              <a:buNone/>
              <a:tabLst/>
              <a:defRPr/>
            </a:pPr>
            <a:r>
              <a:rPr kumimoji="0" lang="en-US" sz="1400" b="1" i="0" u="none" strike="noStrike" kern="1200" cap="none" spc="0" normalizeH="0" baseline="0" noProof="0">
                <a:ln>
                  <a:noFill/>
                </a:ln>
                <a:solidFill>
                  <a:srgbClr val="3F9C35"/>
                </a:solidFill>
                <a:effectLst/>
                <a:uLnTx/>
                <a:uFillTx/>
                <a:latin typeface="Lato" panose="020F0502020204030203" pitchFamily="34" charset="0"/>
                <a:ea typeface="+mn-ea"/>
                <a:cs typeface="Lato" panose="020F0502020204030203" pitchFamily="34" charset="0"/>
              </a:rPr>
              <a:t>APPS</a:t>
            </a:r>
          </a:p>
        </p:txBody>
      </p:sp>
      <p:grpSp>
        <p:nvGrpSpPr>
          <p:cNvPr id="93" name="Group 92">
            <a:extLst>
              <a:ext uri="{FF2B5EF4-FFF2-40B4-BE49-F238E27FC236}">
                <a16:creationId xmlns:a16="http://schemas.microsoft.com/office/drawing/2014/main" id="{F243B7A8-DF9D-58C7-26BE-8152F685077A}"/>
              </a:ext>
            </a:extLst>
          </p:cNvPr>
          <p:cNvGrpSpPr/>
          <p:nvPr/>
        </p:nvGrpSpPr>
        <p:grpSpPr>
          <a:xfrm>
            <a:off x="2381679" y="4321002"/>
            <a:ext cx="137827" cy="421779"/>
            <a:chOff x="5148826" y="5322316"/>
            <a:chExt cx="194201" cy="594297"/>
          </a:xfrm>
          <a:solidFill>
            <a:schemeClr val="bg1"/>
          </a:solidFill>
        </p:grpSpPr>
        <p:sp>
          <p:nvSpPr>
            <p:cNvPr id="95" name="Rounded Rectangle 94">
              <a:extLst>
                <a:ext uri="{FF2B5EF4-FFF2-40B4-BE49-F238E27FC236}">
                  <a16:creationId xmlns:a16="http://schemas.microsoft.com/office/drawing/2014/main" id="{D059AA91-01E8-F5D9-F11D-46191BD09FF1}"/>
                </a:ext>
              </a:extLst>
            </p:cNvPr>
            <p:cNvSpPr/>
            <p:nvPr/>
          </p:nvSpPr>
          <p:spPr>
            <a:xfrm>
              <a:off x="5148826" y="5322316"/>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6" name="Rounded Rectangle 95">
              <a:extLst>
                <a:ext uri="{FF2B5EF4-FFF2-40B4-BE49-F238E27FC236}">
                  <a16:creationId xmlns:a16="http://schemas.microsoft.com/office/drawing/2014/main" id="{82D56FA2-7194-9948-D980-D3F72CA00ABC}"/>
                </a:ext>
              </a:extLst>
            </p:cNvPr>
            <p:cNvSpPr/>
            <p:nvPr/>
          </p:nvSpPr>
          <p:spPr>
            <a:xfrm>
              <a:off x="5148826" y="5722412"/>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97" name="Straight Connector 96">
              <a:extLst>
                <a:ext uri="{FF2B5EF4-FFF2-40B4-BE49-F238E27FC236}">
                  <a16:creationId xmlns:a16="http://schemas.microsoft.com/office/drawing/2014/main" id="{F07C982E-BD44-EADF-076D-53004601DB37}"/>
                </a:ext>
              </a:extLst>
            </p:cNvPr>
            <p:cNvCxnSpPr>
              <a:stCxn id="95" idx="2"/>
              <a:endCxn id="96" idx="0"/>
            </p:cNvCxnSpPr>
            <p:nvPr/>
          </p:nvCxnSpPr>
          <p:spPr>
            <a:xfrm>
              <a:off x="5245926" y="5516517"/>
              <a:ext cx="0" cy="205895"/>
            </a:xfrm>
            <a:prstGeom prst="line">
              <a:avLst/>
            </a:prstGeom>
            <a:grpFill/>
            <a:ln w="19050"/>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A7C8D60E-4801-D0E8-A570-43B47C3B5888}"/>
              </a:ext>
            </a:extLst>
          </p:cNvPr>
          <p:cNvGrpSpPr/>
          <p:nvPr/>
        </p:nvGrpSpPr>
        <p:grpSpPr>
          <a:xfrm>
            <a:off x="2256821" y="3653465"/>
            <a:ext cx="387542" cy="421779"/>
            <a:chOff x="3835415" y="5322316"/>
            <a:chExt cx="546056" cy="594297"/>
          </a:xfrm>
          <a:solidFill>
            <a:schemeClr val="bg1"/>
          </a:solidFill>
        </p:grpSpPr>
        <p:sp>
          <p:nvSpPr>
            <p:cNvPr id="99" name="Rounded Rectangle 98">
              <a:extLst>
                <a:ext uri="{FF2B5EF4-FFF2-40B4-BE49-F238E27FC236}">
                  <a16:creationId xmlns:a16="http://schemas.microsoft.com/office/drawing/2014/main" id="{A012E688-0745-088A-8B15-6A63210E37E7}"/>
                </a:ext>
              </a:extLst>
            </p:cNvPr>
            <p:cNvSpPr/>
            <p:nvPr/>
          </p:nvSpPr>
          <p:spPr>
            <a:xfrm>
              <a:off x="3835415" y="5322316"/>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0" name="Rounded Rectangle 99">
              <a:extLst>
                <a:ext uri="{FF2B5EF4-FFF2-40B4-BE49-F238E27FC236}">
                  <a16:creationId xmlns:a16="http://schemas.microsoft.com/office/drawing/2014/main" id="{861C16DB-7E1B-3EA7-5CCD-B9A92E4BF4D4}"/>
                </a:ext>
              </a:extLst>
            </p:cNvPr>
            <p:cNvSpPr/>
            <p:nvPr/>
          </p:nvSpPr>
          <p:spPr>
            <a:xfrm>
              <a:off x="3835415" y="5722412"/>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1" name="Rounded Rectangle 100">
              <a:extLst>
                <a:ext uri="{FF2B5EF4-FFF2-40B4-BE49-F238E27FC236}">
                  <a16:creationId xmlns:a16="http://schemas.microsoft.com/office/drawing/2014/main" id="{D9ABC039-73BC-6EE3-B799-72B8113F379D}"/>
                </a:ext>
              </a:extLst>
            </p:cNvPr>
            <p:cNvSpPr/>
            <p:nvPr/>
          </p:nvSpPr>
          <p:spPr>
            <a:xfrm>
              <a:off x="4187270" y="5722412"/>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02" name="Straight Connector 101">
              <a:extLst>
                <a:ext uri="{FF2B5EF4-FFF2-40B4-BE49-F238E27FC236}">
                  <a16:creationId xmlns:a16="http://schemas.microsoft.com/office/drawing/2014/main" id="{323CEC00-7E3F-8C16-F881-0A5786FAF398}"/>
                </a:ext>
              </a:extLst>
            </p:cNvPr>
            <p:cNvCxnSpPr>
              <a:stCxn id="99" idx="2"/>
              <a:endCxn id="100" idx="0"/>
            </p:cNvCxnSpPr>
            <p:nvPr/>
          </p:nvCxnSpPr>
          <p:spPr>
            <a:xfrm>
              <a:off x="3932515" y="5516517"/>
              <a:ext cx="0" cy="205895"/>
            </a:xfrm>
            <a:prstGeom prst="line">
              <a:avLst/>
            </a:prstGeom>
            <a:grpFill/>
            <a:ln w="19050"/>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0D9BCCE-A688-F4F1-8DC4-816B12AA263B}"/>
                </a:ext>
              </a:extLst>
            </p:cNvPr>
            <p:cNvCxnSpPr>
              <a:cxnSpLocks/>
              <a:stCxn id="101" idx="1"/>
              <a:endCxn id="100" idx="3"/>
            </p:cNvCxnSpPr>
            <p:nvPr/>
          </p:nvCxnSpPr>
          <p:spPr>
            <a:xfrm flipH="1">
              <a:off x="4029616" y="5819512"/>
              <a:ext cx="157654" cy="0"/>
            </a:xfrm>
            <a:prstGeom prst="line">
              <a:avLst/>
            </a:prstGeom>
            <a:grpFill/>
            <a:ln w="19050"/>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77055589-A34B-6B74-5DA8-44E009D40F55}"/>
              </a:ext>
            </a:extLst>
          </p:cNvPr>
          <p:cNvGrpSpPr/>
          <p:nvPr/>
        </p:nvGrpSpPr>
        <p:grpSpPr>
          <a:xfrm>
            <a:off x="2256167" y="5621020"/>
            <a:ext cx="388850" cy="421779"/>
            <a:chOff x="6595241" y="5322316"/>
            <a:chExt cx="547899" cy="594297"/>
          </a:xfrm>
          <a:solidFill>
            <a:schemeClr val="bg1"/>
          </a:solidFill>
        </p:grpSpPr>
        <p:sp>
          <p:nvSpPr>
            <p:cNvPr id="105" name="Rounded Rectangle 104">
              <a:extLst>
                <a:ext uri="{FF2B5EF4-FFF2-40B4-BE49-F238E27FC236}">
                  <a16:creationId xmlns:a16="http://schemas.microsoft.com/office/drawing/2014/main" id="{12C60415-ABF1-EE79-1E66-233CD273AB8E}"/>
                </a:ext>
              </a:extLst>
            </p:cNvPr>
            <p:cNvSpPr/>
            <p:nvPr/>
          </p:nvSpPr>
          <p:spPr>
            <a:xfrm>
              <a:off x="6595241" y="5322316"/>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6" name="Rounded Rectangle 105">
              <a:extLst>
                <a:ext uri="{FF2B5EF4-FFF2-40B4-BE49-F238E27FC236}">
                  <a16:creationId xmlns:a16="http://schemas.microsoft.com/office/drawing/2014/main" id="{E45BF324-4E04-9A30-FE84-1904CD868638}"/>
                </a:ext>
              </a:extLst>
            </p:cNvPr>
            <p:cNvSpPr/>
            <p:nvPr/>
          </p:nvSpPr>
          <p:spPr>
            <a:xfrm>
              <a:off x="6948939" y="5326092"/>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7" name="Rounded Rectangle 106">
              <a:extLst>
                <a:ext uri="{FF2B5EF4-FFF2-40B4-BE49-F238E27FC236}">
                  <a16:creationId xmlns:a16="http://schemas.microsoft.com/office/drawing/2014/main" id="{F17FDF8B-3A32-47B3-7272-68872984881A}"/>
                </a:ext>
              </a:extLst>
            </p:cNvPr>
            <p:cNvSpPr/>
            <p:nvPr/>
          </p:nvSpPr>
          <p:spPr>
            <a:xfrm>
              <a:off x="6947096" y="5722412"/>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08" name="Straight Connector 107">
              <a:extLst>
                <a:ext uri="{FF2B5EF4-FFF2-40B4-BE49-F238E27FC236}">
                  <a16:creationId xmlns:a16="http://schemas.microsoft.com/office/drawing/2014/main" id="{FF1F5018-FF85-020A-E5C7-E2F5780B3B40}"/>
                </a:ext>
              </a:extLst>
            </p:cNvPr>
            <p:cNvCxnSpPr>
              <a:cxnSpLocks/>
              <a:stCxn id="107" idx="0"/>
              <a:endCxn id="106" idx="2"/>
            </p:cNvCxnSpPr>
            <p:nvPr/>
          </p:nvCxnSpPr>
          <p:spPr>
            <a:xfrm flipV="1">
              <a:off x="7044196" y="5520293"/>
              <a:ext cx="1843" cy="202119"/>
            </a:xfrm>
            <a:prstGeom prst="line">
              <a:avLst/>
            </a:prstGeom>
            <a:grpFill/>
            <a:ln w="19050"/>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875710E-E2ED-AA1C-9A34-EFF0CB4CB458}"/>
                </a:ext>
              </a:extLst>
            </p:cNvPr>
            <p:cNvCxnSpPr>
              <a:cxnSpLocks/>
              <a:stCxn id="106" idx="1"/>
              <a:endCxn id="105" idx="3"/>
            </p:cNvCxnSpPr>
            <p:nvPr/>
          </p:nvCxnSpPr>
          <p:spPr>
            <a:xfrm flipH="1" flipV="1">
              <a:off x="6789442" y="5419417"/>
              <a:ext cx="159497" cy="3776"/>
            </a:xfrm>
            <a:prstGeom prst="line">
              <a:avLst/>
            </a:prstGeom>
            <a:grpFill/>
            <a:ln w="19050"/>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8CD0F0FE-9FCC-8AD3-CE85-EC81133D2E77}"/>
              </a:ext>
            </a:extLst>
          </p:cNvPr>
          <p:cNvGrpSpPr/>
          <p:nvPr/>
        </p:nvGrpSpPr>
        <p:grpSpPr>
          <a:xfrm>
            <a:off x="2256821" y="4933894"/>
            <a:ext cx="387542" cy="421779"/>
            <a:chOff x="7975153" y="5322316"/>
            <a:chExt cx="546056" cy="594297"/>
          </a:xfrm>
          <a:solidFill>
            <a:schemeClr val="bg1"/>
          </a:solidFill>
        </p:grpSpPr>
        <p:sp>
          <p:nvSpPr>
            <p:cNvPr id="114" name="Rounded Rectangle 113">
              <a:extLst>
                <a:ext uri="{FF2B5EF4-FFF2-40B4-BE49-F238E27FC236}">
                  <a16:creationId xmlns:a16="http://schemas.microsoft.com/office/drawing/2014/main" id="{C0572C2A-A234-DA1C-A35E-AB3EF864CF67}"/>
                </a:ext>
              </a:extLst>
            </p:cNvPr>
            <p:cNvSpPr/>
            <p:nvPr/>
          </p:nvSpPr>
          <p:spPr>
            <a:xfrm>
              <a:off x="7975153" y="5322316"/>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6" name="Rounded Rectangle 115">
              <a:extLst>
                <a:ext uri="{FF2B5EF4-FFF2-40B4-BE49-F238E27FC236}">
                  <a16:creationId xmlns:a16="http://schemas.microsoft.com/office/drawing/2014/main" id="{5C39CC86-E74C-41BE-B63B-F28F8C04B59B}"/>
                </a:ext>
              </a:extLst>
            </p:cNvPr>
            <p:cNvSpPr/>
            <p:nvPr/>
          </p:nvSpPr>
          <p:spPr>
            <a:xfrm>
              <a:off x="8327008" y="5722412"/>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18" name="Straight Connector 117">
              <a:extLst>
                <a:ext uri="{FF2B5EF4-FFF2-40B4-BE49-F238E27FC236}">
                  <a16:creationId xmlns:a16="http://schemas.microsoft.com/office/drawing/2014/main" id="{61886789-2EF8-A339-7B0E-B68892775010}"/>
                </a:ext>
              </a:extLst>
            </p:cNvPr>
            <p:cNvCxnSpPr>
              <a:cxnSpLocks/>
              <a:stCxn id="114" idx="2"/>
            </p:cNvCxnSpPr>
            <p:nvPr/>
          </p:nvCxnSpPr>
          <p:spPr>
            <a:xfrm flipH="1">
              <a:off x="8072253" y="5516517"/>
              <a:ext cx="1" cy="302995"/>
            </a:xfrm>
            <a:prstGeom prst="line">
              <a:avLst/>
            </a:prstGeom>
            <a:grpFill/>
            <a:ln w="19050"/>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7301654-4DB2-25D0-4425-52767E9CAB38}"/>
                </a:ext>
              </a:extLst>
            </p:cNvPr>
            <p:cNvCxnSpPr>
              <a:cxnSpLocks/>
            </p:cNvCxnSpPr>
            <p:nvPr/>
          </p:nvCxnSpPr>
          <p:spPr>
            <a:xfrm flipH="1" flipV="1">
              <a:off x="8063940" y="5819512"/>
              <a:ext cx="254755" cy="1"/>
            </a:xfrm>
            <a:prstGeom prst="line">
              <a:avLst/>
            </a:prstGeom>
            <a:grpFill/>
            <a:ln w="19050"/>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012EFCA2-89A1-A78C-1E68-DA7ECDF6D158}"/>
              </a:ext>
            </a:extLst>
          </p:cNvPr>
          <p:cNvGrpSpPr/>
          <p:nvPr/>
        </p:nvGrpSpPr>
        <p:grpSpPr>
          <a:xfrm rot="10800000">
            <a:off x="2256822" y="2925695"/>
            <a:ext cx="387542" cy="421779"/>
            <a:chOff x="2513692" y="5322316"/>
            <a:chExt cx="546056" cy="594297"/>
          </a:xfrm>
          <a:solidFill>
            <a:schemeClr val="bg1"/>
          </a:solidFill>
        </p:grpSpPr>
        <p:sp>
          <p:nvSpPr>
            <p:cNvPr id="124" name="Rounded Rectangle 123">
              <a:extLst>
                <a:ext uri="{FF2B5EF4-FFF2-40B4-BE49-F238E27FC236}">
                  <a16:creationId xmlns:a16="http://schemas.microsoft.com/office/drawing/2014/main" id="{5B7FA6E4-CE31-3734-D72C-68B5A876C9DE}"/>
                </a:ext>
              </a:extLst>
            </p:cNvPr>
            <p:cNvSpPr/>
            <p:nvPr/>
          </p:nvSpPr>
          <p:spPr>
            <a:xfrm>
              <a:off x="2513692" y="5322316"/>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7" name="Rounded Rectangle 126">
              <a:extLst>
                <a:ext uri="{FF2B5EF4-FFF2-40B4-BE49-F238E27FC236}">
                  <a16:creationId xmlns:a16="http://schemas.microsoft.com/office/drawing/2014/main" id="{41235305-C8DB-9033-3E77-F429A9C83938}"/>
                </a:ext>
              </a:extLst>
            </p:cNvPr>
            <p:cNvSpPr/>
            <p:nvPr/>
          </p:nvSpPr>
          <p:spPr>
            <a:xfrm>
              <a:off x="2865547" y="5722412"/>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28" name="Straight Connector 127">
              <a:extLst>
                <a:ext uri="{FF2B5EF4-FFF2-40B4-BE49-F238E27FC236}">
                  <a16:creationId xmlns:a16="http://schemas.microsoft.com/office/drawing/2014/main" id="{1C45AEDA-5A9B-0B11-8E63-7D638D6127D7}"/>
                </a:ext>
              </a:extLst>
            </p:cNvPr>
            <p:cNvCxnSpPr>
              <a:cxnSpLocks/>
              <a:stCxn id="124" idx="2"/>
            </p:cNvCxnSpPr>
            <p:nvPr/>
          </p:nvCxnSpPr>
          <p:spPr>
            <a:xfrm flipH="1">
              <a:off x="2610792" y="5516517"/>
              <a:ext cx="1" cy="302995"/>
            </a:xfrm>
            <a:prstGeom prst="line">
              <a:avLst/>
            </a:prstGeom>
            <a:grpFill/>
            <a:ln w="19050"/>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61906ADE-B97A-2C0B-6BB5-DE3899D8C1B5}"/>
                </a:ext>
              </a:extLst>
            </p:cNvPr>
            <p:cNvCxnSpPr>
              <a:cxnSpLocks/>
            </p:cNvCxnSpPr>
            <p:nvPr/>
          </p:nvCxnSpPr>
          <p:spPr>
            <a:xfrm flipH="1" flipV="1">
              <a:off x="2602479" y="5819512"/>
              <a:ext cx="254755" cy="1"/>
            </a:xfrm>
            <a:prstGeom prst="line">
              <a:avLst/>
            </a:prstGeom>
            <a:grpFill/>
            <a:ln w="19050"/>
          </p:spPr>
          <p:style>
            <a:lnRef idx="1">
              <a:schemeClr val="accent1"/>
            </a:lnRef>
            <a:fillRef idx="0">
              <a:schemeClr val="accent1"/>
            </a:fillRef>
            <a:effectRef idx="0">
              <a:schemeClr val="accent1"/>
            </a:effectRef>
            <a:fontRef idx="minor">
              <a:schemeClr val="tx1"/>
            </a:fontRef>
          </p:style>
        </p:cxnSp>
      </p:grpSp>
      <p:sp>
        <p:nvSpPr>
          <p:cNvPr id="150" name="TextBox 149">
            <a:extLst>
              <a:ext uri="{FF2B5EF4-FFF2-40B4-BE49-F238E27FC236}">
                <a16:creationId xmlns:a16="http://schemas.microsoft.com/office/drawing/2014/main" id="{89B3EC72-83F0-2D76-93DE-4B5DD0793C40}"/>
              </a:ext>
            </a:extLst>
          </p:cNvPr>
          <p:cNvSpPr txBox="1"/>
          <p:nvPr/>
        </p:nvSpPr>
        <p:spPr>
          <a:xfrm>
            <a:off x="1348624" y="1633555"/>
            <a:ext cx="1105860" cy="372923"/>
          </a:xfrm>
          <a:prstGeom prst="rect">
            <a:avLst/>
          </a:prstGeom>
          <a:noFill/>
        </p:spPr>
        <p:txBody>
          <a:bodyPr wrap="square" rtlCol="0" anchor="ctr">
            <a:spAutoFit/>
          </a:bodyPr>
          <a:lstStyle/>
          <a:p>
            <a:pPr marL="0" marR="0" lvl="0" indent="0" algn="ctr" defTabSz="914400" rtl="0" eaLnBrk="1" fontAlgn="auto" latinLnBrk="0" hangingPunct="1">
              <a:lnSpc>
                <a:spcPct val="150000"/>
              </a:lnSpc>
              <a:spcBef>
                <a:spcPts val="0"/>
              </a:spcBef>
              <a:spcAft>
                <a:spcPts val="0"/>
              </a:spcAft>
              <a:buClr>
                <a:srgbClr val="009CDE"/>
              </a:buClr>
              <a:buSzTx/>
              <a:buFontTx/>
              <a:buNone/>
              <a:tabLst/>
              <a:defRPr/>
            </a:pPr>
            <a:r>
              <a:rPr kumimoji="0" lang="en-US" sz="1400" b="1" i="0" u="none" strike="noStrike" kern="1200" cap="none" spc="0" normalizeH="0" baseline="0" noProof="0">
                <a:ln>
                  <a:noFill/>
                </a:ln>
                <a:solidFill>
                  <a:srgbClr val="009CDE"/>
                </a:solidFill>
                <a:effectLst/>
                <a:uLnTx/>
                <a:uFillTx/>
                <a:latin typeface="Lato" panose="020F0502020204030203" pitchFamily="34" charset="0"/>
                <a:ea typeface="+mn-ea"/>
                <a:cs typeface="Lato" panose="020F0502020204030203" pitchFamily="34" charset="0"/>
              </a:rPr>
              <a:t>SENSORS</a:t>
            </a:r>
          </a:p>
        </p:txBody>
      </p:sp>
      <p:pic>
        <p:nvPicPr>
          <p:cNvPr id="2" name="Picture 2" descr="HYAS - Crunchbase Company Profile &amp; Funding">
            <a:extLst>
              <a:ext uri="{FF2B5EF4-FFF2-40B4-BE49-F238E27FC236}">
                <a16:creationId xmlns:a16="http://schemas.microsoft.com/office/drawing/2014/main" id="{748EA81B-F666-D18D-F262-02472F7027D5}"/>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61102" y="2430638"/>
            <a:ext cx="293871" cy="29387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enable Network Security">
            <a:extLst>
              <a:ext uri="{FF2B5EF4-FFF2-40B4-BE49-F238E27FC236}">
                <a16:creationId xmlns:a16="http://schemas.microsoft.com/office/drawing/2014/main" id="{2E479101-DC03-74F1-6EAD-3C39B2A11D9F}"/>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1030" y="2430259"/>
            <a:ext cx="784496" cy="28032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2AEFE2CE-0317-786D-21A8-2DA9369A2091}"/>
              </a:ext>
            </a:extLst>
          </p:cNvPr>
          <p:cNvPicPr>
            <a:picLocks noChangeAspect="1"/>
          </p:cNvPicPr>
          <p:nvPr/>
        </p:nvPicPr>
        <p:blipFill>
          <a:blip r:embed="rId13"/>
          <a:srcRect/>
          <a:stretch/>
        </p:blipFill>
        <p:spPr>
          <a:xfrm>
            <a:off x="1022143" y="2114436"/>
            <a:ext cx="851250" cy="165167"/>
          </a:xfrm>
          <a:prstGeom prst="rect">
            <a:avLst/>
          </a:prstGeom>
        </p:spPr>
      </p:pic>
      <p:pic>
        <p:nvPicPr>
          <p:cNvPr id="1034" name="Picture 10" descr="SentinelOne Singularity Reviews 2023: Details, Pricing, &amp; Features | G2">
            <a:extLst>
              <a:ext uri="{FF2B5EF4-FFF2-40B4-BE49-F238E27FC236}">
                <a16:creationId xmlns:a16="http://schemas.microsoft.com/office/drawing/2014/main" id="{F92F96D5-07AE-98CB-72DA-BD8661DE3D72}"/>
              </a:ext>
            </a:extLst>
          </p:cNvPr>
          <p:cNvPicPr>
            <a:picLocks noChangeAspect="1" noChangeArrowheads="1"/>
          </p:cNvPicPr>
          <p:nvPr/>
        </p:nvPicPr>
        <p:blipFill>
          <a:blip r:embed="rId14">
            <a:lum bright="70000" contrast="-70000"/>
            <a:extLst>
              <a:ext uri="{28A0092B-C50C-407E-A947-70E740481C1C}">
                <a14:useLocalDpi xmlns:a14="http://schemas.microsoft.com/office/drawing/2010/main" val="0"/>
              </a:ext>
            </a:extLst>
          </a:blip>
          <a:srcRect/>
          <a:stretch>
            <a:fillRect/>
          </a:stretch>
        </p:blipFill>
        <p:spPr bwMode="auto">
          <a:xfrm>
            <a:off x="2154845" y="1986226"/>
            <a:ext cx="703817" cy="369504"/>
          </a:xfrm>
          <a:prstGeom prst="rect">
            <a:avLst/>
          </a:prstGeom>
          <a:noFill/>
          <a:extLst>
            <a:ext uri="{909E8E84-426E-40DD-AFC4-6F175D3DCCD1}">
              <a14:hiddenFill xmlns:a14="http://schemas.microsoft.com/office/drawing/2010/main">
                <a:solidFill>
                  <a:srgbClr val="FFFFFF"/>
                </a:solidFill>
              </a14:hiddenFill>
            </a:ext>
          </a:extLst>
        </p:spPr>
      </p:pic>
      <p:grpSp>
        <p:nvGrpSpPr>
          <p:cNvPr id="41" name="Group 40">
            <a:extLst>
              <a:ext uri="{FF2B5EF4-FFF2-40B4-BE49-F238E27FC236}">
                <a16:creationId xmlns:a16="http://schemas.microsoft.com/office/drawing/2014/main" id="{2DD09FFB-B3C4-1EC7-09F7-06F2DEC85C73}"/>
              </a:ext>
            </a:extLst>
          </p:cNvPr>
          <p:cNvGrpSpPr/>
          <p:nvPr/>
        </p:nvGrpSpPr>
        <p:grpSpPr>
          <a:xfrm>
            <a:off x="10088430" y="3074840"/>
            <a:ext cx="1612762" cy="600105"/>
            <a:chOff x="10363178" y="1997312"/>
            <a:chExt cx="1612762" cy="600105"/>
          </a:xfrm>
        </p:grpSpPr>
        <p:pic>
          <p:nvPicPr>
            <p:cNvPr id="75" name="Picture 74">
              <a:extLst>
                <a:ext uri="{FF2B5EF4-FFF2-40B4-BE49-F238E27FC236}">
                  <a16:creationId xmlns:a16="http://schemas.microsoft.com/office/drawing/2014/main" id="{8B04E525-DBC1-7484-F7E0-38C50E0A7A27}"/>
                </a:ext>
              </a:extLst>
            </p:cNvPr>
            <p:cNvPicPr>
              <a:picLocks noChangeAspect="1"/>
            </p:cNvPicPr>
            <p:nvPr/>
          </p:nvPicPr>
          <p:blipFill>
            <a:blip r:embed="rId13"/>
            <a:srcRect/>
            <a:stretch/>
          </p:blipFill>
          <p:spPr>
            <a:xfrm>
              <a:off x="10363178" y="2296638"/>
              <a:ext cx="1550176" cy="300779"/>
            </a:xfrm>
            <a:prstGeom prst="rect">
              <a:avLst/>
            </a:prstGeom>
          </p:spPr>
        </p:pic>
        <p:sp>
          <p:nvSpPr>
            <p:cNvPr id="25" name="TextBox 24">
              <a:extLst>
                <a:ext uri="{FF2B5EF4-FFF2-40B4-BE49-F238E27FC236}">
                  <a16:creationId xmlns:a16="http://schemas.microsoft.com/office/drawing/2014/main" id="{0A83D52A-4753-8E59-9140-4BA13832D738}"/>
                </a:ext>
              </a:extLst>
            </p:cNvPr>
            <p:cNvSpPr txBox="1"/>
            <p:nvPr/>
          </p:nvSpPr>
          <p:spPr>
            <a:xfrm>
              <a:off x="10425764" y="1997312"/>
              <a:ext cx="1550176" cy="2616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100" b="1" i="0" u="none" strike="noStrike" kern="1200" cap="none" spc="0" normalizeH="0" baseline="0" noProof="0" dirty="0">
                  <a:ln>
                    <a:noFill/>
                  </a:ln>
                  <a:effectLst/>
                  <a:uLnTx/>
                  <a:uFillTx/>
                  <a:latin typeface="Lato Black" panose="020F0502020204030203" pitchFamily="34" charset="0"/>
                  <a:ea typeface="Lato Black" panose="020F0502020204030203" pitchFamily="34" charset="0"/>
                  <a:cs typeface="Lato Black" panose="020F0502020204030203" pitchFamily="34" charset="0"/>
                </a:rPr>
                <a:t>XDR Portal</a:t>
              </a:r>
            </a:p>
          </p:txBody>
        </p:sp>
      </p:grpSp>
      <p:grpSp>
        <p:nvGrpSpPr>
          <p:cNvPr id="45" name="Group 44">
            <a:extLst>
              <a:ext uri="{FF2B5EF4-FFF2-40B4-BE49-F238E27FC236}">
                <a16:creationId xmlns:a16="http://schemas.microsoft.com/office/drawing/2014/main" id="{8D4E0B8B-7AA9-CD96-E2A7-CA27BC27C13E}"/>
              </a:ext>
            </a:extLst>
          </p:cNvPr>
          <p:cNvGrpSpPr/>
          <p:nvPr/>
        </p:nvGrpSpPr>
        <p:grpSpPr>
          <a:xfrm>
            <a:off x="10040299" y="4531892"/>
            <a:ext cx="1771610" cy="656191"/>
            <a:chOff x="10141744" y="5179240"/>
            <a:chExt cx="1771610" cy="656191"/>
          </a:xfrm>
        </p:grpSpPr>
        <p:sp>
          <p:nvSpPr>
            <p:cNvPr id="26" name="TextBox 25">
              <a:extLst>
                <a:ext uri="{FF2B5EF4-FFF2-40B4-BE49-F238E27FC236}">
                  <a16:creationId xmlns:a16="http://schemas.microsoft.com/office/drawing/2014/main" id="{45C9B307-0D83-7113-4FF5-B633C7E37AAE}"/>
                </a:ext>
              </a:extLst>
            </p:cNvPr>
            <p:cNvSpPr txBox="1"/>
            <p:nvPr/>
          </p:nvSpPr>
          <p:spPr>
            <a:xfrm>
              <a:off x="10141744" y="5404544"/>
              <a:ext cx="1771610" cy="43088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100" b="1" i="0" u="none" strike="noStrike" kern="1200" cap="none" spc="0" normalizeH="0" baseline="0" noProof="0" dirty="0">
                  <a:ln>
                    <a:noFill/>
                  </a:ln>
                  <a:effectLst/>
                  <a:uLnTx/>
                  <a:uFillTx/>
                  <a:latin typeface="Lato Black" panose="020F0502020204030203" pitchFamily="34" charset="0"/>
                  <a:ea typeface="Lato Black" panose="020F0502020204030203" pitchFamily="34" charset="0"/>
                  <a:cs typeface="Lato Black" panose="020F0502020204030203" pitchFamily="34" charset="0"/>
                </a:rPr>
                <a:t>IT / Security Service Management</a:t>
              </a:r>
            </a:p>
          </p:txBody>
        </p:sp>
        <p:pic>
          <p:nvPicPr>
            <p:cNvPr id="1026" name="Picture 2" descr="ServiceNow Logo">
              <a:extLst>
                <a:ext uri="{FF2B5EF4-FFF2-40B4-BE49-F238E27FC236}">
                  <a16:creationId xmlns:a16="http://schemas.microsoft.com/office/drawing/2014/main" id="{163C58E5-4527-D621-4B40-C8F1B1AB8A55}"/>
                </a:ext>
              </a:extLst>
            </p:cNvPr>
            <p:cNvPicPr>
              <a:picLocks noChangeAspect="1" noChangeArrowheads="1"/>
            </p:cNvPicPr>
            <p:nvPr/>
          </p:nvPicPr>
          <p:blipFill rotWithShape="1">
            <a:blip r:embed="rId15">
              <a:duotone>
                <a:schemeClr val="accent2">
                  <a:shade val="45000"/>
                  <a:satMod val="135000"/>
                </a:schemeClr>
                <a:prstClr val="white"/>
              </a:duotone>
              <a:extLst>
                <a:ext uri="{28A0092B-C50C-407E-A947-70E740481C1C}">
                  <a14:useLocalDpi xmlns:a14="http://schemas.microsoft.com/office/drawing/2010/main" val="0"/>
                </a:ext>
              </a:extLst>
            </a:blip>
            <a:srcRect t="37578" b="36940"/>
            <a:stretch/>
          </p:blipFill>
          <p:spPr bwMode="auto">
            <a:xfrm>
              <a:off x="10345198" y="5179240"/>
              <a:ext cx="1364702" cy="219082"/>
            </a:xfrm>
            <a:prstGeom prst="rect">
              <a:avLst/>
            </a:prstGeom>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09359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5"/>
                                        </p:tgtEl>
                                        <p:attrNameLst>
                                          <p:attrName>style.visibility</p:attrName>
                                        </p:attrNameLst>
                                      </p:cBhvr>
                                      <p:to>
                                        <p:strVal val="visible"/>
                                      </p:to>
                                    </p:set>
                                    <p:animEffect transition="in" filter="wipe(left)">
                                      <p:cBhvr>
                                        <p:cTn id="7" dur="500"/>
                                        <p:tgtEl>
                                          <p:spTgt spid="125"/>
                                        </p:tgtEl>
                                      </p:cBhvr>
                                    </p:animEffect>
                                  </p:childTnLst>
                                </p:cTn>
                              </p:par>
                            </p:childTnLst>
                          </p:cTn>
                        </p:par>
                      </p:childTnLst>
                    </p:cTn>
                  </p:par>
                  <p:par>
                    <p:cTn id="8" fill="hold">
                      <p:stCondLst>
                        <p:cond delay="indefinite"/>
                      </p:stCondLst>
                      <p:childTnLst>
                        <p:par>
                          <p:cTn id="9" fill="hold">
                            <p:stCondLst>
                              <p:cond delay="0"/>
                            </p:stCondLst>
                            <p:childTnLst>
                              <p:par>
                                <p:cTn id="10" presetID="55" presetClass="entr" presetSubtype="0" fill="hold" grpId="0" nodeType="clickEffect">
                                  <p:stCondLst>
                                    <p:cond delay="0"/>
                                  </p:stCondLst>
                                  <p:childTnLst>
                                    <p:set>
                                      <p:cBhvr>
                                        <p:cTn id="11" dur="1" fill="hold">
                                          <p:stCondLst>
                                            <p:cond delay="0"/>
                                          </p:stCondLst>
                                        </p:cTn>
                                        <p:tgtEl>
                                          <p:spTgt spid="84"/>
                                        </p:tgtEl>
                                        <p:attrNameLst>
                                          <p:attrName>style.visibility</p:attrName>
                                        </p:attrNameLst>
                                      </p:cBhvr>
                                      <p:to>
                                        <p:strVal val="visible"/>
                                      </p:to>
                                    </p:set>
                                    <p:anim calcmode="lin" valueType="num">
                                      <p:cBhvr>
                                        <p:cTn id="12" dur="1000" fill="hold"/>
                                        <p:tgtEl>
                                          <p:spTgt spid="84"/>
                                        </p:tgtEl>
                                        <p:attrNameLst>
                                          <p:attrName>ppt_w</p:attrName>
                                        </p:attrNameLst>
                                      </p:cBhvr>
                                      <p:tavLst>
                                        <p:tav tm="0">
                                          <p:val>
                                            <p:strVal val="#ppt_w*0.70"/>
                                          </p:val>
                                        </p:tav>
                                        <p:tav tm="100000">
                                          <p:val>
                                            <p:strVal val="#ppt_w"/>
                                          </p:val>
                                        </p:tav>
                                      </p:tavLst>
                                    </p:anim>
                                    <p:anim calcmode="lin" valueType="num">
                                      <p:cBhvr>
                                        <p:cTn id="13" dur="1000" fill="hold"/>
                                        <p:tgtEl>
                                          <p:spTgt spid="84"/>
                                        </p:tgtEl>
                                        <p:attrNameLst>
                                          <p:attrName>ppt_h</p:attrName>
                                        </p:attrNameLst>
                                      </p:cBhvr>
                                      <p:tavLst>
                                        <p:tav tm="0">
                                          <p:val>
                                            <p:strVal val="#ppt_h"/>
                                          </p:val>
                                        </p:tav>
                                        <p:tav tm="100000">
                                          <p:val>
                                            <p:strVal val="#ppt_h"/>
                                          </p:val>
                                        </p:tav>
                                      </p:tavLst>
                                    </p:anim>
                                    <p:animEffect transition="in" filter="fade">
                                      <p:cBhvr>
                                        <p:cTn id="14" dur="10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animBg="1"/>
      <p:bldP spid="8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A983E11-67DC-40D3-BA51-EBAC36387BF8}"/>
              </a:ext>
            </a:extLst>
          </p:cNvPr>
          <p:cNvGrpSpPr/>
          <p:nvPr/>
        </p:nvGrpSpPr>
        <p:grpSpPr>
          <a:xfrm>
            <a:off x="4509633" y="2133600"/>
            <a:ext cx="3172733" cy="2935203"/>
            <a:chOff x="3809064" y="1973149"/>
            <a:chExt cx="4573872" cy="4231444"/>
          </a:xfrm>
        </p:grpSpPr>
        <p:sp>
          <p:nvSpPr>
            <p:cNvPr id="6" name="Freeform: Shape 38 - 1">
              <a:extLst>
                <a:ext uri="{FF2B5EF4-FFF2-40B4-BE49-F238E27FC236}">
                  <a16:creationId xmlns:a16="http://schemas.microsoft.com/office/drawing/2014/main" id="{5022D2E1-FEA1-4FEE-B2F6-A96E240A70D3}"/>
                </a:ext>
              </a:extLst>
            </p:cNvPr>
            <p:cNvSpPr>
              <a:spLocks noChangeAspect="1"/>
            </p:cNvSpPr>
            <p:nvPr/>
          </p:nvSpPr>
          <p:spPr>
            <a:xfrm rot="1800000">
              <a:off x="4310696" y="4186646"/>
              <a:ext cx="2292647" cy="2017947"/>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Shape 38">
              <a:extLst>
                <a:ext uri="{FF2B5EF4-FFF2-40B4-BE49-F238E27FC236}">
                  <a16:creationId xmlns:a16="http://schemas.microsoft.com/office/drawing/2014/main" id="{416E2476-7F2A-4385-BF25-4D477B6DF3F1}"/>
                </a:ext>
              </a:extLst>
            </p:cNvPr>
            <p:cNvSpPr>
              <a:spLocks noChangeAspect="1"/>
            </p:cNvSpPr>
            <p:nvPr/>
          </p:nvSpPr>
          <p:spPr>
            <a:xfrm rot="12600000">
              <a:off x="5588657" y="1973149"/>
              <a:ext cx="2292647" cy="2017947"/>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Freeform: Shape 38 - 1">
              <a:extLst>
                <a:ext uri="{FF2B5EF4-FFF2-40B4-BE49-F238E27FC236}">
                  <a16:creationId xmlns:a16="http://schemas.microsoft.com/office/drawing/2014/main" id="{8D42775D-01E8-4C37-BF0F-C5C038F08E25}"/>
                </a:ext>
              </a:extLst>
            </p:cNvPr>
            <p:cNvSpPr>
              <a:spLocks noChangeAspect="1"/>
            </p:cNvSpPr>
            <p:nvPr/>
          </p:nvSpPr>
          <p:spPr>
            <a:xfrm rot="5400000">
              <a:off x="3671714" y="3079898"/>
              <a:ext cx="2292647" cy="2017947"/>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Shape 38">
              <a:extLst>
                <a:ext uri="{FF2B5EF4-FFF2-40B4-BE49-F238E27FC236}">
                  <a16:creationId xmlns:a16="http://schemas.microsoft.com/office/drawing/2014/main" id="{4CCA4874-9C3E-4896-8770-1C6431892F2C}"/>
                </a:ext>
              </a:extLst>
            </p:cNvPr>
            <p:cNvSpPr>
              <a:spLocks noChangeAspect="1"/>
            </p:cNvSpPr>
            <p:nvPr/>
          </p:nvSpPr>
          <p:spPr>
            <a:xfrm rot="16200000">
              <a:off x="6227639" y="3079897"/>
              <a:ext cx="2292647" cy="2017947"/>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Shape 38 - 1">
              <a:extLst>
                <a:ext uri="{FF2B5EF4-FFF2-40B4-BE49-F238E27FC236}">
                  <a16:creationId xmlns:a16="http://schemas.microsoft.com/office/drawing/2014/main" id="{B606A1C6-D11F-4666-9AD2-4B94F3150184}"/>
                </a:ext>
              </a:extLst>
            </p:cNvPr>
            <p:cNvSpPr>
              <a:spLocks noChangeAspect="1"/>
            </p:cNvSpPr>
            <p:nvPr/>
          </p:nvSpPr>
          <p:spPr>
            <a:xfrm rot="9000000">
              <a:off x="4310695" y="1973150"/>
              <a:ext cx="2292647" cy="2017947"/>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Freeform: Shape 38">
              <a:extLst>
                <a:ext uri="{FF2B5EF4-FFF2-40B4-BE49-F238E27FC236}">
                  <a16:creationId xmlns:a16="http://schemas.microsoft.com/office/drawing/2014/main" id="{FC11CF52-7F77-427E-914D-C66088B738FC}"/>
                </a:ext>
              </a:extLst>
            </p:cNvPr>
            <p:cNvSpPr>
              <a:spLocks noChangeAspect="1"/>
            </p:cNvSpPr>
            <p:nvPr/>
          </p:nvSpPr>
          <p:spPr>
            <a:xfrm rot="19800000">
              <a:off x="5588658" y="4186645"/>
              <a:ext cx="2292647" cy="2017947"/>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21" name="Graphic 20" descr="{&quot;Key&quot;:&quot;POWER_USER_SHAPE_ICON&quot;,&quot;Value&quot;:&quot;POWER_USER_SHAPE_ICON_STYLE_1&quot;}">
              <a:extLst>
                <a:ext uri="{FF2B5EF4-FFF2-40B4-BE49-F238E27FC236}">
                  <a16:creationId xmlns:a16="http://schemas.microsoft.com/office/drawing/2014/main" id="{FA7C73F7-CBC4-474D-A735-82BDBA71D35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4601" y="3786333"/>
              <a:ext cx="755431" cy="635000"/>
            </a:xfrm>
            <a:prstGeom prst="rect">
              <a:avLst/>
            </a:prstGeom>
          </p:spPr>
        </p:pic>
        <p:pic>
          <p:nvPicPr>
            <p:cNvPr id="23" name="Graphic 22" descr="{&quot;Key&quot;:&quot;POWER_USER_SHAPE_ICON&quot;,&quot;Value&quot;:&quot;POWER_USER_SHAPE_ICON_STYLE_1&quot;}">
              <a:extLst>
                <a:ext uri="{FF2B5EF4-FFF2-40B4-BE49-F238E27FC236}">
                  <a16:creationId xmlns:a16="http://schemas.microsoft.com/office/drawing/2014/main" id="{6DF2BEDF-5E46-43C3-A57F-C306220C637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36304" y="2416336"/>
              <a:ext cx="748862" cy="762000"/>
            </a:xfrm>
            <a:prstGeom prst="rect">
              <a:avLst/>
            </a:prstGeom>
          </p:spPr>
        </p:pic>
        <p:pic>
          <p:nvPicPr>
            <p:cNvPr id="27" name="Graphic 26" descr="{&quot;Key&quot;:&quot;POWER_USER_SHAPE_ICON&quot;,&quot;Value&quot;:&quot;POWER_USER_SHAPE_ICON_STYLE_1&quot;}">
              <a:extLst>
                <a:ext uri="{FF2B5EF4-FFF2-40B4-BE49-F238E27FC236}">
                  <a16:creationId xmlns:a16="http://schemas.microsoft.com/office/drawing/2014/main" id="{5B819FAB-7AD3-493A-ADE8-ECB5B7E7C10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05610" y="5227686"/>
              <a:ext cx="748862" cy="457200"/>
            </a:xfrm>
            <a:prstGeom prst="rect">
              <a:avLst/>
            </a:prstGeom>
          </p:spPr>
        </p:pic>
        <p:pic>
          <p:nvPicPr>
            <p:cNvPr id="31" name="Graphic 30" descr="{&quot;Key&quot;:&quot;POWER_USER_SHAPE_ICON&quot;,&quot;Value&quot;:&quot;POWER_USER_SHAPE_ICON_STYLE_1&quot;}">
              <a:extLst>
                <a:ext uri="{FF2B5EF4-FFF2-40B4-BE49-F238E27FC236}">
                  <a16:creationId xmlns:a16="http://schemas.microsoft.com/office/drawing/2014/main" id="{61513643-70BA-45F2-8E78-E8A0DC95661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4847" y="5176886"/>
              <a:ext cx="753241" cy="508000"/>
            </a:xfrm>
            <a:prstGeom prst="rect">
              <a:avLst/>
            </a:prstGeom>
          </p:spPr>
        </p:pic>
        <p:grpSp>
          <p:nvGrpSpPr>
            <p:cNvPr id="22" name="Connected3" descr="{&quot;Key&quot;:&quot;POWER_USER_SHAPE_ICON&quot;,&quot;Value&quot;:&quot;POWER_USER_SHAPE_ICON_STYLE_1&quot;}">
              <a:extLst>
                <a:ext uri="{FF2B5EF4-FFF2-40B4-BE49-F238E27FC236}">
                  <a16:creationId xmlns:a16="http://schemas.microsoft.com/office/drawing/2014/main" id="{3888CA1F-54B2-478B-B3D3-37FEF41A43FD}"/>
                </a:ext>
              </a:extLst>
            </p:cNvPr>
            <p:cNvGrpSpPr>
              <a:grpSpLocks noChangeAspect="1"/>
            </p:cNvGrpSpPr>
            <p:nvPr/>
          </p:nvGrpSpPr>
          <p:grpSpPr>
            <a:xfrm>
              <a:off x="6458670" y="2290124"/>
              <a:ext cx="903925" cy="817427"/>
              <a:chOff x="8478838" y="746125"/>
              <a:chExt cx="331787" cy="300038"/>
            </a:xfrm>
            <a:solidFill>
              <a:schemeClr val="bg1"/>
            </a:solidFill>
          </p:grpSpPr>
          <p:sp>
            <p:nvSpPr>
              <p:cNvPr id="24" name="Freeform 1872">
                <a:extLst>
                  <a:ext uri="{FF2B5EF4-FFF2-40B4-BE49-F238E27FC236}">
                    <a16:creationId xmlns:a16="http://schemas.microsoft.com/office/drawing/2014/main" id="{EE1B74DE-F438-4E37-A959-BBE784AFEFAA}"/>
                  </a:ext>
                </a:extLst>
              </p:cNvPr>
              <p:cNvSpPr>
                <a:spLocks noEditPoints="1"/>
              </p:cNvSpPr>
              <p:nvPr/>
            </p:nvSpPr>
            <p:spPr bwMode="auto">
              <a:xfrm>
                <a:off x="8520113" y="811213"/>
                <a:ext cx="95250" cy="93663"/>
              </a:xfrm>
              <a:custGeom>
                <a:avLst/>
                <a:gdLst>
                  <a:gd name="T0" fmla="*/ 1303 w 2608"/>
                  <a:gd name="T1" fmla="*/ 200 h 2605"/>
                  <a:gd name="T2" fmla="*/ 201 w 2608"/>
                  <a:gd name="T3" fmla="*/ 1299 h 2605"/>
                  <a:gd name="T4" fmla="*/ 522 w 2608"/>
                  <a:gd name="T5" fmla="*/ 2080 h 2605"/>
                  <a:gd name="T6" fmla="*/ 1301 w 2608"/>
                  <a:gd name="T7" fmla="*/ 2404 h 2605"/>
                  <a:gd name="T8" fmla="*/ 1303 w 2608"/>
                  <a:gd name="T9" fmla="*/ 2404 h 2605"/>
                  <a:gd name="T10" fmla="*/ 2406 w 2608"/>
                  <a:gd name="T11" fmla="*/ 1304 h 2605"/>
                  <a:gd name="T12" fmla="*/ 1306 w 2608"/>
                  <a:gd name="T13" fmla="*/ 200 h 2605"/>
                  <a:gd name="T14" fmla="*/ 1303 w 2608"/>
                  <a:gd name="T15" fmla="*/ 200 h 2605"/>
                  <a:gd name="T16" fmla="*/ 1303 w 2608"/>
                  <a:gd name="T17" fmla="*/ 2605 h 2605"/>
                  <a:gd name="T18" fmla="*/ 1300 w 2608"/>
                  <a:gd name="T19" fmla="*/ 2605 h 2605"/>
                  <a:gd name="T20" fmla="*/ 381 w 2608"/>
                  <a:gd name="T21" fmla="*/ 2221 h 2605"/>
                  <a:gd name="T22" fmla="*/ 0 w 2608"/>
                  <a:gd name="T23" fmla="*/ 1299 h 2605"/>
                  <a:gd name="T24" fmla="*/ 1303 w 2608"/>
                  <a:gd name="T25" fmla="*/ 0 h 2605"/>
                  <a:gd name="T26" fmla="*/ 1306 w 2608"/>
                  <a:gd name="T27" fmla="*/ 0 h 2605"/>
                  <a:gd name="T28" fmla="*/ 2606 w 2608"/>
                  <a:gd name="T29" fmla="*/ 1305 h 2605"/>
                  <a:gd name="T30" fmla="*/ 1303 w 2608"/>
                  <a:gd name="T31" fmla="*/ 2605 h 2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08" h="2605">
                    <a:moveTo>
                      <a:pt x="1303" y="200"/>
                    </a:moveTo>
                    <a:cubicBezTo>
                      <a:pt x="697" y="200"/>
                      <a:pt x="202" y="693"/>
                      <a:pt x="201" y="1299"/>
                    </a:cubicBezTo>
                    <a:cubicBezTo>
                      <a:pt x="200" y="1594"/>
                      <a:pt x="314" y="1871"/>
                      <a:pt x="522" y="2080"/>
                    </a:cubicBezTo>
                    <a:cubicBezTo>
                      <a:pt x="729" y="2289"/>
                      <a:pt x="1006" y="2404"/>
                      <a:pt x="1301" y="2404"/>
                    </a:cubicBezTo>
                    <a:lnTo>
                      <a:pt x="1303" y="2404"/>
                    </a:lnTo>
                    <a:cubicBezTo>
                      <a:pt x="1909" y="2404"/>
                      <a:pt x="2404" y="1911"/>
                      <a:pt x="2406" y="1304"/>
                    </a:cubicBezTo>
                    <a:cubicBezTo>
                      <a:pt x="2407" y="697"/>
                      <a:pt x="1913" y="202"/>
                      <a:pt x="1306" y="200"/>
                    </a:cubicBezTo>
                    <a:lnTo>
                      <a:pt x="1303" y="200"/>
                    </a:lnTo>
                    <a:close/>
                    <a:moveTo>
                      <a:pt x="1303" y="2605"/>
                    </a:moveTo>
                    <a:lnTo>
                      <a:pt x="1300" y="2605"/>
                    </a:lnTo>
                    <a:cubicBezTo>
                      <a:pt x="952" y="2604"/>
                      <a:pt x="625" y="2467"/>
                      <a:pt x="381" y="2221"/>
                    </a:cubicBezTo>
                    <a:cubicBezTo>
                      <a:pt x="135" y="1974"/>
                      <a:pt x="0" y="1647"/>
                      <a:pt x="0" y="1299"/>
                    </a:cubicBezTo>
                    <a:cubicBezTo>
                      <a:pt x="2" y="583"/>
                      <a:pt x="586" y="0"/>
                      <a:pt x="1303" y="0"/>
                    </a:cubicBezTo>
                    <a:lnTo>
                      <a:pt x="1306" y="0"/>
                    </a:lnTo>
                    <a:cubicBezTo>
                      <a:pt x="2025" y="2"/>
                      <a:pt x="2608" y="587"/>
                      <a:pt x="2606" y="1305"/>
                    </a:cubicBezTo>
                    <a:cubicBezTo>
                      <a:pt x="2603" y="2022"/>
                      <a:pt x="2019" y="2605"/>
                      <a:pt x="1303" y="26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1873">
                <a:extLst>
                  <a:ext uri="{FF2B5EF4-FFF2-40B4-BE49-F238E27FC236}">
                    <a16:creationId xmlns:a16="http://schemas.microsoft.com/office/drawing/2014/main" id="{68C7B9E8-A901-47E1-A9BC-F56EDDB8FD96}"/>
                  </a:ext>
                </a:extLst>
              </p:cNvPr>
              <p:cNvSpPr>
                <a:spLocks/>
              </p:cNvSpPr>
              <p:nvPr/>
            </p:nvSpPr>
            <p:spPr bwMode="auto">
              <a:xfrm>
                <a:off x="8564563" y="811213"/>
                <a:ext cx="7938" cy="80963"/>
              </a:xfrm>
              <a:custGeom>
                <a:avLst/>
                <a:gdLst>
                  <a:gd name="T0" fmla="*/ 100 w 205"/>
                  <a:gd name="T1" fmla="*/ 2252 h 2252"/>
                  <a:gd name="T2" fmla="*/ 100 w 205"/>
                  <a:gd name="T3" fmla="*/ 2252 h 2252"/>
                  <a:gd name="T4" fmla="*/ 0 w 205"/>
                  <a:gd name="T5" fmla="*/ 2151 h 2252"/>
                  <a:gd name="T6" fmla="*/ 5 w 205"/>
                  <a:gd name="T7" fmla="*/ 100 h 2252"/>
                  <a:gd name="T8" fmla="*/ 105 w 205"/>
                  <a:gd name="T9" fmla="*/ 0 h 2252"/>
                  <a:gd name="T10" fmla="*/ 105 w 205"/>
                  <a:gd name="T11" fmla="*/ 0 h 2252"/>
                  <a:gd name="T12" fmla="*/ 205 w 205"/>
                  <a:gd name="T13" fmla="*/ 100 h 2252"/>
                  <a:gd name="T14" fmla="*/ 200 w 205"/>
                  <a:gd name="T15" fmla="*/ 2152 h 2252"/>
                  <a:gd name="T16" fmla="*/ 100 w 205"/>
                  <a:gd name="T17" fmla="*/ 2252 h 2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252">
                    <a:moveTo>
                      <a:pt x="100" y="2252"/>
                    </a:moveTo>
                    <a:lnTo>
                      <a:pt x="100" y="2252"/>
                    </a:lnTo>
                    <a:cubicBezTo>
                      <a:pt x="45" y="2252"/>
                      <a:pt x="0" y="2207"/>
                      <a:pt x="0" y="2151"/>
                    </a:cubicBezTo>
                    <a:lnTo>
                      <a:pt x="5" y="100"/>
                    </a:lnTo>
                    <a:cubicBezTo>
                      <a:pt x="5" y="45"/>
                      <a:pt x="50" y="0"/>
                      <a:pt x="105" y="0"/>
                    </a:cubicBezTo>
                    <a:lnTo>
                      <a:pt x="105" y="0"/>
                    </a:lnTo>
                    <a:cubicBezTo>
                      <a:pt x="160" y="0"/>
                      <a:pt x="205" y="45"/>
                      <a:pt x="205" y="100"/>
                    </a:cubicBezTo>
                    <a:lnTo>
                      <a:pt x="200" y="2152"/>
                    </a:lnTo>
                    <a:cubicBezTo>
                      <a:pt x="200" y="2207"/>
                      <a:pt x="155" y="2252"/>
                      <a:pt x="100" y="2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1874">
                <a:extLst>
                  <a:ext uri="{FF2B5EF4-FFF2-40B4-BE49-F238E27FC236}">
                    <a16:creationId xmlns:a16="http://schemas.microsoft.com/office/drawing/2014/main" id="{D6463F09-2365-4093-B10F-86F437423CD5}"/>
                  </a:ext>
                </a:extLst>
              </p:cNvPr>
              <p:cNvSpPr>
                <a:spLocks/>
              </p:cNvSpPr>
              <p:nvPr/>
            </p:nvSpPr>
            <p:spPr bwMode="auto">
              <a:xfrm>
                <a:off x="8532813" y="823913"/>
                <a:ext cx="71438" cy="17463"/>
              </a:xfrm>
              <a:custGeom>
                <a:avLst/>
                <a:gdLst>
                  <a:gd name="T0" fmla="*/ 943 w 1948"/>
                  <a:gd name="T1" fmla="*/ 463 h 463"/>
                  <a:gd name="T2" fmla="*/ 38 w 1948"/>
                  <a:gd name="T3" fmla="*/ 179 h 463"/>
                  <a:gd name="T4" fmla="*/ 42 w 1948"/>
                  <a:gd name="T5" fmla="*/ 38 h 463"/>
                  <a:gd name="T6" fmla="*/ 182 w 1948"/>
                  <a:gd name="T7" fmla="*/ 41 h 463"/>
                  <a:gd name="T8" fmla="*/ 943 w 1948"/>
                  <a:gd name="T9" fmla="*/ 263 h 463"/>
                  <a:gd name="T10" fmla="*/ 957 w 1948"/>
                  <a:gd name="T11" fmla="*/ 263 h 463"/>
                  <a:gd name="T12" fmla="*/ 1772 w 1948"/>
                  <a:gd name="T13" fmla="*/ 39 h 463"/>
                  <a:gd name="T14" fmla="*/ 1912 w 1948"/>
                  <a:gd name="T15" fmla="*/ 50 h 463"/>
                  <a:gd name="T16" fmla="*/ 1902 w 1948"/>
                  <a:gd name="T17" fmla="*/ 190 h 463"/>
                  <a:gd name="T18" fmla="*/ 958 w 1948"/>
                  <a:gd name="T19" fmla="*/ 463 h 463"/>
                  <a:gd name="T20" fmla="*/ 943 w 1948"/>
                  <a:gd name="T21"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48" h="463">
                    <a:moveTo>
                      <a:pt x="943" y="463"/>
                    </a:moveTo>
                    <a:cubicBezTo>
                      <a:pt x="312" y="463"/>
                      <a:pt x="49" y="190"/>
                      <a:pt x="38" y="179"/>
                    </a:cubicBezTo>
                    <a:cubicBezTo>
                      <a:pt x="0" y="140"/>
                      <a:pt x="2" y="75"/>
                      <a:pt x="42" y="38"/>
                    </a:cubicBezTo>
                    <a:cubicBezTo>
                      <a:pt x="82" y="0"/>
                      <a:pt x="145" y="2"/>
                      <a:pt x="182" y="41"/>
                    </a:cubicBezTo>
                    <a:cubicBezTo>
                      <a:pt x="187" y="46"/>
                      <a:pt x="410" y="263"/>
                      <a:pt x="943" y="263"/>
                    </a:cubicBezTo>
                    <a:lnTo>
                      <a:pt x="957" y="263"/>
                    </a:lnTo>
                    <a:cubicBezTo>
                      <a:pt x="1506" y="260"/>
                      <a:pt x="1769" y="41"/>
                      <a:pt x="1772" y="39"/>
                    </a:cubicBezTo>
                    <a:cubicBezTo>
                      <a:pt x="1813" y="3"/>
                      <a:pt x="1876" y="8"/>
                      <a:pt x="1912" y="50"/>
                    </a:cubicBezTo>
                    <a:cubicBezTo>
                      <a:pt x="1948" y="91"/>
                      <a:pt x="1944" y="154"/>
                      <a:pt x="1902" y="190"/>
                    </a:cubicBezTo>
                    <a:cubicBezTo>
                      <a:pt x="1890" y="201"/>
                      <a:pt x="1588" y="459"/>
                      <a:pt x="958" y="463"/>
                    </a:cubicBezTo>
                    <a:lnTo>
                      <a:pt x="943" y="4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1875">
                <a:extLst>
                  <a:ext uri="{FF2B5EF4-FFF2-40B4-BE49-F238E27FC236}">
                    <a16:creationId xmlns:a16="http://schemas.microsoft.com/office/drawing/2014/main" id="{88011B61-837C-474F-9EAB-50E78047163B}"/>
                  </a:ext>
                </a:extLst>
              </p:cNvPr>
              <p:cNvSpPr>
                <a:spLocks/>
              </p:cNvSpPr>
              <p:nvPr/>
            </p:nvSpPr>
            <p:spPr bwMode="auto">
              <a:xfrm>
                <a:off x="8532813" y="871538"/>
                <a:ext cx="71438" cy="17463"/>
              </a:xfrm>
              <a:custGeom>
                <a:avLst/>
                <a:gdLst>
                  <a:gd name="T0" fmla="*/ 1837 w 1948"/>
                  <a:gd name="T1" fmla="*/ 460 h 467"/>
                  <a:gd name="T2" fmla="*/ 1770 w 1948"/>
                  <a:gd name="T3" fmla="*/ 435 h 467"/>
                  <a:gd name="T4" fmla="*/ 957 w 1948"/>
                  <a:gd name="T5" fmla="*/ 208 h 467"/>
                  <a:gd name="T6" fmla="*/ 934 w 1948"/>
                  <a:gd name="T7" fmla="*/ 208 h 467"/>
                  <a:gd name="T8" fmla="*/ 182 w 1948"/>
                  <a:gd name="T9" fmla="*/ 426 h 467"/>
                  <a:gd name="T10" fmla="*/ 41 w 1948"/>
                  <a:gd name="T11" fmla="*/ 429 h 467"/>
                  <a:gd name="T12" fmla="*/ 38 w 1948"/>
                  <a:gd name="T13" fmla="*/ 286 h 467"/>
                  <a:gd name="T14" fmla="*/ 960 w 1948"/>
                  <a:gd name="T15" fmla="*/ 8 h 467"/>
                  <a:gd name="T16" fmla="*/ 1902 w 1948"/>
                  <a:gd name="T17" fmla="*/ 284 h 467"/>
                  <a:gd name="T18" fmla="*/ 1911 w 1948"/>
                  <a:gd name="T19" fmla="*/ 426 h 467"/>
                  <a:gd name="T20" fmla="*/ 1837 w 1948"/>
                  <a:gd name="T21" fmla="*/ 46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48" h="467">
                    <a:moveTo>
                      <a:pt x="1837" y="460"/>
                    </a:moveTo>
                    <a:cubicBezTo>
                      <a:pt x="1813" y="460"/>
                      <a:pt x="1789" y="452"/>
                      <a:pt x="1770" y="435"/>
                    </a:cubicBezTo>
                    <a:cubicBezTo>
                      <a:pt x="1768" y="433"/>
                      <a:pt x="1507" y="214"/>
                      <a:pt x="957" y="208"/>
                    </a:cubicBezTo>
                    <a:lnTo>
                      <a:pt x="934" y="208"/>
                    </a:lnTo>
                    <a:cubicBezTo>
                      <a:pt x="404" y="208"/>
                      <a:pt x="184" y="424"/>
                      <a:pt x="182" y="426"/>
                    </a:cubicBezTo>
                    <a:cubicBezTo>
                      <a:pt x="144" y="466"/>
                      <a:pt x="81" y="467"/>
                      <a:pt x="41" y="429"/>
                    </a:cubicBezTo>
                    <a:cubicBezTo>
                      <a:pt x="2" y="390"/>
                      <a:pt x="0" y="327"/>
                      <a:pt x="38" y="286"/>
                    </a:cubicBezTo>
                    <a:cubicBezTo>
                      <a:pt x="49" y="275"/>
                      <a:pt x="318" y="0"/>
                      <a:pt x="960" y="8"/>
                    </a:cubicBezTo>
                    <a:cubicBezTo>
                      <a:pt x="1590" y="15"/>
                      <a:pt x="1890" y="274"/>
                      <a:pt x="1902" y="284"/>
                    </a:cubicBezTo>
                    <a:cubicBezTo>
                      <a:pt x="1944" y="322"/>
                      <a:pt x="1948" y="384"/>
                      <a:pt x="1911" y="426"/>
                    </a:cubicBezTo>
                    <a:cubicBezTo>
                      <a:pt x="1891" y="449"/>
                      <a:pt x="1864" y="460"/>
                      <a:pt x="1837" y="4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1876">
                <a:extLst>
                  <a:ext uri="{FF2B5EF4-FFF2-40B4-BE49-F238E27FC236}">
                    <a16:creationId xmlns:a16="http://schemas.microsoft.com/office/drawing/2014/main" id="{EDBFB604-34FF-4B51-87FF-0AB0EBC062FD}"/>
                  </a:ext>
                </a:extLst>
              </p:cNvPr>
              <p:cNvSpPr>
                <a:spLocks/>
              </p:cNvSpPr>
              <p:nvPr/>
            </p:nvSpPr>
            <p:spPr bwMode="auto">
              <a:xfrm>
                <a:off x="8537575" y="823913"/>
                <a:ext cx="34925" cy="80963"/>
              </a:xfrm>
              <a:custGeom>
                <a:avLst/>
                <a:gdLst>
                  <a:gd name="T0" fmla="*/ 863 w 977"/>
                  <a:gd name="T1" fmla="*/ 2210 h 2210"/>
                  <a:gd name="T2" fmla="*/ 825 w 977"/>
                  <a:gd name="T3" fmla="*/ 2202 h 2210"/>
                  <a:gd name="T4" fmla="*/ 153 w 977"/>
                  <a:gd name="T5" fmla="*/ 1426 h 2210"/>
                  <a:gd name="T6" fmla="*/ 292 w 977"/>
                  <a:gd name="T7" fmla="*/ 70 h 2210"/>
                  <a:gd name="T8" fmla="*/ 426 w 977"/>
                  <a:gd name="T9" fmla="*/ 25 h 2210"/>
                  <a:gd name="T10" fmla="*/ 471 w 977"/>
                  <a:gd name="T11" fmla="*/ 159 h 2210"/>
                  <a:gd name="T12" fmla="*/ 340 w 977"/>
                  <a:gd name="T13" fmla="*/ 1356 h 2210"/>
                  <a:gd name="T14" fmla="*/ 902 w 977"/>
                  <a:gd name="T15" fmla="*/ 2018 h 2210"/>
                  <a:gd name="T16" fmla="*/ 956 w 977"/>
                  <a:gd name="T17" fmla="*/ 2148 h 2210"/>
                  <a:gd name="T18" fmla="*/ 863 w 977"/>
                  <a:gd name="T19" fmla="*/ 2210 h 2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7" h="2210">
                    <a:moveTo>
                      <a:pt x="863" y="2210"/>
                    </a:moveTo>
                    <a:cubicBezTo>
                      <a:pt x="851" y="2210"/>
                      <a:pt x="838" y="2207"/>
                      <a:pt x="825" y="2202"/>
                    </a:cubicBezTo>
                    <a:cubicBezTo>
                      <a:pt x="735" y="2164"/>
                      <a:pt x="332" y="1909"/>
                      <a:pt x="153" y="1426"/>
                    </a:cubicBezTo>
                    <a:cubicBezTo>
                      <a:pt x="0" y="1014"/>
                      <a:pt x="47" y="559"/>
                      <a:pt x="292" y="70"/>
                    </a:cubicBezTo>
                    <a:cubicBezTo>
                      <a:pt x="317" y="21"/>
                      <a:pt x="377" y="0"/>
                      <a:pt x="426" y="25"/>
                    </a:cubicBezTo>
                    <a:cubicBezTo>
                      <a:pt x="476" y="50"/>
                      <a:pt x="495" y="110"/>
                      <a:pt x="471" y="159"/>
                    </a:cubicBezTo>
                    <a:cubicBezTo>
                      <a:pt x="251" y="596"/>
                      <a:pt x="207" y="999"/>
                      <a:pt x="340" y="1356"/>
                    </a:cubicBezTo>
                    <a:cubicBezTo>
                      <a:pt x="494" y="1769"/>
                      <a:pt x="844" y="1994"/>
                      <a:pt x="902" y="2018"/>
                    </a:cubicBezTo>
                    <a:cubicBezTo>
                      <a:pt x="953" y="2038"/>
                      <a:pt x="977" y="2097"/>
                      <a:pt x="956" y="2148"/>
                    </a:cubicBezTo>
                    <a:cubicBezTo>
                      <a:pt x="940" y="2187"/>
                      <a:pt x="903" y="2210"/>
                      <a:pt x="863" y="2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1877">
                <a:extLst>
                  <a:ext uri="{FF2B5EF4-FFF2-40B4-BE49-F238E27FC236}">
                    <a16:creationId xmlns:a16="http://schemas.microsoft.com/office/drawing/2014/main" id="{7B57A852-9D3F-4AEF-B012-BF9F8F2AAA51}"/>
                  </a:ext>
                </a:extLst>
              </p:cNvPr>
              <p:cNvSpPr>
                <a:spLocks/>
              </p:cNvSpPr>
              <p:nvPr/>
            </p:nvSpPr>
            <p:spPr bwMode="auto">
              <a:xfrm>
                <a:off x="8562975" y="823913"/>
                <a:ext cx="36513" cy="80963"/>
              </a:xfrm>
              <a:custGeom>
                <a:avLst/>
                <a:gdLst>
                  <a:gd name="T0" fmla="*/ 113 w 982"/>
                  <a:gd name="T1" fmla="*/ 2227 h 2227"/>
                  <a:gd name="T2" fmla="*/ 21 w 982"/>
                  <a:gd name="T3" fmla="*/ 2166 h 2227"/>
                  <a:gd name="T4" fmla="*/ 75 w 982"/>
                  <a:gd name="T5" fmla="*/ 2035 h 2227"/>
                  <a:gd name="T6" fmla="*/ 637 w 982"/>
                  <a:gd name="T7" fmla="*/ 1369 h 2227"/>
                  <a:gd name="T8" fmla="*/ 515 w 982"/>
                  <a:gd name="T9" fmla="*/ 159 h 2227"/>
                  <a:gd name="T10" fmla="*/ 560 w 982"/>
                  <a:gd name="T11" fmla="*/ 24 h 2227"/>
                  <a:gd name="T12" fmla="*/ 694 w 982"/>
                  <a:gd name="T13" fmla="*/ 70 h 2227"/>
                  <a:gd name="T14" fmla="*/ 824 w 982"/>
                  <a:gd name="T15" fmla="*/ 1439 h 2227"/>
                  <a:gd name="T16" fmla="*/ 151 w 982"/>
                  <a:gd name="T17" fmla="*/ 2220 h 2227"/>
                  <a:gd name="T18" fmla="*/ 113 w 982"/>
                  <a:gd name="T19" fmla="*/ 2227 h 2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2" h="2227">
                    <a:moveTo>
                      <a:pt x="113" y="2227"/>
                    </a:moveTo>
                    <a:cubicBezTo>
                      <a:pt x="74" y="2227"/>
                      <a:pt x="36" y="2205"/>
                      <a:pt x="21" y="2166"/>
                    </a:cubicBezTo>
                    <a:cubicBezTo>
                      <a:pt x="0" y="2114"/>
                      <a:pt x="24" y="2056"/>
                      <a:pt x="75" y="2035"/>
                    </a:cubicBezTo>
                    <a:cubicBezTo>
                      <a:pt x="132" y="2012"/>
                      <a:pt x="480" y="1789"/>
                      <a:pt x="637" y="1369"/>
                    </a:cubicBezTo>
                    <a:cubicBezTo>
                      <a:pt x="775" y="1006"/>
                      <a:pt x="734" y="599"/>
                      <a:pt x="515" y="159"/>
                    </a:cubicBezTo>
                    <a:cubicBezTo>
                      <a:pt x="491" y="109"/>
                      <a:pt x="511" y="49"/>
                      <a:pt x="560" y="24"/>
                    </a:cubicBezTo>
                    <a:cubicBezTo>
                      <a:pt x="610" y="0"/>
                      <a:pt x="670" y="20"/>
                      <a:pt x="694" y="70"/>
                    </a:cubicBezTo>
                    <a:cubicBezTo>
                      <a:pt x="938" y="561"/>
                      <a:pt x="982" y="1022"/>
                      <a:pt x="824" y="1439"/>
                    </a:cubicBezTo>
                    <a:cubicBezTo>
                      <a:pt x="640" y="1930"/>
                      <a:pt x="240" y="2184"/>
                      <a:pt x="151" y="2220"/>
                    </a:cubicBezTo>
                    <a:cubicBezTo>
                      <a:pt x="139" y="2225"/>
                      <a:pt x="126" y="2227"/>
                      <a:pt x="113" y="22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1878">
                <a:extLst>
                  <a:ext uri="{FF2B5EF4-FFF2-40B4-BE49-F238E27FC236}">
                    <a16:creationId xmlns:a16="http://schemas.microsoft.com/office/drawing/2014/main" id="{7A19F756-4736-4CFF-914F-F66133DD862B}"/>
                  </a:ext>
                </a:extLst>
              </p:cNvPr>
              <p:cNvSpPr>
                <a:spLocks/>
              </p:cNvSpPr>
              <p:nvPr/>
            </p:nvSpPr>
            <p:spPr bwMode="auto">
              <a:xfrm>
                <a:off x="8531225" y="854075"/>
                <a:ext cx="73025" cy="7938"/>
              </a:xfrm>
              <a:custGeom>
                <a:avLst/>
                <a:gdLst>
                  <a:gd name="T0" fmla="*/ 1933 w 2033"/>
                  <a:gd name="T1" fmla="*/ 204 h 204"/>
                  <a:gd name="T2" fmla="*/ 1933 w 2033"/>
                  <a:gd name="T3" fmla="*/ 204 h 204"/>
                  <a:gd name="T4" fmla="*/ 101 w 2033"/>
                  <a:gd name="T5" fmla="*/ 200 h 204"/>
                  <a:gd name="T6" fmla="*/ 0 w 2033"/>
                  <a:gd name="T7" fmla="*/ 100 h 204"/>
                  <a:gd name="T8" fmla="*/ 101 w 2033"/>
                  <a:gd name="T9" fmla="*/ 0 h 204"/>
                  <a:gd name="T10" fmla="*/ 101 w 2033"/>
                  <a:gd name="T11" fmla="*/ 0 h 204"/>
                  <a:gd name="T12" fmla="*/ 1933 w 2033"/>
                  <a:gd name="T13" fmla="*/ 4 h 204"/>
                  <a:gd name="T14" fmla="*/ 2033 w 2033"/>
                  <a:gd name="T15" fmla="*/ 105 h 204"/>
                  <a:gd name="T16" fmla="*/ 1933 w 2033"/>
                  <a:gd name="T1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3" h="204">
                    <a:moveTo>
                      <a:pt x="1933" y="204"/>
                    </a:moveTo>
                    <a:lnTo>
                      <a:pt x="1933" y="204"/>
                    </a:lnTo>
                    <a:lnTo>
                      <a:pt x="101" y="200"/>
                    </a:lnTo>
                    <a:cubicBezTo>
                      <a:pt x="45" y="200"/>
                      <a:pt x="0" y="155"/>
                      <a:pt x="0" y="100"/>
                    </a:cubicBezTo>
                    <a:cubicBezTo>
                      <a:pt x="0" y="44"/>
                      <a:pt x="46" y="0"/>
                      <a:pt x="101" y="0"/>
                    </a:cubicBezTo>
                    <a:lnTo>
                      <a:pt x="101" y="0"/>
                    </a:lnTo>
                    <a:lnTo>
                      <a:pt x="1933" y="4"/>
                    </a:lnTo>
                    <a:cubicBezTo>
                      <a:pt x="1989" y="5"/>
                      <a:pt x="2033" y="49"/>
                      <a:pt x="2033" y="105"/>
                    </a:cubicBezTo>
                    <a:cubicBezTo>
                      <a:pt x="2033" y="160"/>
                      <a:pt x="1989" y="204"/>
                      <a:pt x="1933"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879">
                <a:extLst>
                  <a:ext uri="{FF2B5EF4-FFF2-40B4-BE49-F238E27FC236}">
                    <a16:creationId xmlns:a16="http://schemas.microsoft.com/office/drawing/2014/main" id="{C661BBA2-952B-4FB6-862F-C43E69F8FC2C}"/>
                  </a:ext>
                </a:extLst>
              </p:cNvPr>
              <p:cNvSpPr>
                <a:spLocks/>
              </p:cNvSpPr>
              <p:nvPr/>
            </p:nvSpPr>
            <p:spPr bwMode="auto">
              <a:xfrm>
                <a:off x="8605838" y="855663"/>
                <a:ext cx="96838" cy="190500"/>
              </a:xfrm>
              <a:custGeom>
                <a:avLst/>
                <a:gdLst>
                  <a:gd name="T0" fmla="*/ 2402 w 2661"/>
                  <a:gd name="T1" fmla="*/ 5253 h 5253"/>
                  <a:gd name="T2" fmla="*/ 258 w 2661"/>
                  <a:gd name="T3" fmla="*/ 5253 h 5253"/>
                  <a:gd name="T4" fmla="*/ 0 w 2661"/>
                  <a:gd name="T5" fmla="*/ 4995 h 5253"/>
                  <a:gd name="T6" fmla="*/ 0 w 2661"/>
                  <a:gd name="T7" fmla="*/ 1611 h 5253"/>
                  <a:gd name="T8" fmla="*/ 100 w 2661"/>
                  <a:gd name="T9" fmla="*/ 1511 h 5253"/>
                  <a:gd name="T10" fmla="*/ 200 w 2661"/>
                  <a:gd name="T11" fmla="*/ 1611 h 5253"/>
                  <a:gd name="T12" fmla="*/ 200 w 2661"/>
                  <a:gd name="T13" fmla="*/ 4995 h 5253"/>
                  <a:gd name="T14" fmla="*/ 258 w 2661"/>
                  <a:gd name="T15" fmla="*/ 5053 h 5253"/>
                  <a:gd name="T16" fmla="*/ 2402 w 2661"/>
                  <a:gd name="T17" fmla="*/ 5053 h 5253"/>
                  <a:gd name="T18" fmla="*/ 2461 w 2661"/>
                  <a:gd name="T19" fmla="*/ 4995 h 5253"/>
                  <a:gd name="T20" fmla="*/ 2461 w 2661"/>
                  <a:gd name="T21" fmla="*/ 259 h 5253"/>
                  <a:gd name="T22" fmla="*/ 2402 w 2661"/>
                  <a:gd name="T23" fmla="*/ 200 h 5253"/>
                  <a:gd name="T24" fmla="*/ 845 w 2661"/>
                  <a:gd name="T25" fmla="*/ 200 h 5253"/>
                  <a:gd name="T26" fmla="*/ 745 w 2661"/>
                  <a:gd name="T27" fmla="*/ 100 h 5253"/>
                  <a:gd name="T28" fmla="*/ 845 w 2661"/>
                  <a:gd name="T29" fmla="*/ 0 h 5253"/>
                  <a:gd name="T30" fmla="*/ 2402 w 2661"/>
                  <a:gd name="T31" fmla="*/ 0 h 5253"/>
                  <a:gd name="T32" fmla="*/ 2661 w 2661"/>
                  <a:gd name="T33" fmla="*/ 259 h 5253"/>
                  <a:gd name="T34" fmla="*/ 2661 w 2661"/>
                  <a:gd name="T35" fmla="*/ 4995 h 5253"/>
                  <a:gd name="T36" fmla="*/ 2402 w 2661"/>
                  <a:gd name="T37" fmla="*/ 5253 h 5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61" h="5253">
                    <a:moveTo>
                      <a:pt x="2402" y="5253"/>
                    </a:moveTo>
                    <a:lnTo>
                      <a:pt x="258" y="5253"/>
                    </a:lnTo>
                    <a:cubicBezTo>
                      <a:pt x="116" y="5253"/>
                      <a:pt x="0" y="5137"/>
                      <a:pt x="0" y="4995"/>
                    </a:cubicBezTo>
                    <a:lnTo>
                      <a:pt x="0" y="1611"/>
                    </a:lnTo>
                    <a:cubicBezTo>
                      <a:pt x="0" y="1556"/>
                      <a:pt x="45" y="1511"/>
                      <a:pt x="100" y="1511"/>
                    </a:cubicBezTo>
                    <a:cubicBezTo>
                      <a:pt x="155" y="1511"/>
                      <a:pt x="200" y="1556"/>
                      <a:pt x="200" y="1611"/>
                    </a:cubicBezTo>
                    <a:lnTo>
                      <a:pt x="200" y="4995"/>
                    </a:lnTo>
                    <a:cubicBezTo>
                      <a:pt x="200" y="5027"/>
                      <a:pt x="227" y="5053"/>
                      <a:pt x="258" y="5053"/>
                    </a:cubicBezTo>
                    <a:lnTo>
                      <a:pt x="2402" y="5053"/>
                    </a:lnTo>
                    <a:cubicBezTo>
                      <a:pt x="2434" y="5053"/>
                      <a:pt x="2461" y="5027"/>
                      <a:pt x="2461" y="4995"/>
                    </a:cubicBezTo>
                    <a:lnTo>
                      <a:pt x="2461" y="259"/>
                    </a:lnTo>
                    <a:cubicBezTo>
                      <a:pt x="2461" y="226"/>
                      <a:pt x="2434" y="200"/>
                      <a:pt x="2402" y="200"/>
                    </a:cubicBezTo>
                    <a:lnTo>
                      <a:pt x="845" y="200"/>
                    </a:lnTo>
                    <a:cubicBezTo>
                      <a:pt x="790" y="200"/>
                      <a:pt x="745" y="156"/>
                      <a:pt x="745" y="100"/>
                    </a:cubicBezTo>
                    <a:cubicBezTo>
                      <a:pt x="745" y="45"/>
                      <a:pt x="790" y="0"/>
                      <a:pt x="845" y="0"/>
                    </a:cubicBezTo>
                    <a:lnTo>
                      <a:pt x="2402" y="0"/>
                    </a:lnTo>
                    <a:cubicBezTo>
                      <a:pt x="2544" y="0"/>
                      <a:pt x="2661" y="116"/>
                      <a:pt x="2661" y="259"/>
                    </a:cubicBezTo>
                    <a:lnTo>
                      <a:pt x="2661" y="4995"/>
                    </a:lnTo>
                    <a:cubicBezTo>
                      <a:pt x="2661" y="5137"/>
                      <a:pt x="2544" y="5253"/>
                      <a:pt x="2402" y="52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880">
                <a:extLst>
                  <a:ext uri="{FF2B5EF4-FFF2-40B4-BE49-F238E27FC236}">
                    <a16:creationId xmlns:a16="http://schemas.microsoft.com/office/drawing/2014/main" id="{E23C6AA3-4119-44FB-87BF-EADA3F30FC3D}"/>
                  </a:ext>
                </a:extLst>
              </p:cNvPr>
              <p:cNvSpPr>
                <a:spLocks/>
              </p:cNvSpPr>
              <p:nvPr/>
            </p:nvSpPr>
            <p:spPr bwMode="auto">
              <a:xfrm>
                <a:off x="8628063" y="882650"/>
                <a:ext cx="71438" cy="7938"/>
              </a:xfrm>
              <a:custGeom>
                <a:avLst/>
                <a:gdLst>
                  <a:gd name="T0" fmla="*/ 1852 w 1952"/>
                  <a:gd name="T1" fmla="*/ 200 h 200"/>
                  <a:gd name="T2" fmla="*/ 100 w 1952"/>
                  <a:gd name="T3" fmla="*/ 200 h 200"/>
                  <a:gd name="T4" fmla="*/ 0 w 1952"/>
                  <a:gd name="T5" fmla="*/ 100 h 200"/>
                  <a:gd name="T6" fmla="*/ 100 w 1952"/>
                  <a:gd name="T7" fmla="*/ 0 h 200"/>
                  <a:gd name="T8" fmla="*/ 1852 w 1952"/>
                  <a:gd name="T9" fmla="*/ 0 h 200"/>
                  <a:gd name="T10" fmla="*/ 1952 w 1952"/>
                  <a:gd name="T11" fmla="*/ 100 h 200"/>
                  <a:gd name="T12" fmla="*/ 1852 w 1952"/>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1952" h="200">
                    <a:moveTo>
                      <a:pt x="1852" y="200"/>
                    </a:moveTo>
                    <a:lnTo>
                      <a:pt x="100" y="200"/>
                    </a:lnTo>
                    <a:cubicBezTo>
                      <a:pt x="45" y="200"/>
                      <a:pt x="0" y="155"/>
                      <a:pt x="0" y="100"/>
                    </a:cubicBezTo>
                    <a:cubicBezTo>
                      <a:pt x="0" y="45"/>
                      <a:pt x="45" y="0"/>
                      <a:pt x="100" y="0"/>
                    </a:cubicBezTo>
                    <a:lnTo>
                      <a:pt x="1852" y="0"/>
                    </a:lnTo>
                    <a:cubicBezTo>
                      <a:pt x="1907" y="0"/>
                      <a:pt x="1952" y="45"/>
                      <a:pt x="1952" y="100"/>
                    </a:cubicBezTo>
                    <a:cubicBezTo>
                      <a:pt x="1952" y="155"/>
                      <a:pt x="1907" y="200"/>
                      <a:pt x="1852"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1881">
                <a:extLst>
                  <a:ext uri="{FF2B5EF4-FFF2-40B4-BE49-F238E27FC236}">
                    <a16:creationId xmlns:a16="http://schemas.microsoft.com/office/drawing/2014/main" id="{2CC91E2C-9344-46D6-B5CA-01DF1559659F}"/>
                  </a:ext>
                </a:extLst>
              </p:cNvPr>
              <p:cNvSpPr>
                <a:spLocks/>
              </p:cNvSpPr>
              <p:nvPr/>
            </p:nvSpPr>
            <p:spPr bwMode="auto">
              <a:xfrm>
                <a:off x="8609013" y="1011238"/>
                <a:ext cx="90488" cy="7938"/>
              </a:xfrm>
              <a:custGeom>
                <a:avLst/>
                <a:gdLst>
                  <a:gd name="T0" fmla="*/ 2411 w 2511"/>
                  <a:gd name="T1" fmla="*/ 200 h 200"/>
                  <a:gd name="T2" fmla="*/ 100 w 2511"/>
                  <a:gd name="T3" fmla="*/ 200 h 200"/>
                  <a:gd name="T4" fmla="*/ 0 w 2511"/>
                  <a:gd name="T5" fmla="*/ 100 h 200"/>
                  <a:gd name="T6" fmla="*/ 100 w 2511"/>
                  <a:gd name="T7" fmla="*/ 0 h 200"/>
                  <a:gd name="T8" fmla="*/ 2411 w 2511"/>
                  <a:gd name="T9" fmla="*/ 0 h 200"/>
                  <a:gd name="T10" fmla="*/ 2511 w 2511"/>
                  <a:gd name="T11" fmla="*/ 100 h 200"/>
                  <a:gd name="T12" fmla="*/ 2411 w 2511"/>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2511" h="200">
                    <a:moveTo>
                      <a:pt x="2411" y="200"/>
                    </a:moveTo>
                    <a:lnTo>
                      <a:pt x="100" y="200"/>
                    </a:lnTo>
                    <a:cubicBezTo>
                      <a:pt x="45" y="200"/>
                      <a:pt x="0" y="155"/>
                      <a:pt x="0" y="100"/>
                    </a:cubicBezTo>
                    <a:cubicBezTo>
                      <a:pt x="0" y="45"/>
                      <a:pt x="45" y="0"/>
                      <a:pt x="100" y="0"/>
                    </a:cubicBezTo>
                    <a:lnTo>
                      <a:pt x="2411" y="0"/>
                    </a:lnTo>
                    <a:cubicBezTo>
                      <a:pt x="2466" y="0"/>
                      <a:pt x="2511" y="45"/>
                      <a:pt x="2511" y="100"/>
                    </a:cubicBezTo>
                    <a:cubicBezTo>
                      <a:pt x="2511" y="155"/>
                      <a:pt x="2466" y="200"/>
                      <a:pt x="2411"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882">
                <a:extLst>
                  <a:ext uri="{FF2B5EF4-FFF2-40B4-BE49-F238E27FC236}">
                    <a16:creationId xmlns:a16="http://schemas.microsoft.com/office/drawing/2014/main" id="{C02C123D-9648-444A-9E89-4048E7586E45}"/>
                  </a:ext>
                </a:extLst>
              </p:cNvPr>
              <p:cNvSpPr>
                <a:spLocks/>
              </p:cNvSpPr>
              <p:nvPr/>
            </p:nvSpPr>
            <p:spPr bwMode="auto">
              <a:xfrm>
                <a:off x="8643938" y="1025525"/>
                <a:ext cx="22225" cy="6350"/>
              </a:xfrm>
              <a:custGeom>
                <a:avLst/>
                <a:gdLst>
                  <a:gd name="T0" fmla="*/ 483 w 583"/>
                  <a:gd name="T1" fmla="*/ 200 h 200"/>
                  <a:gd name="T2" fmla="*/ 100 w 583"/>
                  <a:gd name="T3" fmla="*/ 200 h 200"/>
                  <a:gd name="T4" fmla="*/ 0 w 583"/>
                  <a:gd name="T5" fmla="*/ 100 h 200"/>
                  <a:gd name="T6" fmla="*/ 100 w 583"/>
                  <a:gd name="T7" fmla="*/ 0 h 200"/>
                  <a:gd name="T8" fmla="*/ 483 w 583"/>
                  <a:gd name="T9" fmla="*/ 0 h 200"/>
                  <a:gd name="T10" fmla="*/ 583 w 583"/>
                  <a:gd name="T11" fmla="*/ 100 h 200"/>
                  <a:gd name="T12" fmla="*/ 483 w 583"/>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583" h="200">
                    <a:moveTo>
                      <a:pt x="483" y="200"/>
                    </a:moveTo>
                    <a:lnTo>
                      <a:pt x="100" y="200"/>
                    </a:lnTo>
                    <a:cubicBezTo>
                      <a:pt x="45" y="200"/>
                      <a:pt x="0" y="156"/>
                      <a:pt x="0" y="100"/>
                    </a:cubicBezTo>
                    <a:cubicBezTo>
                      <a:pt x="0" y="45"/>
                      <a:pt x="45" y="0"/>
                      <a:pt x="100" y="0"/>
                    </a:cubicBezTo>
                    <a:lnTo>
                      <a:pt x="483" y="0"/>
                    </a:lnTo>
                    <a:cubicBezTo>
                      <a:pt x="539" y="0"/>
                      <a:pt x="583" y="45"/>
                      <a:pt x="583" y="100"/>
                    </a:cubicBezTo>
                    <a:cubicBezTo>
                      <a:pt x="583" y="156"/>
                      <a:pt x="539" y="200"/>
                      <a:pt x="483"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883">
                <a:extLst>
                  <a:ext uri="{FF2B5EF4-FFF2-40B4-BE49-F238E27FC236}">
                    <a16:creationId xmlns:a16="http://schemas.microsoft.com/office/drawing/2014/main" id="{42B4C6AC-A893-46AC-A6B2-4F7767C0EA9A}"/>
                  </a:ext>
                </a:extLst>
              </p:cNvPr>
              <p:cNvSpPr>
                <a:spLocks/>
              </p:cNvSpPr>
              <p:nvPr/>
            </p:nvSpPr>
            <p:spPr bwMode="auto">
              <a:xfrm>
                <a:off x="8496300" y="788988"/>
                <a:ext cx="142875" cy="141288"/>
              </a:xfrm>
              <a:custGeom>
                <a:avLst/>
                <a:gdLst>
                  <a:gd name="T0" fmla="*/ 1952 w 3906"/>
                  <a:gd name="T1" fmla="*/ 3907 h 3907"/>
                  <a:gd name="T2" fmla="*/ 0 w 3906"/>
                  <a:gd name="T3" fmla="*/ 1954 h 3907"/>
                  <a:gd name="T4" fmla="*/ 1952 w 3906"/>
                  <a:gd name="T5" fmla="*/ 0 h 3907"/>
                  <a:gd name="T6" fmla="*/ 3906 w 3906"/>
                  <a:gd name="T7" fmla="*/ 1954 h 3907"/>
                  <a:gd name="T8" fmla="*/ 2918 w 3906"/>
                  <a:gd name="T9" fmla="*/ 3645 h 3907"/>
                  <a:gd name="T10" fmla="*/ 2781 w 3906"/>
                  <a:gd name="T11" fmla="*/ 3612 h 3907"/>
                  <a:gd name="T12" fmla="*/ 2813 w 3906"/>
                  <a:gd name="T13" fmla="*/ 3475 h 3907"/>
                  <a:gd name="T14" fmla="*/ 3706 w 3906"/>
                  <a:gd name="T15" fmla="*/ 1954 h 3907"/>
                  <a:gd name="T16" fmla="*/ 1952 w 3906"/>
                  <a:gd name="T17" fmla="*/ 201 h 3907"/>
                  <a:gd name="T18" fmla="*/ 199 w 3906"/>
                  <a:gd name="T19" fmla="*/ 1954 h 3907"/>
                  <a:gd name="T20" fmla="*/ 1952 w 3906"/>
                  <a:gd name="T21" fmla="*/ 3707 h 3907"/>
                  <a:gd name="T22" fmla="*/ 2229 w 3906"/>
                  <a:gd name="T23" fmla="*/ 3686 h 3907"/>
                  <a:gd name="T24" fmla="*/ 2342 w 3906"/>
                  <a:gd name="T25" fmla="*/ 3769 h 3907"/>
                  <a:gd name="T26" fmla="*/ 2259 w 3906"/>
                  <a:gd name="T27" fmla="*/ 3883 h 3907"/>
                  <a:gd name="T28" fmla="*/ 1952 w 3906"/>
                  <a:gd name="T29" fmla="*/ 3907 h 3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06" h="3907">
                    <a:moveTo>
                      <a:pt x="1952" y="3907"/>
                    </a:moveTo>
                    <a:cubicBezTo>
                      <a:pt x="875" y="3907"/>
                      <a:pt x="0" y="3031"/>
                      <a:pt x="0" y="1954"/>
                    </a:cubicBezTo>
                    <a:cubicBezTo>
                      <a:pt x="0" y="877"/>
                      <a:pt x="875" y="0"/>
                      <a:pt x="1952" y="0"/>
                    </a:cubicBezTo>
                    <a:cubicBezTo>
                      <a:pt x="3030" y="0"/>
                      <a:pt x="3906" y="877"/>
                      <a:pt x="3906" y="1954"/>
                    </a:cubicBezTo>
                    <a:cubicBezTo>
                      <a:pt x="3906" y="2630"/>
                      <a:pt x="3537" y="3262"/>
                      <a:pt x="2918" y="3645"/>
                    </a:cubicBezTo>
                    <a:cubicBezTo>
                      <a:pt x="2871" y="3674"/>
                      <a:pt x="2810" y="3659"/>
                      <a:pt x="2781" y="3612"/>
                    </a:cubicBezTo>
                    <a:cubicBezTo>
                      <a:pt x="2751" y="3565"/>
                      <a:pt x="2767" y="3504"/>
                      <a:pt x="2813" y="3475"/>
                    </a:cubicBezTo>
                    <a:cubicBezTo>
                      <a:pt x="3372" y="3128"/>
                      <a:pt x="3706" y="2561"/>
                      <a:pt x="3706" y="1954"/>
                    </a:cubicBezTo>
                    <a:cubicBezTo>
                      <a:pt x="3706" y="988"/>
                      <a:pt x="2919" y="201"/>
                      <a:pt x="1952" y="201"/>
                    </a:cubicBezTo>
                    <a:cubicBezTo>
                      <a:pt x="986" y="201"/>
                      <a:pt x="199" y="988"/>
                      <a:pt x="199" y="1954"/>
                    </a:cubicBezTo>
                    <a:cubicBezTo>
                      <a:pt x="199" y="2921"/>
                      <a:pt x="986" y="3707"/>
                      <a:pt x="1952" y="3707"/>
                    </a:cubicBezTo>
                    <a:cubicBezTo>
                      <a:pt x="2046" y="3707"/>
                      <a:pt x="2138" y="3700"/>
                      <a:pt x="2229" y="3686"/>
                    </a:cubicBezTo>
                    <a:cubicBezTo>
                      <a:pt x="2283" y="3677"/>
                      <a:pt x="2334" y="3715"/>
                      <a:pt x="2342" y="3769"/>
                    </a:cubicBezTo>
                    <a:cubicBezTo>
                      <a:pt x="2351" y="3824"/>
                      <a:pt x="2314" y="3875"/>
                      <a:pt x="2259" y="3883"/>
                    </a:cubicBezTo>
                    <a:cubicBezTo>
                      <a:pt x="2158" y="3900"/>
                      <a:pt x="2056" y="3907"/>
                      <a:pt x="1952" y="390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1884">
                <a:extLst>
                  <a:ext uri="{FF2B5EF4-FFF2-40B4-BE49-F238E27FC236}">
                    <a16:creationId xmlns:a16="http://schemas.microsoft.com/office/drawing/2014/main" id="{1F7CE8DC-8B1A-4227-AE83-F26A9AAEC25A}"/>
                  </a:ext>
                </a:extLst>
              </p:cNvPr>
              <p:cNvSpPr>
                <a:spLocks/>
              </p:cNvSpPr>
              <p:nvPr/>
            </p:nvSpPr>
            <p:spPr bwMode="auto">
              <a:xfrm>
                <a:off x="8574088" y="915988"/>
                <a:ext cx="28575" cy="41275"/>
              </a:xfrm>
              <a:custGeom>
                <a:avLst/>
                <a:gdLst>
                  <a:gd name="T0" fmla="*/ 677 w 777"/>
                  <a:gd name="T1" fmla="*/ 1119 h 1119"/>
                  <a:gd name="T2" fmla="*/ 598 w 777"/>
                  <a:gd name="T3" fmla="*/ 1081 h 1119"/>
                  <a:gd name="T4" fmla="*/ 34 w 777"/>
                  <a:gd name="T5" fmla="*/ 364 h 1119"/>
                  <a:gd name="T6" fmla="*/ 51 w 777"/>
                  <a:gd name="T7" fmla="*/ 224 h 1119"/>
                  <a:gd name="T8" fmla="*/ 192 w 777"/>
                  <a:gd name="T9" fmla="*/ 241 h 1119"/>
                  <a:gd name="T10" fmla="*/ 577 w 777"/>
                  <a:gd name="T11" fmla="*/ 731 h 1119"/>
                  <a:gd name="T12" fmla="*/ 577 w 777"/>
                  <a:gd name="T13" fmla="*/ 99 h 1119"/>
                  <a:gd name="T14" fmla="*/ 677 w 777"/>
                  <a:gd name="T15" fmla="*/ 0 h 1119"/>
                  <a:gd name="T16" fmla="*/ 777 w 777"/>
                  <a:gd name="T17" fmla="*/ 99 h 1119"/>
                  <a:gd name="T18" fmla="*/ 777 w 777"/>
                  <a:gd name="T19" fmla="*/ 1019 h 1119"/>
                  <a:gd name="T20" fmla="*/ 710 w 777"/>
                  <a:gd name="T21" fmla="*/ 1113 h 1119"/>
                  <a:gd name="T22" fmla="*/ 677 w 777"/>
                  <a:gd name="T23" fmla="*/ 1119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7" h="1119">
                    <a:moveTo>
                      <a:pt x="677" y="1119"/>
                    </a:moveTo>
                    <a:cubicBezTo>
                      <a:pt x="648" y="1119"/>
                      <a:pt x="617" y="1105"/>
                      <a:pt x="598" y="1081"/>
                    </a:cubicBezTo>
                    <a:lnTo>
                      <a:pt x="34" y="364"/>
                    </a:lnTo>
                    <a:cubicBezTo>
                      <a:pt x="0" y="321"/>
                      <a:pt x="8" y="258"/>
                      <a:pt x="51" y="224"/>
                    </a:cubicBezTo>
                    <a:cubicBezTo>
                      <a:pt x="94" y="189"/>
                      <a:pt x="158" y="197"/>
                      <a:pt x="192" y="241"/>
                    </a:cubicBezTo>
                    <a:lnTo>
                      <a:pt x="577" y="731"/>
                    </a:lnTo>
                    <a:lnTo>
                      <a:pt x="577" y="99"/>
                    </a:lnTo>
                    <a:cubicBezTo>
                      <a:pt x="577" y="44"/>
                      <a:pt x="621" y="0"/>
                      <a:pt x="677" y="0"/>
                    </a:cubicBezTo>
                    <a:cubicBezTo>
                      <a:pt x="732" y="0"/>
                      <a:pt x="777" y="44"/>
                      <a:pt x="777" y="99"/>
                    </a:cubicBezTo>
                    <a:lnTo>
                      <a:pt x="777" y="1019"/>
                    </a:lnTo>
                    <a:cubicBezTo>
                      <a:pt x="777" y="1062"/>
                      <a:pt x="750" y="1099"/>
                      <a:pt x="710" y="1113"/>
                    </a:cubicBezTo>
                    <a:cubicBezTo>
                      <a:pt x="699" y="1117"/>
                      <a:pt x="688" y="1119"/>
                      <a:pt x="677" y="1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1885">
                <a:extLst>
                  <a:ext uri="{FF2B5EF4-FFF2-40B4-BE49-F238E27FC236}">
                    <a16:creationId xmlns:a16="http://schemas.microsoft.com/office/drawing/2014/main" id="{CCEF7066-0354-4807-BAA5-010C019F3A4D}"/>
                  </a:ext>
                </a:extLst>
              </p:cNvPr>
              <p:cNvSpPr>
                <a:spLocks/>
              </p:cNvSpPr>
              <p:nvPr/>
            </p:nvSpPr>
            <p:spPr bwMode="auto">
              <a:xfrm>
                <a:off x="8702675" y="881063"/>
                <a:ext cx="88900" cy="76200"/>
              </a:xfrm>
              <a:custGeom>
                <a:avLst/>
                <a:gdLst>
                  <a:gd name="T0" fmla="*/ 1440 w 2481"/>
                  <a:gd name="T1" fmla="*/ 2076 h 2076"/>
                  <a:gd name="T2" fmla="*/ 1342 w 2481"/>
                  <a:gd name="T3" fmla="*/ 1991 h 2076"/>
                  <a:gd name="T4" fmla="*/ 1425 w 2481"/>
                  <a:gd name="T5" fmla="*/ 1877 h 2076"/>
                  <a:gd name="T6" fmla="*/ 2281 w 2481"/>
                  <a:gd name="T7" fmla="*/ 1045 h 2076"/>
                  <a:gd name="T8" fmla="*/ 1241 w 2481"/>
                  <a:gd name="T9" fmla="*/ 200 h 2076"/>
                  <a:gd name="T10" fmla="*/ 200 w 2481"/>
                  <a:gd name="T11" fmla="*/ 1045 h 2076"/>
                  <a:gd name="T12" fmla="*/ 688 w 2481"/>
                  <a:gd name="T13" fmla="*/ 1761 h 2076"/>
                  <a:gd name="T14" fmla="*/ 731 w 2481"/>
                  <a:gd name="T15" fmla="*/ 1896 h 2076"/>
                  <a:gd name="T16" fmla="*/ 597 w 2481"/>
                  <a:gd name="T17" fmla="*/ 1940 h 2076"/>
                  <a:gd name="T18" fmla="*/ 0 w 2481"/>
                  <a:gd name="T19" fmla="*/ 1045 h 2076"/>
                  <a:gd name="T20" fmla="*/ 1241 w 2481"/>
                  <a:gd name="T21" fmla="*/ 0 h 2076"/>
                  <a:gd name="T22" fmla="*/ 2481 w 2481"/>
                  <a:gd name="T23" fmla="*/ 1045 h 2076"/>
                  <a:gd name="T24" fmla="*/ 1455 w 2481"/>
                  <a:gd name="T25" fmla="*/ 2075 h 2076"/>
                  <a:gd name="T26" fmla="*/ 1440 w 2481"/>
                  <a:gd name="T27" fmla="*/ 2076 h 2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1" h="2076">
                    <a:moveTo>
                      <a:pt x="1440" y="2076"/>
                    </a:moveTo>
                    <a:cubicBezTo>
                      <a:pt x="1391" y="2076"/>
                      <a:pt x="1348" y="2041"/>
                      <a:pt x="1342" y="1991"/>
                    </a:cubicBezTo>
                    <a:cubicBezTo>
                      <a:pt x="1333" y="1936"/>
                      <a:pt x="1370" y="1886"/>
                      <a:pt x="1425" y="1877"/>
                    </a:cubicBezTo>
                    <a:cubicBezTo>
                      <a:pt x="1922" y="1806"/>
                      <a:pt x="2281" y="1456"/>
                      <a:pt x="2281" y="1045"/>
                    </a:cubicBezTo>
                    <a:cubicBezTo>
                      <a:pt x="2281" y="579"/>
                      <a:pt x="1815" y="200"/>
                      <a:pt x="1241" y="200"/>
                    </a:cubicBezTo>
                    <a:cubicBezTo>
                      <a:pt x="666" y="200"/>
                      <a:pt x="200" y="579"/>
                      <a:pt x="200" y="1045"/>
                    </a:cubicBezTo>
                    <a:cubicBezTo>
                      <a:pt x="200" y="1338"/>
                      <a:pt x="381" y="1606"/>
                      <a:pt x="688" y="1761"/>
                    </a:cubicBezTo>
                    <a:cubicBezTo>
                      <a:pt x="737" y="1787"/>
                      <a:pt x="756" y="1847"/>
                      <a:pt x="731" y="1896"/>
                    </a:cubicBezTo>
                    <a:cubicBezTo>
                      <a:pt x="706" y="1946"/>
                      <a:pt x="646" y="1965"/>
                      <a:pt x="597" y="1940"/>
                    </a:cubicBezTo>
                    <a:cubicBezTo>
                      <a:pt x="223" y="1749"/>
                      <a:pt x="0" y="1414"/>
                      <a:pt x="0" y="1045"/>
                    </a:cubicBezTo>
                    <a:cubicBezTo>
                      <a:pt x="0" y="468"/>
                      <a:pt x="556" y="0"/>
                      <a:pt x="1241" y="0"/>
                    </a:cubicBezTo>
                    <a:cubicBezTo>
                      <a:pt x="1925" y="0"/>
                      <a:pt x="2481" y="468"/>
                      <a:pt x="2481" y="1045"/>
                    </a:cubicBezTo>
                    <a:cubicBezTo>
                      <a:pt x="2481" y="1555"/>
                      <a:pt x="2049" y="1989"/>
                      <a:pt x="1455" y="2075"/>
                    </a:cubicBezTo>
                    <a:cubicBezTo>
                      <a:pt x="1449" y="2076"/>
                      <a:pt x="1444" y="2076"/>
                      <a:pt x="1440" y="20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1886">
                <a:extLst>
                  <a:ext uri="{FF2B5EF4-FFF2-40B4-BE49-F238E27FC236}">
                    <a16:creationId xmlns:a16="http://schemas.microsoft.com/office/drawing/2014/main" id="{05307561-1ACB-4863-94E0-909F9CEF971B}"/>
                  </a:ext>
                </a:extLst>
              </p:cNvPr>
              <p:cNvSpPr>
                <a:spLocks/>
              </p:cNvSpPr>
              <p:nvPr/>
            </p:nvSpPr>
            <p:spPr bwMode="auto">
              <a:xfrm>
                <a:off x="8723313" y="947738"/>
                <a:ext cx="34925" cy="30163"/>
              </a:xfrm>
              <a:custGeom>
                <a:avLst/>
                <a:gdLst>
                  <a:gd name="T0" fmla="*/ 101 w 965"/>
                  <a:gd name="T1" fmla="*/ 811 h 811"/>
                  <a:gd name="T2" fmla="*/ 55 w 965"/>
                  <a:gd name="T3" fmla="*/ 800 h 811"/>
                  <a:gd name="T4" fmla="*/ 0 w 965"/>
                  <a:gd name="T5" fmla="*/ 711 h 811"/>
                  <a:gd name="T6" fmla="*/ 0 w 965"/>
                  <a:gd name="T7" fmla="*/ 100 h 811"/>
                  <a:gd name="T8" fmla="*/ 101 w 965"/>
                  <a:gd name="T9" fmla="*/ 0 h 811"/>
                  <a:gd name="T10" fmla="*/ 201 w 965"/>
                  <a:gd name="T11" fmla="*/ 100 h 811"/>
                  <a:gd name="T12" fmla="*/ 201 w 965"/>
                  <a:gd name="T13" fmla="*/ 512 h 811"/>
                  <a:gd name="T14" fmla="*/ 792 w 965"/>
                  <a:gd name="T15" fmla="*/ 74 h 811"/>
                  <a:gd name="T16" fmla="*/ 932 w 965"/>
                  <a:gd name="T17" fmla="*/ 96 h 811"/>
                  <a:gd name="T18" fmla="*/ 910 w 965"/>
                  <a:gd name="T19" fmla="*/ 235 h 811"/>
                  <a:gd name="T20" fmla="*/ 160 w 965"/>
                  <a:gd name="T21" fmla="*/ 791 h 811"/>
                  <a:gd name="T22" fmla="*/ 101 w 965"/>
                  <a:gd name="T23" fmla="*/ 811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5" h="811">
                    <a:moveTo>
                      <a:pt x="101" y="811"/>
                    </a:moveTo>
                    <a:cubicBezTo>
                      <a:pt x="85" y="811"/>
                      <a:pt x="69" y="807"/>
                      <a:pt x="55" y="800"/>
                    </a:cubicBezTo>
                    <a:cubicBezTo>
                      <a:pt x="22" y="783"/>
                      <a:pt x="0" y="748"/>
                      <a:pt x="0" y="711"/>
                    </a:cubicBezTo>
                    <a:lnTo>
                      <a:pt x="0" y="100"/>
                    </a:lnTo>
                    <a:cubicBezTo>
                      <a:pt x="0" y="46"/>
                      <a:pt x="45" y="0"/>
                      <a:pt x="101" y="0"/>
                    </a:cubicBezTo>
                    <a:cubicBezTo>
                      <a:pt x="155" y="0"/>
                      <a:pt x="201" y="46"/>
                      <a:pt x="201" y="100"/>
                    </a:cubicBezTo>
                    <a:lnTo>
                      <a:pt x="201" y="512"/>
                    </a:lnTo>
                    <a:lnTo>
                      <a:pt x="792" y="74"/>
                    </a:lnTo>
                    <a:cubicBezTo>
                      <a:pt x="836" y="41"/>
                      <a:pt x="898" y="51"/>
                      <a:pt x="932" y="96"/>
                    </a:cubicBezTo>
                    <a:cubicBezTo>
                      <a:pt x="965" y="140"/>
                      <a:pt x="955" y="202"/>
                      <a:pt x="910" y="235"/>
                    </a:cubicBezTo>
                    <a:lnTo>
                      <a:pt x="160" y="791"/>
                    </a:lnTo>
                    <a:cubicBezTo>
                      <a:pt x="142" y="804"/>
                      <a:pt x="120" y="811"/>
                      <a:pt x="101" y="8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1887">
                <a:extLst>
                  <a:ext uri="{FF2B5EF4-FFF2-40B4-BE49-F238E27FC236}">
                    <a16:creationId xmlns:a16="http://schemas.microsoft.com/office/drawing/2014/main" id="{6B41337E-1F26-4265-87D9-0FCBA07AEBF7}"/>
                  </a:ext>
                </a:extLst>
              </p:cNvPr>
              <p:cNvSpPr>
                <a:spLocks/>
              </p:cNvSpPr>
              <p:nvPr/>
            </p:nvSpPr>
            <p:spPr bwMode="auto">
              <a:xfrm>
                <a:off x="8478838" y="925513"/>
                <a:ext cx="68263" cy="69850"/>
              </a:xfrm>
              <a:custGeom>
                <a:avLst/>
                <a:gdLst>
                  <a:gd name="T0" fmla="*/ 954 w 1886"/>
                  <a:gd name="T1" fmla="*/ 1923 h 1923"/>
                  <a:gd name="T2" fmla="*/ 632 w 1886"/>
                  <a:gd name="T3" fmla="*/ 1861 h 1923"/>
                  <a:gd name="T4" fmla="*/ 176 w 1886"/>
                  <a:gd name="T5" fmla="*/ 1362 h 1923"/>
                  <a:gd name="T6" fmla="*/ 730 w 1886"/>
                  <a:gd name="T7" fmla="*/ 113 h 1923"/>
                  <a:gd name="T8" fmla="*/ 1539 w 1886"/>
                  <a:gd name="T9" fmla="*/ 203 h 1923"/>
                  <a:gd name="T10" fmla="*/ 1837 w 1886"/>
                  <a:gd name="T11" fmla="*/ 969 h 1923"/>
                  <a:gd name="T12" fmla="*/ 1561 w 1886"/>
                  <a:gd name="T13" fmla="*/ 1293 h 1923"/>
                  <a:gd name="T14" fmla="*/ 1371 w 1886"/>
                  <a:gd name="T15" fmla="*/ 1272 h 1923"/>
                  <a:gd name="T16" fmla="*/ 1200 w 1886"/>
                  <a:gd name="T17" fmla="*/ 944 h 1923"/>
                  <a:gd name="T18" fmla="*/ 1174 w 1886"/>
                  <a:gd name="T19" fmla="*/ 818 h 1923"/>
                  <a:gd name="T20" fmla="*/ 1113 w 1886"/>
                  <a:gd name="T21" fmla="*/ 473 h 1923"/>
                  <a:gd name="T22" fmla="*/ 1209 w 1886"/>
                  <a:gd name="T23" fmla="*/ 369 h 1923"/>
                  <a:gd name="T24" fmla="*/ 1313 w 1886"/>
                  <a:gd name="T25" fmla="*/ 465 h 1923"/>
                  <a:gd name="T26" fmla="*/ 1370 w 1886"/>
                  <a:gd name="T27" fmla="*/ 776 h 1923"/>
                  <a:gd name="T28" fmla="*/ 1398 w 1886"/>
                  <a:gd name="T29" fmla="*/ 916 h 1923"/>
                  <a:gd name="T30" fmla="*/ 1476 w 1886"/>
                  <a:gd name="T31" fmla="*/ 1102 h 1923"/>
                  <a:gd name="T32" fmla="*/ 1499 w 1886"/>
                  <a:gd name="T33" fmla="*/ 1102 h 1923"/>
                  <a:gd name="T34" fmla="*/ 1640 w 1886"/>
                  <a:gd name="T35" fmla="*/ 934 h 1923"/>
                  <a:gd name="T36" fmla="*/ 1416 w 1886"/>
                  <a:gd name="T37" fmla="*/ 361 h 1923"/>
                  <a:gd name="T38" fmla="*/ 800 w 1886"/>
                  <a:gd name="T39" fmla="*/ 300 h 1923"/>
                  <a:gd name="T40" fmla="*/ 363 w 1886"/>
                  <a:gd name="T41" fmla="*/ 1293 h 1923"/>
                  <a:gd name="T42" fmla="*/ 1305 w 1886"/>
                  <a:gd name="T43" fmla="*/ 1653 h 1923"/>
                  <a:gd name="T44" fmla="*/ 1560 w 1886"/>
                  <a:gd name="T45" fmla="*/ 1486 h 1923"/>
                  <a:gd name="T46" fmla="*/ 1701 w 1886"/>
                  <a:gd name="T47" fmla="*/ 1482 h 1923"/>
                  <a:gd name="T48" fmla="*/ 1705 w 1886"/>
                  <a:gd name="T49" fmla="*/ 1624 h 1923"/>
                  <a:gd name="T50" fmla="*/ 1375 w 1886"/>
                  <a:gd name="T51" fmla="*/ 1841 h 1923"/>
                  <a:gd name="T52" fmla="*/ 954 w 1886"/>
                  <a:gd name="T53" fmla="*/ 1923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86" h="1923">
                    <a:moveTo>
                      <a:pt x="954" y="1923"/>
                    </a:moveTo>
                    <a:cubicBezTo>
                      <a:pt x="839" y="1923"/>
                      <a:pt x="731" y="1902"/>
                      <a:pt x="632" y="1861"/>
                    </a:cubicBezTo>
                    <a:cubicBezTo>
                      <a:pt x="423" y="1775"/>
                      <a:pt x="265" y="1603"/>
                      <a:pt x="176" y="1362"/>
                    </a:cubicBezTo>
                    <a:cubicBezTo>
                      <a:pt x="0" y="892"/>
                      <a:pt x="270" y="285"/>
                      <a:pt x="730" y="113"/>
                    </a:cubicBezTo>
                    <a:cubicBezTo>
                      <a:pt x="1033" y="0"/>
                      <a:pt x="1320" y="32"/>
                      <a:pt x="1539" y="203"/>
                    </a:cubicBezTo>
                    <a:cubicBezTo>
                      <a:pt x="1719" y="344"/>
                      <a:pt x="1886" y="693"/>
                      <a:pt x="1837" y="969"/>
                    </a:cubicBezTo>
                    <a:cubicBezTo>
                      <a:pt x="1809" y="1129"/>
                      <a:pt x="1711" y="1244"/>
                      <a:pt x="1561" y="1293"/>
                    </a:cubicBezTo>
                    <a:cubicBezTo>
                      <a:pt x="1494" y="1314"/>
                      <a:pt x="1428" y="1307"/>
                      <a:pt x="1371" y="1272"/>
                    </a:cubicBezTo>
                    <a:cubicBezTo>
                      <a:pt x="1248" y="1195"/>
                      <a:pt x="1210" y="1017"/>
                      <a:pt x="1200" y="944"/>
                    </a:cubicBezTo>
                    <a:cubicBezTo>
                      <a:pt x="1197" y="925"/>
                      <a:pt x="1186" y="873"/>
                      <a:pt x="1174" y="818"/>
                    </a:cubicBezTo>
                    <a:cubicBezTo>
                      <a:pt x="1141" y="663"/>
                      <a:pt x="1116" y="539"/>
                      <a:pt x="1113" y="473"/>
                    </a:cubicBezTo>
                    <a:cubicBezTo>
                      <a:pt x="1111" y="417"/>
                      <a:pt x="1154" y="371"/>
                      <a:pt x="1209" y="369"/>
                    </a:cubicBezTo>
                    <a:cubicBezTo>
                      <a:pt x="1265" y="367"/>
                      <a:pt x="1311" y="410"/>
                      <a:pt x="1313" y="465"/>
                    </a:cubicBezTo>
                    <a:cubicBezTo>
                      <a:pt x="1315" y="520"/>
                      <a:pt x="1348" y="674"/>
                      <a:pt x="1370" y="776"/>
                    </a:cubicBezTo>
                    <a:cubicBezTo>
                      <a:pt x="1383" y="840"/>
                      <a:pt x="1394" y="890"/>
                      <a:pt x="1398" y="916"/>
                    </a:cubicBezTo>
                    <a:cubicBezTo>
                      <a:pt x="1410" y="1002"/>
                      <a:pt x="1444" y="1082"/>
                      <a:pt x="1476" y="1102"/>
                    </a:cubicBezTo>
                    <a:cubicBezTo>
                      <a:pt x="1480" y="1104"/>
                      <a:pt x="1485" y="1107"/>
                      <a:pt x="1499" y="1102"/>
                    </a:cubicBezTo>
                    <a:cubicBezTo>
                      <a:pt x="1579" y="1077"/>
                      <a:pt x="1625" y="1021"/>
                      <a:pt x="1640" y="934"/>
                    </a:cubicBezTo>
                    <a:cubicBezTo>
                      <a:pt x="1674" y="740"/>
                      <a:pt x="1545" y="462"/>
                      <a:pt x="1416" y="361"/>
                    </a:cubicBezTo>
                    <a:cubicBezTo>
                      <a:pt x="1197" y="190"/>
                      <a:pt x="936" y="250"/>
                      <a:pt x="800" y="300"/>
                    </a:cubicBezTo>
                    <a:cubicBezTo>
                      <a:pt x="442" y="434"/>
                      <a:pt x="226" y="925"/>
                      <a:pt x="363" y="1293"/>
                    </a:cubicBezTo>
                    <a:cubicBezTo>
                      <a:pt x="509" y="1684"/>
                      <a:pt x="861" y="1819"/>
                      <a:pt x="1305" y="1653"/>
                    </a:cubicBezTo>
                    <a:cubicBezTo>
                      <a:pt x="1403" y="1617"/>
                      <a:pt x="1489" y="1560"/>
                      <a:pt x="1560" y="1486"/>
                    </a:cubicBezTo>
                    <a:cubicBezTo>
                      <a:pt x="1598" y="1446"/>
                      <a:pt x="1661" y="1444"/>
                      <a:pt x="1701" y="1482"/>
                    </a:cubicBezTo>
                    <a:cubicBezTo>
                      <a:pt x="1741" y="1520"/>
                      <a:pt x="1743" y="1584"/>
                      <a:pt x="1705" y="1624"/>
                    </a:cubicBezTo>
                    <a:cubicBezTo>
                      <a:pt x="1613" y="1720"/>
                      <a:pt x="1502" y="1793"/>
                      <a:pt x="1375" y="1841"/>
                    </a:cubicBezTo>
                    <a:cubicBezTo>
                      <a:pt x="1228" y="1895"/>
                      <a:pt x="1087" y="1923"/>
                      <a:pt x="954" y="19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1888">
                <a:extLst>
                  <a:ext uri="{FF2B5EF4-FFF2-40B4-BE49-F238E27FC236}">
                    <a16:creationId xmlns:a16="http://schemas.microsoft.com/office/drawing/2014/main" id="{6F0720FB-95FB-44AA-AE27-E241D99524F3}"/>
                  </a:ext>
                </a:extLst>
              </p:cNvPr>
              <p:cNvSpPr>
                <a:spLocks/>
              </p:cNvSpPr>
              <p:nvPr/>
            </p:nvSpPr>
            <p:spPr bwMode="auto">
              <a:xfrm>
                <a:off x="8501063" y="939800"/>
                <a:ext cx="28575" cy="39688"/>
              </a:xfrm>
              <a:custGeom>
                <a:avLst/>
                <a:gdLst>
                  <a:gd name="T0" fmla="*/ 370 w 817"/>
                  <a:gd name="T1" fmla="*/ 1127 h 1127"/>
                  <a:gd name="T2" fmla="*/ 136 w 817"/>
                  <a:gd name="T3" fmla="*/ 1030 h 1127"/>
                  <a:gd name="T4" fmla="*/ 16 w 817"/>
                  <a:gd name="T5" fmla="*/ 613 h 1127"/>
                  <a:gd name="T6" fmla="*/ 560 w 817"/>
                  <a:gd name="T7" fmla="*/ 13 h 1127"/>
                  <a:gd name="T8" fmla="*/ 680 w 817"/>
                  <a:gd name="T9" fmla="*/ 87 h 1127"/>
                  <a:gd name="T10" fmla="*/ 607 w 817"/>
                  <a:gd name="T11" fmla="*/ 208 h 1127"/>
                  <a:gd name="T12" fmla="*/ 214 w 817"/>
                  <a:gd name="T13" fmla="*/ 644 h 1127"/>
                  <a:gd name="T14" fmla="*/ 279 w 817"/>
                  <a:gd name="T15" fmla="*/ 890 h 1127"/>
                  <a:gd name="T16" fmla="*/ 394 w 817"/>
                  <a:gd name="T17" fmla="*/ 926 h 1127"/>
                  <a:gd name="T18" fmla="*/ 613 w 817"/>
                  <a:gd name="T19" fmla="*/ 640 h 1127"/>
                  <a:gd name="T20" fmla="*/ 722 w 817"/>
                  <a:gd name="T21" fmla="*/ 552 h 1127"/>
                  <a:gd name="T22" fmla="*/ 811 w 817"/>
                  <a:gd name="T23" fmla="*/ 663 h 1127"/>
                  <a:gd name="T24" fmla="*/ 419 w 817"/>
                  <a:gd name="T25" fmla="*/ 1124 h 1127"/>
                  <a:gd name="T26" fmla="*/ 370 w 817"/>
                  <a:gd name="T27" fmla="*/ 1127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7" h="1127">
                    <a:moveTo>
                      <a:pt x="370" y="1127"/>
                    </a:moveTo>
                    <a:cubicBezTo>
                      <a:pt x="278" y="1127"/>
                      <a:pt x="199" y="1095"/>
                      <a:pt x="136" y="1030"/>
                    </a:cubicBezTo>
                    <a:cubicBezTo>
                      <a:pt x="19" y="909"/>
                      <a:pt x="0" y="714"/>
                      <a:pt x="16" y="613"/>
                    </a:cubicBezTo>
                    <a:cubicBezTo>
                      <a:pt x="48" y="403"/>
                      <a:pt x="140" y="114"/>
                      <a:pt x="560" y="13"/>
                    </a:cubicBezTo>
                    <a:cubicBezTo>
                      <a:pt x="614" y="0"/>
                      <a:pt x="667" y="33"/>
                      <a:pt x="680" y="87"/>
                    </a:cubicBezTo>
                    <a:cubicBezTo>
                      <a:pt x="693" y="141"/>
                      <a:pt x="660" y="195"/>
                      <a:pt x="607" y="208"/>
                    </a:cubicBezTo>
                    <a:cubicBezTo>
                      <a:pt x="309" y="280"/>
                      <a:pt x="241" y="459"/>
                      <a:pt x="214" y="644"/>
                    </a:cubicBezTo>
                    <a:cubicBezTo>
                      <a:pt x="204" y="708"/>
                      <a:pt x="220" y="830"/>
                      <a:pt x="279" y="890"/>
                    </a:cubicBezTo>
                    <a:cubicBezTo>
                      <a:pt x="308" y="921"/>
                      <a:pt x="345" y="932"/>
                      <a:pt x="394" y="926"/>
                    </a:cubicBezTo>
                    <a:cubicBezTo>
                      <a:pt x="453" y="919"/>
                      <a:pt x="602" y="735"/>
                      <a:pt x="613" y="640"/>
                    </a:cubicBezTo>
                    <a:cubicBezTo>
                      <a:pt x="619" y="585"/>
                      <a:pt x="668" y="546"/>
                      <a:pt x="722" y="552"/>
                    </a:cubicBezTo>
                    <a:cubicBezTo>
                      <a:pt x="777" y="558"/>
                      <a:pt x="817" y="608"/>
                      <a:pt x="811" y="663"/>
                    </a:cubicBezTo>
                    <a:cubicBezTo>
                      <a:pt x="793" y="820"/>
                      <a:pt x="597" y="1103"/>
                      <a:pt x="419" y="1124"/>
                    </a:cubicBezTo>
                    <a:cubicBezTo>
                      <a:pt x="402" y="1126"/>
                      <a:pt x="386" y="1127"/>
                      <a:pt x="370" y="11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1889">
                <a:extLst>
                  <a:ext uri="{FF2B5EF4-FFF2-40B4-BE49-F238E27FC236}">
                    <a16:creationId xmlns:a16="http://schemas.microsoft.com/office/drawing/2014/main" id="{165F1F8B-C425-42BB-9054-CF01A9E75504}"/>
                  </a:ext>
                </a:extLst>
              </p:cNvPr>
              <p:cNvSpPr>
                <a:spLocks noChangeArrowheads="1"/>
              </p:cNvSpPr>
              <p:nvPr/>
            </p:nvSpPr>
            <p:spPr bwMode="auto">
              <a:xfrm>
                <a:off x="8728075" y="908050"/>
                <a:ext cx="42863"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1890">
                <a:extLst>
                  <a:ext uri="{FF2B5EF4-FFF2-40B4-BE49-F238E27FC236}">
                    <a16:creationId xmlns:a16="http://schemas.microsoft.com/office/drawing/2014/main" id="{E6B364D3-DAE1-40AC-A1DD-D39C07A72FEF}"/>
                  </a:ext>
                </a:extLst>
              </p:cNvPr>
              <p:cNvSpPr>
                <a:spLocks noChangeArrowheads="1"/>
              </p:cNvSpPr>
              <p:nvPr/>
            </p:nvSpPr>
            <p:spPr bwMode="auto">
              <a:xfrm>
                <a:off x="8728075" y="923925"/>
                <a:ext cx="30163"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1891">
                <a:extLst>
                  <a:ext uri="{FF2B5EF4-FFF2-40B4-BE49-F238E27FC236}">
                    <a16:creationId xmlns:a16="http://schemas.microsoft.com/office/drawing/2014/main" id="{F405DFC8-ED2D-4316-923D-F5EE6E191D44}"/>
                  </a:ext>
                </a:extLst>
              </p:cNvPr>
              <p:cNvSpPr>
                <a:spLocks/>
              </p:cNvSpPr>
              <p:nvPr/>
            </p:nvSpPr>
            <p:spPr bwMode="auto">
              <a:xfrm>
                <a:off x="8575675" y="1027113"/>
                <a:ext cx="14288" cy="12700"/>
              </a:xfrm>
              <a:custGeom>
                <a:avLst/>
                <a:gdLst>
                  <a:gd name="T0" fmla="*/ 179 w 367"/>
                  <a:gd name="T1" fmla="*/ 3 h 368"/>
                  <a:gd name="T2" fmla="*/ 364 w 367"/>
                  <a:gd name="T3" fmla="*/ 180 h 368"/>
                  <a:gd name="T4" fmla="*/ 188 w 367"/>
                  <a:gd name="T5" fmla="*/ 365 h 368"/>
                  <a:gd name="T6" fmla="*/ 2 w 367"/>
                  <a:gd name="T7" fmla="*/ 189 h 368"/>
                  <a:gd name="T8" fmla="*/ 179 w 367"/>
                  <a:gd name="T9" fmla="*/ 3 h 368"/>
                </a:gdLst>
                <a:ahLst/>
                <a:cxnLst>
                  <a:cxn ang="0">
                    <a:pos x="T0" y="T1"/>
                  </a:cxn>
                  <a:cxn ang="0">
                    <a:pos x="T2" y="T3"/>
                  </a:cxn>
                  <a:cxn ang="0">
                    <a:pos x="T4" y="T5"/>
                  </a:cxn>
                  <a:cxn ang="0">
                    <a:pos x="T6" y="T7"/>
                  </a:cxn>
                  <a:cxn ang="0">
                    <a:pos x="T8" y="T9"/>
                  </a:cxn>
                </a:cxnLst>
                <a:rect l="0" t="0" r="r" b="b"/>
                <a:pathLst>
                  <a:path w="367" h="368">
                    <a:moveTo>
                      <a:pt x="179" y="3"/>
                    </a:moveTo>
                    <a:cubicBezTo>
                      <a:pt x="279" y="0"/>
                      <a:pt x="362" y="79"/>
                      <a:pt x="364" y="180"/>
                    </a:cubicBezTo>
                    <a:cubicBezTo>
                      <a:pt x="367" y="280"/>
                      <a:pt x="288" y="363"/>
                      <a:pt x="188" y="365"/>
                    </a:cubicBezTo>
                    <a:cubicBezTo>
                      <a:pt x="88" y="368"/>
                      <a:pt x="5" y="289"/>
                      <a:pt x="2" y="189"/>
                    </a:cubicBezTo>
                    <a:cubicBezTo>
                      <a:pt x="0" y="88"/>
                      <a:pt x="78" y="6"/>
                      <a:pt x="17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1892">
                <a:extLst>
                  <a:ext uri="{FF2B5EF4-FFF2-40B4-BE49-F238E27FC236}">
                    <a16:creationId xmlns:a16="http://schemas.microsoft.com/office/drawing/2014/main" id="{1342305B-8262-45B8-A707-207E4B3300DB}"/>
                  </a:ext>
                </a:extLst>
              </p:cNvPr>
              <p:cNvSpPr>
                <a:spLocks noEditPoints="1"/>
              </p:cNvSpPr>
              <p:nvPr/>
            </p:nvSpPr>
            <p:spPr bwMode="auto">
              <a:xfrm>
                <a:off x="8575675" y="1027113"/>
                <a:ext cx="14288" cy="12700"/>
              </a:xfrm>
              <a:custGeom>
                <a:avLst/>
                <a:gdLst>
                  <a:gd name="T0" fmla="*/ 193 w 383"/>
                  <a:gd name="T1" fmla="*/ 17 h 379"/>
                  <a:gd name="T2" fmla="*/ 188 w 383"/>
                  <a:gd name="T3" fmla="*/ 17 h 379"/>
                  <a:gd name="T4" fmla="*/ 19 w 383"/>
                  <a:gd name="T5" fmla="*/ 195 h 379"/>
                  <a:gd name="T6" fmla="*/ 193 w 383"/>
                  <a:gd name="T7" fmla="*/ 363 h 379"/>
                  <a:gd name="T8" fmla="*/ 197 w 383"/>
                  <a:gd name="T9" fmla="*/ 363 h 379"/>
                  <a:gd name="T10" fmla="*/ 318 w 383"/>
                  <a:gd name="T11" fmla="*/ 309 h 379"/>
                  <a:gd name="T12" fmla="*/ 365 w 383"/>
                  <a:gd name="T13" fmla="*/ 186 h 379"/>
                  <a:gd name="T14" fmla="*/ 193 w 383"/>
                  <a:gd name="T15" fmla="*/ 17 h 379"/>
                  <a:gd name="T16" fmla="*/ 193 w 383"/>
                  <a:gd name="T17" fmla="*/ 379 h 379"/>
                  <a:gd name="T18" fmla="*/ 3 w 383"/>
                  <a:gd name="T19" fmla="*/ 195 h 379"/>
                  <a:gd name="T20" fmla="*/ 188 w 383"/>
                  <a:gd name="T21" fmla="*/ 0 h 379"/>
                  <a:gd name="T22" fmla="*/ 193 w 383"/>
                  <a:gd name="T23" fmla="*/ 0 h 379"/>
                  <a:gd name="T24" fmla="*/ 382 w 383"/>
                  <a:gd name="T25" fmla="*/ 186 h 379"/>
                  <a:gd name="T26" fmla="*/ 330 w 383"/>
                  <a:gd name="T27" fmla="*/ 321 h 379"/>
                  <a:gd name="T28" fmla="*/ 198 w 383"/>
                  <a:gd name="T29" fmla="*/ 379 h 379"/>
                  <a:gd name="T30" fmla="*/ 193 w 383"/>
                  <a:gd name="T31"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3" h="379">
                    <a:moveTo>
                      <a:pt x="193" y="17"/>
                    </a:moveTo>
                    <a:lnTo>
                      <a:pt x="188" y="17"/>
                    </a:lnTo>
                    <a:cubicBezTo>
                      <a:pt x="92" y="20"/>
                      <a:pt x="17" y="99"/>
                      <a:pt x="19" y="195"/>
                    </a:cubicBezTo>
                    <a:cubicBezTo>
                      <a:pt x="22" y="289"/>
                      <a:pt x="98" y="363"/>
                      <a:pt x="193" y="363"/>
                    </a:cubicBezTo>
                    <a:lnTo>
                      <a:pt x="197" y="363"/>
                    </a:lnTo>
                    <a:cubicBezTo>
                      <a:pt x="243" y="362"/>
                      <a:pt x="286" y="343"/>
                      <a:pt x="318" y="309"/>
                    </a:cubicBezTo>
                    <a:cubicBezTo>
                      <a:pt x="349" y="276"/>
                      <a:pt x="366" y="232"/>
                      <a:pt x="365" y="186"/>
                    </a:cubicBezTo>
                    <a:cubicBezTo>
                      <a:pt x="363" y="91"/>
                      <a:pt x="287" y="17"/>
                      <a:pt x="193" y="17"/>
                    </a:cubicBezTo>
                    <a:close/>
                    <a:moveTo>
                      <a:pt x="193" y="379"/>
                    </a:moveTo>
                    <a:cubicBezTo>
                      <a:pt x="89" y="379"/>
                      <a:pt x="5" y="298"/>
                      <a:pt x="3" y="195"/>
                    </a:cubicBezTo>
                    <a:cubicBezTo>
                      <a:pt x="0" y="90"/>
                      <a:pt x="83" y="3"/>
                      <a:pt x="188" y="0"/>
                    </a:cubicBezTo>
                    <a:lnTo>
                      <a:pt x="193" y="0"/>
                    </a:lnTo>
                    <a:cubicBezTo>
                      <a:pt x="296" y="0"/>
                      <a:pt x="379" y="81"/>
                      <a:pt x="382" y="186"/>
                    </a:cubicBezTo>
                    <a:cubicBezTo>
                      <a:pt x="383" y="236"/>
                      <a:pt x="365" y="284"/>
                      <a:pt x="330" y="321"/>
                    </a:cubicBezTo>
                    <a:cubicBezTo>
                      <a:pt x="295" y="357"/>
                      <a:pt x="248" y="378"/>
                      <a:pt x="198" y="379"/>
                    </a:cubicBezTo>
                    <a:lnTo>
                      <a:pt x="193" y="37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1893">
                <a:extLst>
                  <a:ext uri="{FF2B5EF4-FFF2-40B4-BE49-F238E27FC236}">
                    <a16:creationId xmlns:a16="http://schemas.microsoft.com/office/drawing/2014/main" id="{3C91EFF2-715C-49E3-9412-E2362438EA0B}"/>
                  </a:ext>
                </a:extLst>
              </p:cNvPr>
              <p:cNvSpPr>
                <a:spLocks/>
              </p:cNvSpPr>
              <p:nvPr/>
            </p:nvSpPr>
            <p:spPr bwMode="auto">
              <a:xfrm>
                <a:off x="8559800" y="1011238"/>
                <a:ext cx="26988" cy="28575"/>
              </a:xfrm>
              <a:custGeom>
                <a:avLst/>
                <a:gdLst>
                  <a:gd name="T0" fmla="*/ 11 w 735"/>
                  <a:gd name="T1" fmla="*/ 768 h 768"/>
                  <a:gd name="T2" fmla="*/ 5 w 735"/>
                  <a:gd name="T3" fmla="*/ 669 h 768"/>
                  <a:gd name="T4" fmla="*/ 5 w 735"/>
                  <a:gd name="T5" fmla="*/ 647 h 768"/>
                  <a:gd name="T6" fmla="*/ 177 w 735"/>
                  <a:gd name="T7" fmla="*/ 196 h 768"/>
                  <a:gd name="T8" fmla="*/ 619 w 735"/>
                  <a:gd name="T9" fmla="*/ 0 h 768"/>
                  <a:gd name="T10" fmla="*/ 635 w 735"/>
                  <a:gd name="T11" fmla="*/ 0 h 768"/>
                  <a:gd name="T12" fmla="*/ 735 w 735"/>
                  <a:gd name="T13" fmla="*/ 0 h 768"/>
                  <a:gd name="T14" fmla="*/ 735 w 735"/>
                  <a:gd name="T15" fmla="*/ 199 h 768"/>
                  <a:gd name="T16" fmla="*/ 635 w 735"/>
                  <a:gd name="T17" fmla="*/ 199 h 768"/>
                  <a:gd name="T18" fmla="*/ 624 w 735"/>
                  <a:gd name="T19" fmla="*/ 200 h 768"/>
                  <a:gd name="T20" fmla="*/ 322 w 735"/>
                  <a:gd name="T21" fmla="*/ 334 h 768"/>
                  <a:gd name="T22" fmla="*/ 204 w 735"/>
                  <a:gd name="T23" fmla="*/ 642 h 768"/>
                  <a:gd name="T24" fmla="*/ 205 w 735"/>
                  <a:gd name="T25" fmla="*/ 658 h 768"/>
                  <a:gd name="T26" fmla="*/ 210 w 735"/>
                  <a:gd name="T27" fmla="*/ 757 h 768"/>
                  <a:gd name="T28" fmla="*/ 11 w 735"/>
                  <a:gd name="T29" fmla="*/ 768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5" h="768">
                    <a:moveTo>
                      <a:pt x="11" y="768"/>
                    </a:moveTo>
                    <a:lnTo>
                      <a:pt x="5" y="669"/>
                    </a:lnTo>
                    <a:lnTo>
                      <a:pt x="5" y="647"/>
                    </a:lnTo>
                    <a:cubicBezTo>
                      <a:pt x="0" y="479"/>
                      <a:pt x="62" y="319"/>
                      <a:pt x="177" y="196"/>
                    </a:cubicBezTo>
                    <a:cubicBezTo>
                      <a:pt x="293" y="74"/>
                      <a:pt x="450" y="4"/>
                      <a:pt x="619" y="0"/>
                    </a:cubicBezTo>
                    <a:lnTo>
                      <a:pt x="635" y="0"/>
                    </a:lnTo>
                    <a:lnTo>
                      <a:pt x="735" y="0"/>
                    </a:lnTo>
                    <a:lnTo>
                      <a:pt x="735" y="199"/>
                    </a:lnTo>
                    <a:lnTo>
                      <a:pt x="635" y="199"/>
                    </a:lnTo>
                    <a:cubicBezTo>
                      <a:pt x="632" y="199"/>
                      <a:pt x="628" y="199"/>
                      <a:pt x="624" y="200"/>
                    </a:cubicBezTo>
                    <a:cubicBezTo>
                      <a:pt x="508" y="202"/>
                      <a:pt x="401" y="250"/>
                      <a:pt x="322" y="334"/>
                    </a:cubicBezTo>
                    <a:cubicBezTo>
                      <a:pt x="243" y="418"/>
                      <a:pt x="201" y="527"/>
                      <a:pt x="204" y="642"/>
                    </a:cubicBezTo>
                    <a:cubicBezTo>
                      <a:pt x="204" y="647"/>
                      <a:pt x="205" y="652"/>
                      <a:pt x="205" y="658"/>
                    </a:cubicBezTo>
                    <a:lnTo>
                      <a:pt x="210" y="757"/>
                    </a:lnTo>
                    <a:lnTo>
                      <a:pt x="11" y="76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1894">
                <a:extLst>
                  <a:ext uri="{FF2B5EF4-FFF2-40B4-BE49-F238E27FC236}">
                    <a16:creationId xmlns:a16="http://schemas.microsoft.com/office/drawing/2014/main" id="{AA1B893B-BCB8-47C5-8178-9E5DEE341932}"/>
                  </a:ext>
                </a:extLst>
              </p:cNvPr>
              <p:cNvSpPr>
                <a:spLocks/>
              </p:cNvSpPr>
              <p:nvPr/>
            </p:nvSpPr>
            <p:spPr bwMode="auto">
              <a:xfrm>
                <a:off x="8545513" y="993775"/>
                <a:ext cx="41275" cy="46038"/>
              </a:xfrm>
              <a:custGeom>
                <a:avLst/>
                <a:gdLst>
                  <a:gd name="T0" fmla="*/ 20 w 1147"/>
                  <a:gd name="T1" fmla="*/ 1253 h 1253"/>
                  <a:gd name="T2" fmla="*/ 16 w 1147"/>
                  <a:gd name="T3" fmla="*/ 1154 h 1253"/>
                  <a:gd name="T4" fmla="*/ 15 w 1147"/>
                  <a:gd name="T5" fmla="*/ 1134 h 1253"/>
                  <a:gd name="T6" fmla="*/ 1031 w 1147"/>
                  <a:gd name="T7" fmla="*/ 8 h 1253"/>
                  <a:gd name="T8" fmla="*/ 1132 w 1147"/>
                  <a:gd name="T9" fmla="*/ 0 h 1253"/>
                  <a:gd name="T10" fmla="*/ 1147 w 1147"/>
                  <a:gd name="T11" fmla="*/ 200 h 1253"/>
                  <a:gd name="T12" fmla="*/ 1046 w 1147"/>
                  <a:gd name="T13" fmla="*/ 207 h 1253"/>
                  <a:gd name="T14" fmla="*/ 214 w 1147"/>
                  <a:gd name="T15" fmla="*/ 1129 h 1253"/>
                  <a:gd name="T16" fmla="*/ 215 w 1147"/>
                  <a:gd name="T17" fmla="*/ 1145 h 1253"/>
                  <a:gd name="T18" fmla="*/ 220 w 1147"/>
                  <a:gd name="T19" fmla="*/ 1244 h 1253"/>
                  <a:gd name="T20" fmla="*/ 20 w 1147"/>
                  <a:gd name="T21" fmla="*/ 1253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7" h="1253">
                    <a:moveTo>
                      <a:pt x="20" y="1253"/>
                    </a:moveTo>
                    <a:lnTo>
                      <a:pt x="16" y="1154"/>
                    </a:lnTo>
                    <a:cubicBezTo>
                      <a:pt x="15" y="1147"/>
                      <a:pt x="15" y="1141"/>
                      <a:pt x="15" y="1134"/>
                    </a:cubicBezTo>
                    <a:cubicBezTo>
                      <a:pt x="0" y="547"/>
                      <a:pt x="446" y="52"/>
                      <a:pt x="1031" y="8"/>
                    </a:cubicBezTo>
                    <a:lnTo>
                      <a:pt x="1132" y="0"/>
                    </a:lnTo>
                    <a:lnTo>
                      <a:pt x="1147" y="200"/>
                    </a:lnTo>
                    <a:lnTo>
                      <a:pt x="1046" y="207"/>
                    </a:lnTo>
                    <a:cubicBezTo>
                      <a:pt x="568" y="243"/>
                      <a:pt x="202" y="648"/>
                      <a:pt x="214" y="1129"/>
                    </a:cubicBezTo>
                    <a:cubicBezTo>
                      <a:pt x="215" y="1135"/>
                      <a:pt x="215" y="1140"/>
                      <a:pt x="215" y="1145"/>
                    </a:cubicBezTo>
                    <a:lnTo>
                      <a:pt x="220" y="1244"/>
                    </a:lnTo>
                    <a:lnTo>
                      <a:pt x="20" y="12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1895">
                <a:extLst>
                  <a:ext uri="{FF2B5EF4-FFF2-40B4-BE49-F238E27FC236}">
                    <a16:creationId xmlns:a16="http://schemas.microsoft.com/office/drawing/2014/main" id="{9C8F6C96-768A-4D69-B641-94F3FC24119E}"/>
                  </a:ext>
                </a:extLst>
              </p:cNvPr>
              <p:cNvSpPr>
                <a:spLocks/>
              </p:cNvSpPr>
              <p:nvPr/>
            </p:nvSpPr>
            <p:spPr bwMode="auto">
              <a:xfrm>
                <a:off x="8531225" y="979488"/>
                <a:ext cx="57150" cy="60325"/>
              </a:xfrm>
              <a:custGeom>
                <a:avLst/>
                <a:gdLst>
                  <a:gd name="T0" fmla="*/ 9 w 1568"/>
                  <a:gd name="T1" fmla="*/ 1650 h 1650"/>
                  <a:gd name="T2" fmla="*/ 7 w 1568"/>
                  <a:gd name="T3" fmla="*/ 1551 h 1650"/>
                  <a:gd name="T4" fmla="*/ 420 w 1568"/>
                  <a:gd name="T5" fmla="*/ 483 h 1650"/>
                  <a:gd name="T6" fmla="*/ 1458 w 1568"/>
                  <a:gd name="T7" fmla="*/ 6 h 1650"/>
                  <a:gd name="T8" fmla="*/ 1559 w 1568"/>
                  <a:gd name="T9" fmla="*/ 0 h 1650"/>
                  <a:gd name="T10" fmla="*/ 1568 w 1568"/>
                  <a:gd name="T11" fmla="*/ 201 h 1650"/>
                  <a:gd name="T12" fmla="*/ 1467 w 1568"/>
                  <a:gd name="T13" fmla="*/ 205 h 1650"/>
                  <a:gd name="T14" fmla="*/ 207 w 1568"/>
                  <a:gd name="T15" fmla="*/ 1547 h 1650"/>
                  <a:gd name="T16" fmla="*/ 208 w 1568"/>
                  <a:gd name="T17" fmla="*/ 1647 h 1650"/>
                  <a:gd name="T18" fmla="*/ 9 w 1568"/>
                  <a:gd name="T19" fmla="*/ 165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8" h="1650">
                    <a:moveTo>
                      <a:pt x="9" y="1650"/>
                    </a:moveTo>
                    <a:lnTo>
                      <a:pt x="7" y="1551"/>
                    </a:lnTo>
                    <a:cubicBezTo>
                      <a:pt x="0" y="1152"/>
                      <a:pt x="146" y="773"/>
                      <a:pt x="420" y="483"/>
                    </a:cubicBezTo>
                    <a:cubicBezTo>
                      <a:pt x="692" y="193"/>
                      <a:pt x="1062" y="24"/>
                      <a:pt x="1458" y="6"/>
                    </a:cubicBezTo>
                    <a:lnTo>
                      <a:pt x="1559" y="0"/>
                    </a:lnTo>
                    <a:lnTo>
                      <a:pt x="1568" y="201"/>
                    </a:lnTo>
                    <a:lnTo>
                      <a:pt x="1467" y="205"/>
                    </a:lnTo>
                    <a:cubicBezTo>
                      <a:pt x="748" y="238"/>
                      <a:pt x="194" y="827"/>
                      <a:pt x="207" y="1547"/>
                    </a:cubicBezTo>
                    <a:lnTo>
                      <a:pt x="208" y="1647"/>
                    </a:lnTo>
                    <a:lnTo>
                      <a:pt x="9" y="165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1896">
                <a:extLst>
                  <a:ext uri="{FF2B5EF4-FFF2-40B4-BE49-F238E27FC236}">
                    <a16:creationId xmlns:a16="http://schemas.microsoft.com/office/drawing/2014/main" id="{648F4977-6F06-4631-B226-4948FBE905C1}"/>
                  </a:ext>
                </a:extLst>
              </p:cNvPr>
              <p:cNvSpPr>
                <a:spLocks noChangeArrowheads="1"/>
              </p:cNvSpPr>
              <p:nvPr/>
            </p:nvSpPr>
            <p:spPr bwMode="auto">
              <a:xfrm>
                <a:off x="8759825" y="949325"/>
                <a:ext cx="6350"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1897">
                <a:extLst>
                  <a:ext uri="{FF2B5EF4-FFF2-40B4-BE49-F238E27FC236}">
                    <a16:creationId xmlns:a16="http://schemas.microsoft.com/office/drawing/2014/main" id="{366A6B36-510E-4EF6-85F3-4B7C2F690CDB}"/>
                  </a:ext>
                </a:extLst>
              </p:cNvPr>
              <p:cNvSpPr>
                <a:spLocks noEditPoints="1"/>
              </p:cNvSpPr>
              <p:nvPr/>
            </p:nvSpPr>
            <p:spPr bwMode="auto">
              <a:xfrm>
                <a:off x="8715375" y="973138"/>
                <a:ext cx="50800" cy="65088"/>
              </a:xfrm>
              <a:custGeom>
                <a:avLst/>
                <a:gdLst>
                  <a:gd name="T0" fmla="*/ 1393 w 1393"/>
                  <a:gd name="T1" fmla="*/ 400 h 1786"/>
                  <a:gd name="T2" fmla="*/ 1192 w 1393"/>
                  <a:gd name="T3" fmla="*/ 400 h 1786"/>
                  <a:gd name="T4" fmla="*/ 1192 w 1393"/>
                  <a:gd name="T5" fmla="*/ 0 h 1786"/>
                  <a:gd name="T6" fmla="*/ 1393 w 1393"/>
                  <a:gd name="T7" fmla="*/ 0 h 1786"/>
                  <a:gd name="T8" fmla="*/ 1393 w 1393"/>
                  <a:gd name="T9" fmla="*/ 400 h 1786"/>
                  <a:gd name="T10" fmla="*/ 1393 w 1393"/>
                  <a:gd name="T11" fmla="*/ 1064 h 1786"/>
                  <a:gd name="T12" fmla="*/ 1192 w 1393"/>
                  <a:gd name="T13" fmla="*/ 1064 h 1786"/>
                  <a:gd name="T14" fmla="*/ 1192 w 1393"/>
                  <a:gd name="T15" fmla="*/ 665 h 1786"/>
                  <a:gd name="T16" fmla="*/ 1393 w 1393"/>
                  <a:gd name="T17" fmla="*/ 665 h 1786"/>
                  <a:gd name="T18" fmla="*/ 1393 w 1393"/>
                  <a:gd name="T19" fmla="*/ 1064 h 1786"/>
                  <a:gd name="T20" fmla="*/ 1282 w 1393"/>
                  <a:gd name="T21" fmla="*/ 1763 h 1786"/>
                  <a:gd name="T22" fmla="*/ 1121 w 1393"/>
                  <a:gd name="T23" fmla="*/ 1643 h 1786"/>
                  <a:gd name="T24" fmla="*/ 1181 w 1393"/>
                  <a:gd name="T25" fmla="*/ 1563 h 1786"/>
                  <a:gd name="T26" fmla="*/ 1192 w 1393"/>
                  <a:gd name="T27" fmla="*/ 1528 h 1786"/>
                  <a:gd name="T28" fmla="*/ 1192 w 1393"/>
                  <a:gd name="T29" fmla="*/ 1329 h 1786"/>
                  <a:gd name="T30" fmla="*/ 1393 w 1393"/>
                  <a:gd name="T31" fmla="*/ 1329 h 1786"/>
                  <a:gd name="T32" fmla="*/ 1393 w 1393"/>
                  <a:gd name="T33" fmla="*/ 1528 h 1786"/>
                  <a:gd name="T34" fmla="*/ 1343 w 1393"/>
                  <a:gd name="T35" fmla="*/ 1682 h 1786"/>
                  <a:gd name="T36" fmla="*/ 1282 w 1393"/>
                  <a:gd name="T37" fmla="*/ 1763 h 1786"/>
                  <a:gd name="T38" fmla="*/ 252 w 1393"/>
                  <a:gd name="T39" fmla="*/ 1786 h 1786"/>
                  <a:gd name="T40" fmla="*/ 0 w 1393"/>
                  <a:gd name="T41" fmla="*/ 1786 h 1786"/>
                  <a:gd name="T42" fmla="*/ 0 w 1393"/>
                  <a:gd name="T43" fmla="*/ 1587 h 1786"/>
                  <a:gd name="T44" fmla="*/ 252 w 1393"/>
                  <a:gd name="T45" fmla="*/ 1587 h 1786"/>
                  <a:gd name="T46" fmla="*/ 252 w 1393"/>
                  <a:gd name="T47" fmla="*/ 1786 h 1786"/>
                  <a:gd name="T48" fmla="*/ 918 w 1393"/>
                  <a:gd name="T49" fmla="*/ 1786 h 1786"/>
                  <a:gd name="T50" fmla="*/ 518 w 1393"/>
                  <a:gd name="T51" fmla="*/ 1786 h 1786"/>
                  <a:gd name="T52" fmla="*/ 518 w 1393"/>
                  <a:gd name="T53" fmla="*/ 1587 h 1786"/>
                  <a:gd name="T54" fmla="*/ 918 w 1393"/>
                  <a:gd name="T55" fmla="*/ 1587 h 1786"/>
                  <a:gd name="T56" fmla="*/ 918 w 1393"/>
                  <a:gd name="T57" fmla="*/ 1786 h 1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3" h="1786">
                    <a:moveTo>
                      <a:pt x="1393" y="400"/>
                    </a:moveTo>
                    <a:lnTo>
                      <a:pt x="1192" y="400"/>
                    </a:lnTo>
                    <a:lnTo>
                      <a:pt x="1192" y="0"/>
                    </a:lnTo>
                    <a:lnTo>
                      <a:pt x="1393" y="0"/>
                    </a:lnTo>
                    <a:lnTo>
                      <a:pt x="1393" y="400"/>
                    </a:lnTo>
                    <a:close/>
                    <a:moveTo>
                      <a:pt x="1393" y="1064"/>
                    </a:moveTo>
                    <a:lnTo>
                      <a:pt x="1192" y="1064"/>
                    </a:lnTo>
                    <a:lnTo>
                      <a:pt x="1192" y="665"/>
                    </a:lnTo>
                    <a:lnTo>
                      <a:pt x="1393" y="665"/>
                    </a:lnTo>
                    <a:lnTo>
                      <a:pt x="1393" y="1064"/>
                    </a:lnTo>
                    <a:close/>
                    <a:moveTo>
                      <a:pt x="1282" y="1763"/>
                    </a:moveTo>
                    <a:lnTo>
                      <a:pt x="1121" y="1643"/>
                    </a:lnTo>
                    <a:lnTo>
                      <a:pt x="1181" y="1563"/>
                    </a:lnTo>
                    <a:cubicBezTo>
                      <a:pt x="1186" y="1556"/>
                      <a:pt x="1192" y="1544"/>
                      <a:pt x="1192" y="1528"/>
                    </a:cubicBezTo>
                    <a:lnTo>
                      <a:pt x="1192" y="1329"/>
                    </a:lnTo>
                    <a:lnTo>
                      <a:pt x="1393" y="1329"/>
                    </a:lnTo>
                    <a:lnTo>
                      <a:pt x="1393" y="1528"/>
                    </a:lnTo>
                    <a:cubicBezTo>
                      <a:pt x="1393" y="1584"/>
                      <a:pt x="1376" y="1637"/>
                      <a:pt x="1343" y="1682"/>
                    </a:cubicBezTo>
                    <a:lnTo>
                      <a:pt x="1282" y="1763"/>
                    </a:lnTo>
                    <a:close/>
                    <a:moveTo>
                      <a:pt x="252" y="1786"/>
                    </a:moveTo>
                    <a:lnTo>
                      <a:pt x="0" y="1786"/>
                    </a:lnTo>
                    <a:lnTo>
                      <a:pt x="0" y="1587"/>
                    </a:lnTo>
                    <a:lnTo>
                      <a:pt x="252" y="1587"/>
                    </a:lnTo>
                    <a:lnTo>
                      <a:pt x="252" y="1786"/>
                    </a:lnTo>
                    <a:close/>
                    <a:moveTo>
                      <a:pt x="918" y="1786"/>
                    </a:moveTo>
                    <a:lnTo>
                      <a:pt x="518" y="1786"/>
                    </a:lnTo>
                    <a:lnTo>
                      <a:pt x="518" y="1587"/>
                    </a:lnTo>
                    <a:lnTo>
                      <a:pt x="918" y="1587"/>
                    </a:lnTo>
                    <a:lnTo>
                      <a:pt x="918" y="1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1898">
                <a:extLst>
                  <a:ext uri="{FF2B5EF4-FFF2-40B4-BE49-F238E27FC236}">
                    <a16:creationId xmlns:a16="http://schemas.microsoft.com/office/drawing/2014/main" id="{71011AD1-E8A1-4E1E-BC51-0F543AB59EBC}"/>
                  </a:ext>
                </a:extLst>
              </p:cNvPr>
              <p:cNvSpPr>
                <a:spLocks noChangeArrowheads="1"/>
              </p:cNvSpPr>
              <p:nvPr/>
            </p:nvSpPr>
            <p:spPr bwMode="auto">
              <a:xfrm>
                <a:off x="8702675" y="1030288"/>
                <a:ext cx="11113"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1899">
                <a:extLst>
                  <a:ext uri="{FF2B5EF4-FFF2-40B4-BE49-F238E27FC236}">
                    <a16:creationId xmlns:a16="http://schemas.microsoft.com/office/drawing/2014/main" id="{FBABD43E-582E-44AA-AB6F-099B23676BFC}"/>
                  </a:ext>
                </a:extLst>
              </p:cNvPr>
              <p:cNvSpPr>
                <a:spLocks/>
              </p:cNvSpPr>
              <p:nvPr/>
            </p:nvSpPr>
            <p:spPr bwMode="auto">
              <a:xfrm>
                <a:off x="8615363" y="809625"/>
                <a:ext cx="12700" cy="7938"/>
              </a:xfrm>
              <a:custGeom>
                <a:avLst/>
                <a:gdLst>
                  <a:gd name="T0" fmla="*/ 52 w 335"/>
                  <a:gd name="T1" fmla="*/ 228 h 228"/>
                  <a:gd name="T2" fmla="*/ 0 w 335"/>
                  <a:gd name="T3" fmla="*/ 34 h 228"/>
                  <a:gd name="T4" fmla="*/ 97 w 335"/>
                  <a:gd name="T5" fmla="*/ 9 h 228"/>
                  <a:gd name="T6" fmla="*/ 164 w 335"/>
                  <a:gd name="T7" fmla="*/ 0 h 228"/>
                  <a:gd name="T8" fmla="*/ 335 w 335"/>
                  <a:gd name="T9" fmla="*/ 0 h 228"/>
                  <a:gd name="T10" fmla="*/ 335 w 335"/>
                  <a:gd name="T11" fmla="*/ 200 h 228"/>
                  <a:gd name="T12" fmla="*/ 164 w 335"/>
                  <a:gd name="T13" fmla="*/ 200 h 228"/>
                  <a:gd name="T14" fmla="*/ 149 w 335"/>
                  <a:gd name="T15" fmla="*/ 202 h 228"/>
                  <a:gd name="T16" fmla="*/ 52 w 335"/>
                  <a:gd name="T17"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5" h="228">
                    <a:moveTo>
                      <a:pt x="52" y="228"/>
                    </a:moveTo>
                    <a:lnTo>
                      <a:pt x="0" y="34"/>
                    </a:lnTo>
                    <a:lnTo>
                      <a:pt x="97" y="9"/>
                    </a:lnTo>
                    <a:cubicBezTo>
                      <a:pt x="118" y="3"/>
                      <a:pt x="142" y="0"/>
                      <a:pt x="164" y="0"/>
                    </a:cubicBezTo>
                    <a:lnTo>
                      <a:pt x="335" y="0"/>
                    </a:lnTo>
                    <a:lnTo>
                      <a:pt x="335" y="200"/>
                    </a:lnTo>
                    <a:lnTo>
                      <a:pt x="164" y="200"/>
                    </a:lnTo>
                    <a:cubicBezTo>
                      <a:pt x="159" y="200"/>
                      <a:pt x="154" y="201"/>
                      <a:pt x="149" y="202"/>
                    </a:cubicBezTo>
                    <a:lnTo>
                      <a:pt x="52" y="22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1900">
                <a:extLst>
                  <a:ext uri="{FF2B5EF4-FFF2-40B4-BE49-F238E27FC236}">
                    <a16:creationId xmlns:a16="http://schemas.microsoft.com/office/drawing/2014/main" id="{09386360-5B85-4712-964C-3918F3D76328}"/>
                  </a:ext>
                </a:extLst>
              </p:cNvPr>
              <p:cNvSpPr>
                <a:spLocks noEditPoints="1"/>
              </p:cNvSpPr>
              <p:nvPr/>
            </p:nvSpPr>
            <p:spPr bwMode="auto">
              <a:xfrm>
                <a:off x="8639175" y="809625"/>
                <a:ext cx="127000" cy="63500"/>
              </a:xfrm>
              <a:custGeom>
                <a:avLst/>
                <a:gdLst>
                  <a:gd name="T0" fmla="*/ 398 w 3515"/>
                  <a:gd name="T1" fmla="*/ 200 h 1758"/>
                  <a:gd name="T2" fmla="*/ 0 w 3515"/>
                  <a:gd name="T3" fmla="*/ 200 h 1758"/>
                  <a:gd name="T4" fmla="*/ 0 w 3515"/>
                  <a:gd name="T5" fmla="*/ 0 h 1758"/>
                  <a:gd name="T6" fmla="*/ 398 w 3515"/>
                  <a:gd name="T7" fmla="*/ 0 h 1758"/>
                  <a:gd name="T8" fmla="*/ 398 w 3515"/>
                  <a:gd name="T9" fmla="*/ 200 h 1758"/>
                  <a:gd name="T10" fmla="*/ 1056 w 3515"/>
                  <a:gd name="T11" fmla="*/ 200 h 1758"/>
                  <a:gd name="T12" fmla="*/ 658 w 3515"/>
                  <a:gd name="T13" fmla="*/ 200 h 1758"/>
                  <a:gd name="T14" fmla="*/ 658 w 3515"/>
                  <a:gd name="T15" fmla="*/ 0 h 1758"/>
                  <a:gd name="T16" fmla="*/ 1056 w 3515"/>
                  <a:gd name="T17" fmla="*/ 0 h 1758"/>
                  <a:gd name="T18" fmla="*/ 1056 w 3515"/>
                  <a:gd name="T19" fmla="*/ 200 h 1758"/>
                  <a:gd name="T20" fmla="*/ 1714 w 3515"/>
                  <a:gd name="T21" fmla="*/ 200 h 1758"/>
                  <a:gd name="T22" fmla="*/ 1317 w 3515"/>
                  <a:gd name="T23" fmla="*/ 200 h 1758"/>
                  <a:gd name="T24" fmla="*/ 1317 w 3515"/>
                  <a:gd name="T25" fmla="*/ 0 h 1758"/>
                  <a:gd name="T26" fmla="*/ 1714 w 3515"/>
                  <a:gd name="T27" fmla="*/ 0 h 1758"/>
                  <a:gd name="T28" fmla="*/ 1714 w 3515"/>
                  <a:gd name="T29" fmla="*/ 200 h 1758"/>
                  <a:gd name="T30" fmla="*/ 2371 w 3515"/>
                  <a:gd name="T31" fmla="*/ 200 h 1758"/>
                  <a:gd name="T32" fmla="*/ 1974 w 3515"/>
                  <a:gd name="T33" fmla="*/ 200 h 1758"/>
                  <a:gd name="T34" fmla="*/ 1974 w 3515"/>
                  <a:gd name="T35" fmla="*/ 0 h 1758"/>
                  <a:gd name="T36" fmla="*/ 2371 w 3515"/>
                  <a:gd name="T37" fmla="*/ 0 h 1758"/>
                  <a:gd name="T38" fmla="*/ 2371 w 3515"/>
                  <a:gd name="T39" fmla="*/ 200 h 1758"/>
                  <a:gd name="T40" fmla="*/ 3030 w 3515"/>
                  <a:gd name="T41" fmla="*/ 200 h 1758"/>
                  <a:gd name="T42" fmla="*/ 2633 w 3515"/>
                  <a:gd name="T43" fmla="*/ 200 h 1758"/>
                  <a:gd name="T44" fmla="*/ 2633 w 3515"/>
                  <a:gd name="T45" fmla="*/ 0 h 1758"/>
                  <a:gd name="T46" fmla="*/ 3030 w 3515"/>
                  <a:gd name="T47" fmla="*/ 0 h 1758"/>
                  <a:gd name="T48" fmla="*/ 3030 w 3515"/>
                  <a:gd name="T49" fmla="*/ 200 h 1758"/>
                  <a:gd name="T50" fmla="*/ 3515 w 3515"/>
                  <a:gd name="T51" fmla="*/ 441 h 1758"/>
                  <a:gd name="T52" fmla="*/ 3314 w 3515"/>
                  <a:gd name="T53" fmla="*/ 441 h 1758"/>
                  <a:gd name="T54" fmla="*/ 3314 w 3515"/>
                  <a:gd name="T55" fmla="*/ 259 h 1758"/>
                  <a:gd name="T56" fmla="*/ 3300 w 3515"/>
                  <a:gd name="T57" fmla="*/ 219 h 1758"/>
                  <a:gd name="T58" fmla="*/ 3233 w 3515"/>
                  <a:gd name="T59" fmla="*/ 145 h 1758"/>
                  <a:gd name="T60" fmla="*/ 3382 w 3515"/>
                  <a:gd name="T61" fmla="*/ 12 h 1758"/>
                  <a:gd name="T62" fmla="*/ 3450 w 3515"/>
                  <a:gd name="T63" fmla="*/ 87 h 1758"/>
                  <a:gd name="T64" fmla="*/ 3515 w 3515"/>
                  <a:gd name="T65" fmla="*/ 259 h 1758"/>
                  <a:gd name="T66" fmla="*/ 3515 w 3515"/>
                  <a:gd name="T67" fmla="*/ 441 h 1758"/>
                  <a:gd name="T68" fmla="*/ 3515 w 3515"/>
                  <a:gd name="T69" fmla="*/ 1100 h 1758"/>
                  <a:gd name="T70" fmla="*/ 3314 w 3515"/>
                  <a:gd name="T71" fmla="*/ 1100 h 1758"/>
                  <a:gd name="T72" fmla="*/ 3314 w 3515"/>
                  <a:gd name="T73" fmla="*/ 702 h 1758"/>
                  <a:gd name="T74" fmla="*/ 3515 w 3515"/>
                  <a:gd name="T75" fmla="*/ 702 h 1758"/>
                  <a:gd name="T76" fmla="*/ 3515 w 3515"/>
                  <a:gd name="T77" fmla="*/ 1100 h 1758"/>
                  <a:gd name="T78" fmla="*/ 3515 w 3515"/>
                  <a:gd name="T79" fmla="*/ 1758 h 1758"/>
                  <a:gd name="T80" fmla="*/ 3314 w 3515"/>
                  <a:gd name="T81" fmla="*/ 1758 h 1758"/>
                  <a:gd name="T82" fmla="*/ 3314 w 3515"/>
                  <a:gd name="T83" fmla="*/ 1361 h 1758"/>
                  <a:gd name="T84" fmla="*/ 3515 w 3515"/>
                  <a:gd name="T85" fmla="*/ 1361 h 1758"/>
                  <a:gd name="T86" fmla="*/ 3515 w 3515"/>
                  <a:gd name="T87" fmla="*/ 1758 h 1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15" h="1758">
                    <a:moveTo>
                      <a:pt x="398" y="200"/>
                    </a:moveTo>
                    <a:lnTo>
                      <a:pt x="0" y="200"/>
                    </a:lnTo>
                    <a:lnTo>
                      <a:pt x="0" y="0"/>
                    </a:lnTo>
                    <a:lnTo>
                      <a:pt x="398" y="0"/>
                    </a:lnTo>
                    <a:lnTo>
                      <a:pt x="398" y="200"/>
                    </a:lnTo>
                    <a:close/>
                    <a:moveTo>
                      <a:pt x="1056" y="200"/>
                    </a:moveTo>
                    <a:lnTo>
                      <a:pt x="658" y="200"/>
                    </a:lnTo>
                    <a:lnTo>
                      <a:pt x="658" y="0"/>
                    </a:lnTo>
                    <a:lnTo>
                      <a:pt x="1056" y="0"/>
                    </a:lnTo>
                    <a:lnTo>
                      <a:pt x="1056" y="200"/>
                    </a:lnTo>
                    <a:close/>
                    <a:moveTo>
                      <a:pt x="1714" y="200"/>
                    </a:moveTo>
                    <a:lnTo>
                      <a:pt x="1317" y="200"/>
                    </a:lnTo>
                    <a:lnTo>
                      <a:pt x="1317" y="0"/>
                    </a:lnTo>
                    <a:lnTo>
                      <a:pt x="1714" y="0"/>
                    </a:lnTo>
                    <a:lnTo>
                      <a:pt x="1714" y="200"/>
                    </a:lnTo>
                    <a:close/>
                    <a:moveTo>
                      <a:pt x="2371" y="200"/>
                    </a:moveTo>
                    <a:lnTo>
                      <a:pt x="1974" y="200"/>
                    </a:lnTo>
                    <a:lnTo>
                      <a:pt x="1974" y="0"/>
                    </a:lnTo>
                    <a:lnTo>
                      <a:pt x="2371" y="0"/>
                    </a:lnTo>
                    <a:lnTo>
                      <a:pt x="2371" y="200"/>
                    </a:lnTo>
                    <a:close/>
                    <a:moveTo>
                      <a:pt x="3030" y="200"/>
                    </a:moveTo>
                    <a:lnTo>
                      <a:pt x="2633" y="200"/>
                    </a:lnTo>
                    <a:lnTo>
                      <a:pt x="2633" y="0"/>
                    </a:lnTo>
                    <a:lnTo>
                      <a:pt x="3030" y="0"/>
                    </a:lnTo>
                    <a:lnTo>
                      <a:pt x="3030" y="200"/>
                    </a:lnTo>
                    <a:close/>
                    <a:moveTo>
                      <a:pt x="3515" y="441"/>
                    </a:moveTo>
                    <a:lnTo>
                      <a:pt x="3314" y="441"/>
                    </a:lnTo>
                    <a:lnTo>
                      <a:pt x="3314" y="259"/>
                    </a:lnTo>
                    <a:cubicBezTo>
                      <a:pt x="3314" y="240"/>
                      <a:pt x="3306" y="228"/>
                      <a:pt x="3300" y="219"/>
                    </a:cubicBezTo>
                    <a:lnTo>
                      <a:pt x="3233" y="145"/>
                    </a:lnTo>
                    <a:lnTo>
                      <a:pt x="3382" y="12"/>
                    </a:lnTo>
                    <a:lnTo>
                      <a:pt x="3450" y="87"/>
                    </a:lnTo>
                    <a:cubicBezTo>
                      <a:pt x="3491" y="135"/>
                      <a:pt x="3515" y="196"/>
                      <a:pt x="3515" y="259"/>
                    </a:cubicBezTo>
                    <a:lnTo>
                      <a:pt x="3515" y="441"/>
                    </a:lnTo>
                    <a:close/>
                    <a:moveTo>
                      <a:pt x="3515" y="1100"/>
                    </a:moveTo>
                    <a:lnTo>
                      <a:pt x="3314" y="1100"/>
                    </a:lnTo>
                    <a:lnTo>
                      <a:pt x="3314" y="702"/>
                    </a:lnTo>
                    <a:lnTo>
                      <a:pt x="3515" y="702"/>
                    </a:lnTo>
                    <a:lnTo>
                      <a:pt x="3515" y="1100"/>
                    </a:lnTo>
                    <a:close/>
                    <a:moveTo>
                      <a:pt x="3515" y="1758"/>
                    </a:moveTo>
                    <a:lnTo>
                      <a:pt x="3314" y="1758"/>
                    </a:lnTo>
                    <a:lnTo>
                      <a:pt x="3314" y="1361"/>
                    </a:lnTo>
                    <a:lnTo>
                      <a:pt x="3515" y="1361"/>
                    </a:lnTo>
                    <a:lnTo>
                      <a:pt x="3515" y="17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1901">
                <a:extLst>
                  <a:ext uri="{FF2B5EF4-FFF2-40B4-BE49-F238E27FC236}">
                    <a16:creationId xmlns:a16="http://schemas.microsoft.com/office/drawing/2014/main" id="{444997A0-ECEB-482B-8AEC-CD974F1A012C}"/>
                  </a:ext>
                </a:extLst>
              </p:cNvPr>
              <p:cNvSpPr>
                <a:spLocks noChangeArrowheads="1"/>
              </p:cNvSpPr>
              <p:nvPr/>
            </p:nvSpPr>
            <p:spPr bwMode="auto">
              <a:xfrm>
                <a:off x="8759825" y="877888"/>
                <a:ext cx="6350"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902">
                <a:extLst>
                  <a:ext uri="{FF2B5EF4-FFF2-40B4-BE49-F238E27FC236}">
                    <a16:creationId xmlns:a16="http://schemas.microsoft.com/office/drawing/2014/main" id="{D2FE3FEC-2F53-47AF-9E84-263F537CE50D}"/>
                  </a:ext>
                </a:extLst>
              </p:cNvPr>
              <p:cNvSpPr>
                <a:spLocks noEditPoints="1"/>
              </p:cNvSpPr>
              <p:nvPr/>
            </p:nvSpPr>
            <p:spPr bwMode="auto">
              <a:xfrm>
                <a:off x="8601075" y="746125"/>
                <a:ext cx="47625" cy="47625"/>
              </a:xfrm>
              <a:custGeom>
                <a:avLst/>
                <a:gdLst>
                  <a:gd name="T0" fmla="*/ 835 w 1313"/>
                  <a:gd name="T1" fmla="*/ 225 h 1309"/>
                  <a:gd name="T2" fmla="*/ 736 w 1313"/>
                  <a:gd name="T3" fmla="*/ 209 h 1309"/>
                  <a:gd name="T4" fmla="*/ 642 w 1313"/>
                  <a:gd name="T5" fmla="*/ 202 h 1309"/>
                  <a:gd name="T6" fmla="*/ 542 w 1313"/>
                  <a:gd name="T7" fmla="*/ 206 h 1309"/>
                  <a:gd name="T8" fmla="*/ 534 w 1313"/>
                  <a:gd name="T9" fmla="*/ 7 h 1309"/>
                  <a:gd name="T10" fmla="*/ 633 w 1313"/>
                  <a:gd name="T11" fmla="*/ 3 h 1309"/>
                  <a:gd name="T12" fmla="*/ 770 w 1313"/>
                  <a:gd name="T13" fmla="*/ 11 h 1309"/>
                  <a:gd name="T14" fmla="*/ 869 w 1313"/>
                  <a:gd name="T15" fmla="*/ 27 h 1309"/>
                  <a:gd name="T16" fmla="*/ 835 w 1313"/>
                  <a:gd name="T17" fmla="*/ 225 h 1309"/>
                  <a:gd name="T18" fmla="*/ 230 w 1313"/>
                  <a:gd name="T19" fmla="*/ 484 h 1309"/>
                  <a:gd name="T20" fmla="*/ 64 w 1313"/>
                  <a:gd name="T21" fmla="*/ 371 h 1309"/>
                  <a:gd name="T22" fmla="*/ 119 w 1313"/>
                  <a:gd name="T23" fmla="*/ 289 h 1309"/>
                  <a:gd name="T24" fmla="*/ 208 w 1313"/>
                  <a:gd name="T25" fmla="*/ 184 h 1309"/>
                  <a:gd name="T26" fmla="*/ 281 w 1313"/>
                  <a:gd name="T27" fmla="*/ 114 h 1309"/>
                  <a:gd name="T28" fmla="*/ 419 w 1313"/>
                  <a:gd name="T29" fmla="*/ 258 h 1309"/>
                  <a:gd name="T30" fmla="*/ 347 w 1313"/>
                  <a:gd name="T31" fmla="*/ 328 h 1309"/>
                  <a:gd name="T32" fmla="*/ 285 w 1313"/>
                  <a:gd name="T33" fmla="*/ 401 h 1309"/>
                  <a:gd name="T34" fmla="*/ 230 w 1313"/>
                  <a:gd name="T35" fmla="*/ 484 h 1309"/>
                  <a:gd name="T36" fmla="*/ 1110 w 1313"/>
                  <a:gd name="T37" fmla="*/ 540 h 1309"/>
                  <a:gd name="T38" fmla="*/ 1065 w 1313"/>
                  <a:gd name="T39" fmla="*/ 451 h 1309"/>
                  <a:gd name="T40" fmla="*/ 1014 w 1313"/>
                  <a:gd name="T41" fmla="*/ 370 h 1309"/>
                  <a:gd name="T42" fmla="*/ 951 w 1313"/>
                  <a:gd name="T43" fmla="*/ 293 h 1309"/>
                  <a:gd name="T44" fmla="*/ 1106 w 1313"/>
                  <a:gd name="T45" fmla="*/ 167 h 1309"/>
                  <a:gd name="T46" fmla="*/ 1169 w 1313"/>
                  <a:gd name="T47" fmla="*/ 245 h 1309"/>
                  <a:gd name="T48" fmla="*/ 1243 w 1313"/>
                  <a:gd name="T49" fmla="*/ 361 h 1309"/>
                  <a:gd name="T50" fmla="*/ 1289 w 1313"/>
                  <a:gd name="T51" fmla="*/ 450 h 1309"/>
                  <a:gd name="T52" fmla="*/ 1110 w 1313"/>
                  <a:gd name="T53" fmla="*/ 540 h 1309"/>
                  <a:gd name="T54" fmla="*/ 1278 w 1313"/>
                  <a:gd name="T55" fmla="*/ 889 h 1309"/>
                  <a:gd name="T56" fmla="*/ 1083 w 1313"/>
                  <a:gd name="T57" fmla="*/ 847 h 1309"/>
                  <a:gd name="T58" fmla="*/ 1103 w 1313"/>
                  <a:gd name="T59" fmla="*/ 749 h 1309"/>
                  <a:gd name="T60" fmla="*/ 1113 w 1313"/>
                  <a:gd name="T61" fmla="*/ 655 h 1309"/>
                  <a:gd name="T62" fmla="*/ 1113 w 1313"/>
                  <a:gd name="T63" fmla="*/ 555 h 1309"/>
                  <a:gd name="T64" fmla="*/ 1313 w 1313"/>
                  <a:gd name="T65" fmla="*/ 555 h 1309"/>
                  <a:gd name="T66" fmla="*/ 1313 w 1313"/>
                  <a:gd name="T67" fmla="*/ 655 h 1309"/>
                  <a:gd name="T68" fmla="*/ 1299 w 1313"/>
                  <a:gd name="T69" fmla="*/ 792 h 1309"/>
                  <a:gd name="T70" fmla="*/ 1278 w 1313"/>
                  <a:gd name="T71" fmla="*/ 889 h 1309"/>
                  <a:gd name="T72" fmla="*/ 78 w 1313"/>
                  <a:gd name="T73" fmla="*/ 966 h 1309"/>
                  <a:gd name="T74" fmla="*/ 44 w 1313"/>
                  <a:gd name="T75" fmla="*/ 872 h 1309"/>
                  <a:gd name="T76" fmla="*/ 13 w 1313"/>
                  <a:gd name="T77" fmla="*/ 738 h 1309"/>
                  <a:gd name="T78" fmla="*/ 0 w 1313"/>
                  <a:gd name="T79" fmla="*/ 639 h 1309"/>
                  <a:gd name="T80" fmla="*/ 199 w 1313"/>
                  <a:gd name="T81" fmla="*/ 613 h 1309"/>
                  <a:gd name="T82" fmla="*/ 211 w 1313"/>
                  <a:gd name="T83" fmla="*/ 712 h 1309"/>
                  <a:gd name="T84" fmla="*/ 233 w 1313"/>
                  <a:gd name="T85" fmla="*/ 805 h 1309"/>
                  <a:gd name="T86" fmla="*/ 267 w 1313"/>
                  <a:gd name="T87" fmla="*/ 900 h 1309"/>
                  <a:gd name="T88" fmla="*/ 78 w 1313"/>
                  <a:gd name="T89" fmla="*/ 966 h 1309"/>
                  <a:gd name="T90" fmla="*/ 839 w 1313"/>
                  <a:gd name="T91" fmla="*/ 1290 h 1309"/>
                  <a:gd name="T92" fmla="*/ 756 w 1313"/>
                  <a:gd name="T93" fmla="*/ 1109 h 1309"/>
                  <a:gd name="T94" fmla="*/ 848 w 1313"/>
                  <a:gd name="T95" fmla="*/ 1068 h 1309"/>
                  <a:gd name="T96" fmla="*/ 929 w 1313"/>
                  <a:gd name="T97" fmla="*/ 1019 h 1309"/>
                  <a:gd name="T98" fmla="*/ 1009 w 1313"/>
                  <a:gd name="T99" fmla="*/ 959 h 1309"/>
                  <a:gd name="T100" fmla="*/ 1129 w 1313"/>
                  <a:gd name="T101" fmla="*/ 1120 h 1309"/>
                  <a:gd name="T102" fmla="*/ 1049 w 1313"/>
                  <a:gd name="T103" fmla="*/ 1180 h 1309"/>
                  <a:gd name="T104" fmla="*/ 930 w 1313"/>
                  <a:gd name="T105" fmla="*/ 1249 h 1309"/>
                  <a:gd name="T106" fmla="*/ 839 w 1313"/>
                  <a:gd name="T107" fmla="*/ 1290 h 1309"/>
                  <a:gd name="T108" fmla="*/ 564 w 1313"/>
                  <a:gd name="T109" fmla="*/ 1309 h 1309"/>
                  <a:gd name="T110" fmla="*/ 469 w 1313"/>
                  <a:gd name="T111" fmla="*/ 1279 h 1309"/>
                  <a:gd name="T112" fmla="*/ 343 w 1313"/>
                  <a:gd name="T113" fmla="*/ 1225 h 1309"/>
                  <a:gd name="T114" fmla="*/ 255 w 1313"/>
                  <a:gd name="T115" fmla="*/ 1176 h 1309"/>
                  <a:gd name="T116" fmla="*/ 352 w 1313"/>
                  <a:gd name="T117" fmla="*/ 1002 h 1309"/>
                  <a:gd name="T118" fmla="*/ 440 w 1313"/>
                  <a:gd name="T119" fmla="*/ 1050 h 1309"/>
                  <a:gd name="T120" fmla="*/ 527 w 1313"/>
                  <a:gd name="T121" fmla="*/ 1087 h 1309"/>
                  <a:gd name="T122" fmla="*/ 623 w 1313"/>
                  <a:gd name="T123" fmla="*/ 1117 h 1309"/>
                  <a:gd name="T124" fmla="*/ 564 w 1313"/>
                  <a:gd name="T125" fmla="*/ 1309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3" h="1309">
                    <a:moveTo>
                      <a:pt x="835" y="225"/>
                    </a:moveTo>
                    <a:lnTo>
                      <a:pt x="736" y="209"/>
                    </a:lnTo>
                    <a:cubicBezTo>
                      <a:pt x="706" y="202"/>
                      <a:pt x="674" y="201"/>
                      <a:pt x="642" y="202"/>
                    </a:cubicBezTo>
                    <a:lnTo>
                      <a:pt x="542" y="206"/>
                    </a:lnTo>
                    <a:lnTo>
                      <a:pt x="534" y="7"/>
                    </a:lnTo>
                    <a:lnTo>
                      <a:pt x="633" y="3"/>
                    </a:lnTo>
                    <a:cubicBezTo>
                      <a:pt x="679" y="0"/>
                      <a:pt x="725" y="4"/>
                      <a:pt x="770" y="11"/>
                    </a:cubicBezTo>
                    <a:lnTo>
                      <a:pt x="869" y="27"/>
                    </a:lnTo>
                    <a:lnTo>
                      <a:pt x="835" y="225"/>
                    </a:lnTo>
                    <a:close/>
                    <a:moveTo>
                      <a:pt x="230" y="484"/>
                    </a:moveTo>
                    <a:lnTo>
                      <a:pt x="64" y="371"/>
                    </a:lnTo>
                    <a:lnTo>
                      <a:pt x="119" y="289"/>
                    </a:lnTo>
                    <a:cubicBezTo>
                      <a:pt x="145" y="251"/>
                      <a:pt x="175" y="215"/>
                      <a:pt x="208" y="184"/>
                    </a:cubicBezTo>
                    <a:lnTo>
                      <a:pt x="281" y="114"/>
                    </a:lnTo>
                    <a:lnTo>
                      <a:pt x="419" y="258"/>
                    </a:lnTo>
                    <a:lnTo>
                      <a:pt x="347" y="328"/>
                    </a:lnTo>
                    <a:cubicBezTo>
                      <a:pt x="323" y="350"/>
                      <a:pt x="303" y="374"/>
                      <a:pt x="285" y="401"/>
                    </a:cubicBezTo>
                    <a:lnTo>
                      <a:pt x="230" y="484"/>
                    </a:lnTo>
                    <a:close/>
                    <a:moveTo>
                      <a:pt x="1110" y="540"/>
                    </a:moveTo>
                    <a:lnTo>
                      <a:pt x="1065" y="451"/>
                    </a:lnTo>
                    <a:cubicBezTo>
                      <a:pt x="1051" y="423"/>
                      <a:pt x="1033" y="395"/>
                      <a:pt x="1014" y="370"/>
                    </a:cubicBezTo>
                    <a:lnTo>
                      <a:pt x="951" y="293"/>
                    </a:lnTo>
                    <a:lnTo>
                      <a:pt x="1106" y="167"/>
                    </a:lnTo>
                    <a:lnTo>
                      <a:pt x="1169" y="245"/>
                    </a:lnTo>
                    <a:cubicBezTo>
                      <a:pt x="1198" y="281"/>
                      <a:pt x="1223" y="320"/>
                      <a:pt x="1243" y="361"/>
                    </a:cubicBezTo>
                    <a:lnTo>
                      <a:pt x="1289" y="450"/>
                    </a:lnTo>
                    <a:lnTo>
                      <a:pt x="1110" y="540"/>
                    </a:lnTo>
                    <a:close/>
                    <a:moveTo>
                      <a:pt x="1278" y="889"/>
                    </a:moveTo>
                    <a:lnTo>
                      <a:pt x="1083" y="847"/>
                    </a:lnTo>
                    <a:lnTo>
                      <a:pt x="1103" y="749"/>
                    </a:lnTo>
                    <a:cubicBezTo>
                      <a:pt x="1110" y="718"/>
                      <a:pt x="1113" y="686"/>
                      <a:pt x="1113" y="655"/>
                    </a:cubicBezTo>
                    <a:lnTo>
                      <a:pt x="1113" y="555"/>
                    </a:lnTo>
                    <a:lnTo>
                      <a:pt x="1313" y="555"/>
                    </a:lnTo>
                    <a:lnTo>
                      <a:pt x="1313" y="655"/>
                    </a:lnTo>
                    <a:cubicBezTo>
                      <a:pt x="1313" y="701"/>
                      <a:pt x="1308" y="746"/>
                      <a:pt x="1299" y="792"/>
                    </a:cubicBezTo>
                    <a:lnTo>
                      <a:pt x="1278" y="889"/>
                    </a:lnTo>
                    <a:close/>
                    <a:moveTo>
                      <a:pt x="78" y="966"/>
                    </a:moveTo>
                    <a:lnTo>
                      <a:pt x="44" y="872"/>
                    </a:lnTo>
                    <a:cubicBezTo>
                      <a:pt x="30" y="829"/>
                      <a:pt x="19" y="783"/>
                      <a:pt x="13" y="738"/>
                    </a:cubicBezTo>
                    <a:lnTo>
                      <a:pt x="0" y="639"/>
                    </a:lnTo>
                    <a:lnTo>
                      <a:pt x="199" y="613"/>
                    </a:lnTo>
                    <a:lnTo>
                      <a:pt x="211" y="712"/>
                    </a:lnTo>
                    <a:cubicBezTo>
                      <a:pt x="215" y="744"/>
                      <a:pt x="222" y="775"/>
                      <a:pt x="233" y="805"/>
                    </a:cubicBezTo>
                    <a:lnTo>
                      <a:pt x="267" y="900"/>
                    </a:lnTo>
                    <a:lnTo>
                      <a:pt x="78" y="966"/>
                    </a:lnTo>
                    <a:close/>
                    <a:moveTo>
                      <a:pt x="839" y="1290"/>
                    </a:moveTo>
                    <a:lnTo>
                      <a:pt x="756" y="1109"/>
                    </a:lnTo>
                    <a:lnTo>
                      <a:pt x="848" y="1068"/>
                    </a:lnTo>
                    <a:cubicBezTo>
                      <a:pt x="877" y="1054"/>
                      <a:pt x="904" y="1038"/>
                      <a:pt x="929" y="1019"/>
                    </a:cubicBezTo>
                    <a:lnTo>
                      <a:pt x="1009" y="959"/>
                    </a:lnTo>
                    <a:lnTo>
                      <a:pt x="1129" y="1120"/>
                    </a:lnTo>
                    <a:lnTo>
                      <a:pt x="1049" y="1180"/>
                    </a:lnTo>
                    <a:cubicBezTo>
                      <a:pt x="1011" y="1207"/>
                      <a:pt x="972" y="1230"/>
                      <a:pt x="930" y="1249"/>
                    </a:cubicBezTo>
                    <a:lnTo>
                      <a:pt x="839" y="1290"/>
                    </a:lnTo>
                    <a:close/>
                    <a:moveTo>
                      <a:pt x="564" y="1309"/>
                    </a:moveTo>
                    <a:lnTo>
                      <a:pt x="469" y="1279"/>
                    </a:lnTo>
                    <a:cubicBezTo>
                      <a:pt x="425" y="1265"/>
                      <a:pt x="383" y="1247"/>
                      <a:pt x="343" y="1225"/>
                    </a:cubicBezTo>
                    <a:lnTo>
                      <a:pt x="255" y="1176"/>
                    </a:lnTo>
                    <a:lnTo>
                      <a:pt x="352" y="1002"/>
                    </a:lnTo>
                    <a:lnTo>
                      <a:pt x="440" y="1050"/>
                    </a:lnTo>
                    <a:cubicBezTo>
                      <a:pt x="468" y="1066"/>
                      <a:pt x="497" y="1078"/>
                      <a:pt x="527" y="1087"/>
                    </a:cubicBezTo>
                    <a:lnTo>
                      <a:pt x="623" y="1117"/>
                    </a:lnTo>
                    <a:lnTo>
                      <a:pt x="564" y="130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1903">
                <a:extLst>
                  <a:ext uri="{FF2B5EF4-FFF2-40B4-BE49-F238E27FC236}">
                    <a16:creationId xmlns:a16="http://schemas.microsoft.com/office/drawing/2014/main" id="{631B72D1-7A45-4F2C-97A1-3D4851B53471}"/>
                  </a:ext>
                </a:extLst>
              </p:cNvPr>
              <p:cNvSpPr>
                <a:spLocks/>
              </p:cNvSpPr>
              <p:nvPr/>
            </p:nvSpPr>
            <p:spPr bwMode="auto">
              <a:xfrm>
                <a:off x="8524875" y="781050"/>
                <a:ext cx="11113" cy="9525"/>
              </a:xfrm>
              <a:custGeom>
                <a:avLst/>
                <a:gdLst>
                  <a:gd name="T0" fmla="*/ 115 w 302"/>
                  <a:gd name="T1" fmla="*/ 249 h 249"/>
                  <a:gd name="T2" fmla="*/ 24 w 302"/>
                  <a:gd name="T3" fmla="*/ 191 h 249"/>
                  <a:gd name="T4" fmla="*/ 73 w 302"/>
                  <a:gd name="T5" fmla="*/ 57 h 249"/>
                  <a:gd name="T6" fmla="*/ 99 w 302"/>
                  <a:gd name="T7" fmla="*/ 45 h 249"/>
                  <a:gd name="T8" fmla="*/ 153 w 302"/>
                  <a:gd name="T9" fmla="*/ 20 h 249"/>
                  <a:gd name="T10" fmla="*/ 282 w 302"/>
                  <a:gd name="T11" fmla="*/ 78 h 249"/>
                  <a:gd name="T12" fmla="*/ 225 w 302"/>
                  <a:gd name="T13" fmla="*/ 207 h 249"/>
                  <a:gd name="T14" fmla="*/ 197 w 302"/>
                  <a:gd name="T15" fmla="*/ 219 h 249"/>
                  <a:gd name="T16" fmla="*/ 156 w 302"/>
                  <a:gd name="T17" fmla="*/ 240 h 249"/>
                  <a:gd name="T18" fmla="*/ 115 w 302"/>
                  <a:gd name="T19" fmla="*/ 24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249">
                    <a:moveTo>
                      <a:pt x="115" y="249"/>
                    </a:moveTo>
                    <a:cubicBezTo>
                      <a:pt x="77" y="249"/>
                      <a:pt x="40" y="227"/>
                      <a:pt x="24" y="191"/>
                    </a:cubicBezTo>
                    <a:cubicBezTo>
                      <a:pt x="0" y="140"/>
                      <a:pt x="23" y="81"/>
                      <a:pt x="73" y="57"/>
                    </a:cubicBezTo>
                    <a:cubicBezTo>
                      <a:pt x="87" y="51"/>
                      <a:pt x="92" y="48"/>
                      <a:pt x="99" y="45"/>
                    </a:cubicBezTo>
                    <a:cubicBezTo>
                      <a:pt x="112" y="37"/>
                      <a:pt x="124" y="31"/>
                      <a:pt x="153" y="20"/>
                    </a:cubicBezTo>
                    <a:cubicBezTo>
                      <a:pt x="204" y="0"/>
                      <a:pt x="262" y="26"/>
                      <a:pt x="282" y="78"/>
                    </a:cubicBezTo>
                    <a:cubicBezTo>
                      <a:pt x="302" y="129"/>
                      <a:pt x="276" y="187"/>
                      <a:pt x="225" y="207"/>
                    </a:cubicBezTo>
                    <a:cubicBezTo>
                      <a:pt x="207" y="213"/>
                      <a:pt x="204" y="215"/>
                      <a:pt x="197" y="219"/>
                    </a:cubicBezTo>
                    <a:cubicBezTo>
                      <a:pt x="189" y="223"/>
                      <a:pt x="177" y="230"/>
                      <a:pt x="156" y="240"/>
                    </a:cubicBezTo>
                    <a:cubicBezTo>
                      <a:pt x="143" y="246"/>
                      <a:pt x="128" y="249"/>
                      <a:pt x="115" y="2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904">
                <a:extLst>
                  <a:ext uri="{FF2B5EF4-FFF2-40B4-BE49-F238E27FC236}">
                    <a16:creationId xmlns:a16="http://schemas.microsoft.com/office/drawing/2014/main" id="{7648D064-BBA9-491A-9A6E-AA480BFE452B}"/>
                  </a:ext>
                </a:extLst>
              </p:cNvPr>
              <p:cNvSpPr>
                <a:spLocks/>
              </p:cNvSpPr>
              <p:nvPr/>
            </p:nvSpPr>
            <p:spPr bwMode="auto">
              <a:xfrm>
                <a:off x="8480425" y="790575"/>
                <a:ext cx="39688" cy="98425"/>
              </a:xfrm>
              <a:custGeom>
                <a:avLst/>
                <a:gdLst>
                  <a:gd name="T0" fmla="*/ 243 w 1110"/>
                  <a:gd name="T1" fmla="*/ 2727 h 2727"/>
                  <a:gd name="T2" fmla="*/ 150 w 1110"/>
                  <a:gd name="T3" fmla="*/ 2663 h 2727"/>
                  <a:gd name="T4" fmla="*/ 0 w 1110"/>
                  <a:gd name="T5" fmla="*/ 1857 h 2727"/>
                  <a:gd name="T6" fmla="*/ 939 w 1110"/>
                  <a:gd name="T7" fmla="*/ 31 h 2727"/>
                  <a:gd name="T8" fmla="*/ 1078 w 1110"/>
                  <a:gd name="T9" fmla="*/ 55 h 2727"/>
                  <a:gd name="T10" fmla="*/ 1056 w 1110"/>
                  <a:gd name="T11" fmla="*/ 195 h 2727"/>
                  <a:gd name="T12" fmla="*/ 200 w 1110"/>
                  <a:gd name="T13" fmla="*/ 1857 h 2727"/>
                  <a:gd name="T14" fmla="*/ 336 w 1110"/>
                  <a:gd name="T15" fmla="*/ 2591 h 2727"/>
                  <a:gd name="T16" fmla="*/ 278 w 1110"/>
                  <a:gd name="T17" fmla="*/ 2720 h 2727"/>
                  <a:gd name="T18" fmla="*/ 243 w 1110"/>
                  <a:gd name="T19" fmla="*/ 2727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0" h="2727">
                    <a:moveTo>
                      <a:pt x="243" y="2727"/>
                    </a:moveTo>
                    <a:cubicBezTo>
                      <a:pt x="203" y="2727"/>
                      <a:pt x="165" y="2703"/>
                      <a:pt x="150" y="2663"/>
                    </a:cubicBezTo>
                    <a:cubicBezTo>
                      <a:pt x="50" y="2406"/>
                      <a:pt x="0" y="2135"/>
                      <a:pt x="0" y="1857"/>
                    </a:cubicBezTo>
                    <a:cubicBezTo>
                      <a:pt x="0" y="1135"/>
                      <a:pt x="351" y="453"/>
                      <a:pt x="939" y="31"/>
                    </a:cubicBezTo>
                    <a:cubicBezTo>
                      <a:pt x="983" y="0"/>
                      <a:pt x="1047" y="10"/>
                      <a:pt x="1078" y="55"/>
                    </a:cubicBezTo>
                    <a:cubicBezTo>
                      <a:pt x="1110" y="100"/>
                      <a:pt x="1100" y="162"/>
                      <a:pt x="1056" y="195"/>
                    </a:cubicBezTo>
                    <a:cubicBezTo>
                      <a:pt x="520" y="578"/>
                      <a:pt x="200" y="1199"/>
                      <a:pt x="200" y="1857"/>
                    </a:cubicBezTo>
                    <a:cubicBezTo>
                      <a:pt x="200" y="2110"/>
                      <a:pt x="246" y="2357"/>
                      <a:pt x="336" y="2591"/>
                    </a:cubicBezTo>
                    <a:cubicBezTo>
                      <a:pt x="356" y="2642"/>
                      <a:pt x="330" y="2701"/>
                      <a:pt x="278" y="2720"/>
                    </a:cubicBezTo>
                    <a:cubicBezTo>
                      <a:pt x="266" y="2725"/>
                      <a:pt x="255" y="2727"/>
                      <a:pt x="243" y="27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1905">
                <a:extLst>
                  <a:ext uri="{FF2B5EF4-FFF2-40B4-BE49-F238E27FC236}">
                    <a16:creationId xmlns:a16="http://schemas.microsoft.com/office/drawing/2014/main" id="{49A1F8E9-681A-40F7-843F-3A016B2492A0}"/>
                  </a:ext>
                </a:extLst>
              </p:cNvPr>
              <p:cNvSpPr>
                <a:spLocks noChangeArrowheads="1"/>
              </p:cNvSpPr>
              <p:nvPr/>
            </p:nvSpPr>
            <p:spPr bwMode="auto">
              <a:xfrm>
                <a:off x="8626475" y="915988"/>
                <a:ext cx="57150"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1906">
                <a:extLst>
                  <a:ext uri="{FF2B5EF4-FFF2-40B4-BE49-F238E27FC236}">
                    <a16:creationId xmlns:a16="http://schemas.microsoft.com/office/drawing/2014/main" id="{2BF37137-5AEA-4CA9-9897-AFC7AEC81A17}"/>
                  </a:ext>
                </a:extLst>
              </p:cNvPr>
              <p:cNvSpPr>
                <a:spLocks noChangeArrowheads="1"/>
              </p:cNvSpPr>
              <p:nvPr/>
            </p:nvSpPr>
            <p:spPr bwMode="auto">
              <a:xfrm>
                <a:off x="8628063" y="931863"/>
                <a:ext cx="34925"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1907">
                <a:extLst>
                  <a:ext uri="{FF2B5EF4-FFF2-40B4-BE49-F238E27FC236}">
                    <a16:creationId xmlns:a16="http://schemas.microsoft.com/office/drawing/2014/main" id="{7D9923D2-42CF-412C-A67F-912B854EFA19}"/>
                  </a:ext>
                </a:extLst>
              </p:cNvPr>
              <p:cNvSpPr>
                <a:spLocks noChangeArrowheads="1"/>
              </p:cNvSpPr>
              <p:nvPr/>
            </p:nvSpPr>
            <p:spPr bwMode="auto">
              <a:xfrm>
                <a:off x="8626475" y="947738"/>
                <a:ext cx="57150"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1908">
                <a:extLst>
                  <a:ext uri="{FF2B5EF4-FFF2-40B4-BE49-F238E27FC236}">
                    <a16:creationId xmlns:a16="http://schemas.microsoft.com/office/drawing/2014/main" id="{6F3845B1-B0D8-4E73-9D16-8EB2003B1B25}"/>
                  </a:ext>
                </a:extLst>
              </p:cNvPr>
              <p:cNvSpPr>
                <a:spLocks noEditPoints="1"/>
              </p:cNvSpPr>
              <p:nvPr/>
            </p:nvSpPr>
            <p:spPr bwMode="auto">
              <a:xfrm>
                <a:off x="8628063" y="963613"/>
                <a:ext cx="30163" cy="7938"/>
              </a:xfrm>
              <a:custGeom>
                <a:avLst/>
                <a:gdLst>
                  <a:gd name="T0" fmla="*/ 0 w 833"/>
                  <a:gd name="T1" fmla="*/ 200 h 200"/>
                  <a:gd name="T2" fmla="*/ 0 w 833"/>
                  <a:gd name="T3" fmla="*/ 0 h 200"/>
                  <a:gd name="T4" fmla="*/ 200 w 833"/>
                  <a:gd name="T5" fmla="*/ 0 h 200"/>
                  <a:gd name="T6" fmla="*/ 200 w 833"/>
                  <a:gd name="T7" fmla="*/ 200 h 200"/>
                  <a:gd name="T8" fmla="*/ 0 w 833"/>
                  <a:gd name="T9" fmla="*/ 200 h 200"/>
                  <a:gd name="T10" fmla="*/ 316 w 833"/>
                  <a:gd name="T11" fmla="*/ 200 h 200"/>
                  <a:gd name="T12" fmla="*/ 316 w 833"/>
                  <a:gd name="T13" fmla="*/ 0 h 200"/>
                  <a:gd name="T14" fmla="*/ 517 w 833"/>
                  <a:gd name="T15" fmla="*/ 0 h 200"/>
                  <a:gd name="T16" fmla="*/ 517 w 833"/>
                  <a:gd name="T17" fmla="*/ 200 h 200"/>
                  <a:gd name="T18" fmla="*/ 316 w 833"/>
                  <a:gd name="T19" fmla="*/ 200 h 200"/>
                  <a:gd name="T20" fmla="*/ 633 w 833"/>
                  <a:gd name="T21" fmla="*/ 200 h 200"/>
                  <a:gd name="T22" fmla="*/ 633 w 833"/>
                  <a:gd name="T23" fmla="*/ 0 h 200"/>
                  <a:gd name="T24" fmla="*/ 833 w 833"/>
                  <a:gd name="T25" fmla="*/ 0 h 200"/>
                  <a:gd name="T26" fmla="*/ 833 w 833"/>
                  <a:gd name="T27" fmla="*/ 200 h 200"/>
                  <a:gd name="T28" fmla="*/ 633 w 833"/>
                  <a:gd name="T2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3" h="200">
                    <a:moveTo>
                      <a:pt x="0" y="200"/>
                    </a:moveTo>
                    <a:lnTo>
                      <a:pt x="0" y="0"/>
                    </a:lnTo>
                    <a:lnTo>
                      <a:pt x="200" y="0"/>
                    </a:lnTo>
                    <a:lnTo>
                      <a:pt x="200" y="200"/>
                    </a:lnTo>
                    <a:lnTo>
                      <a:pt x="0" y="200"/>
                    </a:lnTo>
                    <a:close/>
                    <a:moveTo>
                      <a:pt x="316" y="200"/>
                    </a:moveTo>
                    <a:lnTo>
                      <a:pt x="316" y="0"/>
                    </a:lnTo>
                    <a:lnTo>
                      <a:pt x="517" y="0"/>
                    </a:lnTo>
                    <a:lnTo>
                      <a:pt x="517" y="200"/>
                    </a:lnTo>
                    <a:lnTo>
                      <a:pt x="316" y="200"/>
                    </a:lnTo>
                    <a:close/>
                    <a:moveTo>
                      <a:pt x="633" y="200"/>
                    </a:moveTo>
                    <a:lnTo>
                      <a:pt x="633" y="0"/>
                    </a:lnTo>
                    <a:lnTo>
                      <a:pt x="833" y="0"/>
                    </a:lnTo>
                    <a:lnTo>
                      <a:pt x="833" y="200"/>
                    </a:lnTo>
                    <a:lnTo>
                      <a:pt x="633"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1909">
                <a:extLst>
                  <a:ext uri="{FF2B5EF4-FFF2-40B4-BE49-F238E27FC236}">
                    <a16:creationId xmlns:a16="http://schemas.microsoft.com/office/drawing/2014/main" id="{1C524287-2F0C-42A3-9CE1-DB09512CAD68}"/>
                  </a:ext>
                </a:extLst>
              </p:cNvPr>
              <p:cNvSpPr>
                <a:spLocks noEditPoints="1"/>
              </p:cNvSpPr>
              <p:nvPr/>
            </p:nvSpPr>
            <p:spPr bwMode="auto">
              <a:xfrm>
                <a:off x="8628063" y="981075"/>
                <a:ext cx="28575" cy="6350"/>
              </a:xfrm>
              <a:custGeom>
                <a:avLst/>
                <a:gdLst>
                  <a:gd name="T0" fmla="*/ 0 w 801"/>
                  <a:gd name="T1" fmla="*/ 99 h 199"/>
                  <a:gd name="T2" fmla="*/ 101 w 801"/>
                  <a:gd name="T3" fmla="*/ 0 h 199"/>
                  <a:gd name="T4" fmla="*/ 101 w 801"/>
                  <a:gd name="T5" fmla="*/ 0 h 199"/>
                  <a:gd name="T6" fmla="*/ 201 w 801"/>
                  <a:gd name="T7" fmla="*/ 99 h 199"/>
                  <a:gd name="T8" fmla="*/ 201 w 801"/>
                  <a:gd name="T9" fmla="*/ 99 h 199"/>
                  <a:gd name="T10" fmla="*/ 101 w 801"/>
                  <a:gd name="T11" fmla="*/ 199 h 199"/>
                  <a:gd name="T12" fmla="*/ 101 w 801"/>
                  <a:gd name="T13" fmla="*/ 199 h 199"/>
                  <a:gd name="T14" fmla="*/ 0 w 801"/>
                  <a:gd name="T15" fmla="*/ 99 h 199"/>
                  <a:gd name="T16" fmla="*/ 301 w 801"/>
                  <a:gd name="T17" fmla="*/ 99 h 199"/>
                  <a:gd name="T18" fmla="*/ 401 w 801"/>
                  <a:gd name="T19" fmla="*/ 0 h 199"/>
                  <a:gd name="T20" fmla="*/ 401 w 801"/>
                  <a:gd name="T21" fmla="*/ 0 h 199"/>
                  <a:gd name="T22" fmla="*/ 501 w 801"/>
                  <a:gd name="T23" fmla="*/ 99 h 199"/>
                  <a:gd name="T24" fmla="*/ 501 w 801"/>
                  <a:gd name="T25" fmla="*/ 99 h 199"/>
                  <a:gd name="T26" fmla="*/ 401 w 801"/>
                  <a:gd name="T27" fmla="*/ 199 h 199"/>
                  <a:gd name="T28" fmla="*/ 401 w 801"/>
                  <a:gd name="T29" fmla="*/ 199 h 199"/>
                  <a:gd name="T30" fmla="*/ 301 w 801"/>
                  <a:gd name="T31" fmla="*/ 99 h 199"/>
                  <a:gd name="T32" fmla="*/ 600 w 801"/>
                  <a:gd name="T33" fmla="*/ 99 h 199"/>
                  <a:gd name="T34" fmla="*/ 700 w 801"/>
                  <a:gd name="T35" fmla="*/ 0 h 199"/>
                  <a:gd name="T36" fmla="*/ 700 w 801"/>
                  <a:gd name="T37" fmla="*/ 0 h 199"/>
                  <a:gd name="T38" fmla="*/ 801 w 801"/>
                  <a:gd name="T39" fmla="*/ 99 h 199"/>
                  <a:gd name="T40" fmla="*/ 801 w 801"/>
                  <a:gd name="T41" fmla="*/ 99 h 199"/>
                  <a:gd name="T42" fmla="*/ 700 w 801"/>
                  <a:gd name="T43" fmla="*/ 199 h 199"/>
                  <a:gd name="T44" fmla="*/ 700 w 801"/>
                  <a:gd name="T45" fmla="*/ 199 h 199"/>
                  <a:gd name="T46" fmla="*/ 600 w 801"/>
                  <a:gd name="T47" fmla="*/ 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1" h="199">
                    <a:moveTo>
                      <a:pt x="0" y="99"/>
                    </a:moveTo>
                    <a:cubicBezTo>
                      <a:pt x="0" y="44"/>
                      <a:pt x="46" y="0"/>
                      <a:pt x="101" y="0"/>
                    </a:cubicBezTo>
                    <a:lnTo>
                      <a:pt x="101" y="0"/>
                    </a:lnTo>
                    <a:cubicBezTo>
                      <a:pt x="156" y="0"/>
                      <a:pt x="201" y="44"/>
                      <a:pt x="201" y="99"/>
                    </a:cubicBezTo>
                    <a:lnTo>
                      <a:pt x="201" y="99"/>
                    </a:lnTo>
                    <a:cubicBezTo>
                      <a:pt x="201" y="155"/>
                      <a:pt x="156" y="199"/>
                      <a:pt x="101" y="199"/>
                    </a:cubicBezTo>
                    <a:lnTo>
                      <a:pt x="101" y="199"/>
                    </a:lnTo>
                    <a:cubicBezTo>
                      <a:pt x="46" y="199"/>
                      <a:pt x="0" y="155"/>
                      <a:pt x="0" y="99"/>
                    </a:cubicBezTo>
                    <a:close/>
                    <a:moveTo>
                      <a:pt x="301" y="99"/>
                    </a:moveTo>
                    <a:cubicBezTo>
                      <a:pt x="301" y="44"/>
                      <a:pt x="346" y="0"/>
                      <a:pt x="401" y="0"/>
                    </a:cubicBezTo>
                    <a:lnTo>
                      <a:pt x="401" y="0"/>
                    </a:lnTo>
                    <a:cubicBezTo>
                      <a:pt x="456" y="0"/>
                      <a:pt x="501" y="44"/>
                      <a:pt x="501" y="99"/>
                    </a:cubicBezTo>
                    <a:lnTo>
                      <a:pt x="501" y="99"/>
                    </a:lnTo>
                    <a:cubicBezTo>
                      <a:pt x="501" y="155"/>
                      <a:pt x="456" y="199"/>
                      <a:pt x="401" y="199"/>
                    </a:cubicBezTo>
                    <a:lnTo>
                      <a:pt x="401" y="199"/>
                    </a:lnTo>
                    <a:cubicBezTo>
                      <a:pt x="346" y="199"/>
                      <a:pt x="301" y="155"/>
                      <a:pt x="301" y="99"/>
                    </a:cubicBezTo>
                    <a:close/>
                    <a:moveTo>
                      <a:pt x="600" y="99"/>
                    </a:moveTo>
                    <a:cubicBezTo>
                      <a:pt x="600" y="44"/>
                      <a:pt x="646" y="0"/>
                      <a:pt x="700" y="0"/>
                    </a:cubicBezTo>
                    <a:lnTo>
                      <a:pt x="700" y="0"/>
                    </a:lnTo>
                    <a:cubicBezTo>
                      <a:pt x="756" y="0"/>
                      <a:pt x="801" y="44"/>
                      <a:pt x="801" y="99"/>
                    </a:cubicBezTo>
                    <a:lnTo>
                      <a:pt x="801" y="99"/>
                    </a:lnTo>
                    <a:cubicBezTo>
                      <a:pt x="801" y="155"/>
                      <a:pt x="756" y="199"/>
                      <a:pt x="700" y="199"/>
                    </a:cubicBezTo>
                    <a:lnTo>
                      <a:pt x="700" y="199"/>
                    </a:lnTo>
                    <a:cubicBezTo>
                      <a:pt x="646" y="199"/>
                      <a:pt x="600" y="155"/>
                      <a:pt x="600"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1910">
                <a:extLst>
                  <a:ext uri="{FF2B5EF4-FFF2-40B4-BE49-F238E27FC236}">
                    <a16:creationId xmlns:a16="http://schemas.microsoft.com/office/drawing/2014/main" id="{448EB42B-9080-4517-901D-34357CE697C6}"/>
                  </a:ext>
                </a:extLst>
              </p:cNvPr>
              <p:cNvSpPr>
                <a:spLocks/>
              </p:cNvSpPr>
              <p:nvPr/>
            </p:nvSpPr>
            <p:spPr bwMode="auto">
              <a:xfrm>
                <a:off x="8782050" y="887413"/>
                <a:ext cx="28575" cy="74613"/>
              </a:xfrm>
              <a:custGeom>
                <a:avLst/>
                <a:gdLst>
                  <a:gd name="T0" fmla="*/ 115 w 792"/>
                  <a:gd name="T1" fmla="*/ 2047 h 2047"/>
                  <a:gd name="T2" fmla="*/ 25 w 792"/>
                  <a:gd name="T3" fmla="*/ 1993 h 2047"/>
                  <a:gd name="T4" fmla="*/ 68 w 792"/>
                  <a:gd name="T5" fmla="*/ 1859 h 2047"/>
                  <a:gd name="T6" fmla="*/ 592 w 792"/>
                  <a:gd name="T7" fmla="*/ 885 h 2047"/>
                  <a:gd name="T8" fmla="*/ 339 w 792"/>
                  <a:gd name="T9" fmla="*/ 175 h 2047"/>
                  <a:gd name="T10" fmla="*/ 356 w 792"/>
                  <a:gd name="T11" fmla="*/ 35 h 2047"/>
                  <a:gd name="T12" fmla="*/ 498 w 792"/>
                  <a:gd name="T13" fmla="*/ 51 h 2047"/>
                  <a:gd name="T14" fmla="*/ 792 w 792"/>
                  <a:gd name="T15" fmla="*/ 885 h 2047"/>
                  <a:gd name="T16" fmla="*/ 160 w 792"/>
                  <a:gd name="T17" fmla="*/ 2036 h 2047"/>
                  <a:gd name="T18" fmla="*/ 115 w 792"/>
                  <a:gd name="T19" fmla="*/ 2047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2" h="2047">
                    <a:moveTo>
                      <a:pt x="115" y="2047"/>
                    </a:moveTo>
                    <a:cubicBezTo>
                      <a:pt x="79" y="2047"/>
                      <a:pt x="43" y="2027"/>
                      <a:pt x="25" y="1993"/>
                    </a:cubicBezTo>
                    <a:cubicBezTo>
                      <a:pt x="0" y="1944"/>
                      <a:pt x="19" y="1883"/>
                      <a:pt x="68" y="1859"/>
                    </a:cubicBezTo>
                    <a:cubicBezTo>
                      <a:pt x="502" y="1635"/>
                      <a:pt x="592" y="1206"/>
                      <a:pt x="592" y="885"/>
                    </a:cubicBezTo>
                    <a:cubicBezTo>
                      <a:pt x="592" y="630"/>
                      <a:pt x="505" y="385"/>
                      <a:pt x="339" y="175"/>
                    </a:cubicBezTo>
                    <a:cubicBezTo>
                      <a:pt x="306" y="131"/>
                      <a:pt x="313" y="68"/>
                      <a:pt x="356" y="35"/>
                    </a:cubicBezTo>
                    <a:cubicBezTo>
                      <a:pt x="402" y="0"/>
                      <a:pt x="463" y="8"/>
                      <a:pt x="498" y="51"/>
                    </a:cubicBezTo>
                    <a:cubicBezTo>
                      <a:pt x="690" y="296"/>
                      <a:pt x="792" y="585"/>
                      <a:pt x="792" y="885"/>
                    </a:cubicBezTo>
                    <a:cubicBezTo>
                      <a:pt x="792" y="1424"/>
                      <a:pt x="573" y="1822"/>
                      <a:pt x="160" y="2036"/>
                    </a:cubicBezTo>
                    <a:cubicBezTo>
                      <a:pt x="145" y="2043"/>
                      <a:pt x="130" y="2047"/>
                      <a:pt x="115" y="20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1911">
                <a:extLst>
                  <a:ext uri="{FF2B5EF4-FFF2-40B4-BE49-F238E27FC236}">
                    <a16:creationId xmlns:a16="http://schemas.microsoft.com/office/drawing/2014/main" id="{D7D97CD6-C63E-476B-81AA-FCE0E2EE68EF}"/>
                  </a:ext>
                </a:extLst>
              </p:cNvPr>
              <p:cNvSpPr>
                <a:spLocks/>
              </p:cNvSpPr>
              <p:nvPr/>
            </p:nvSpPr>
            <p:spPr bwMode="auto">
              <a:xfrm>
                <a:off x="8778875" y="874713"/>
                <a:ext cx="11113" cy="9525"/>
              </a:xfrm>
              <a:custGeom>
                <a:avLst/>
                <a:gdLst>
                  <a:gd name="T0" fmla="*/ 185 w 298"/>
                  <a:gd name="T1" fmla="*/ 259 h 259"/>
                  <a:gd name="T2" fmla="*/ 128 w 298"/>
                  <a:gd name="T3" fmla="*/ 240 h 259"/>
                  <a:gd name="T4" fmla="*/ 106 w 298"/>
                  <a:gd name="T5" fmla="*/ 225 h 259"/>
                  <a:gd name="T6" fmla="*/ 88 w 298"/>
                  <a:gd name="T7" fmla="*/ 214 h 259"/>
                  <a:gd name="T8" fmla="*/ 65 w 298"/>
                  <a:gd name="T9" fmla="*/ 201 h 259"/>
                  <a:gd name="T10" fmla="*/ 27 w 298"/>
                  <a:gd name="T11" fmla="*/ 65 h 259"/>
                  <a:gd name="T12" fmla="*/ 163 w 298"/>
                  <a:gd name="T13" fmla="*/ 27 h 259"/>
                  <a:gd name="T14" fmla="*/ 185 w 298"/>
                  <a:gd name="T15" fmla="*/ 39 h 259"/>
                  <a:gd name="T16" fmla="*/ 223 w 298"/>
                  <a:gd name="T17" fmla="*/ 63 h 259"/>
                  <a:gd name="T18" fmla="*/ 243 w 298"/>
                  <a:gd name="T19" fmla="*/ 77 h 259"/>
                  <a:gd name="T20" fmla="*/ 266 w 298"/>
                  <a:gd name="T21" fmla="*/ 216 h 259"/>
                  <a:gd name="T22" fmla="*/ 185 w 298"/>
                  <a:gd name="T23"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8" h="259">
                    <a:moveTo>
                      <a:pt x="185" y="259"/>
                    </a:moveTo>
                    <a:cubicBezTo>
                      <a:pt x="164" y="259"/>
                      <a:pt x="145" y="252"/>
                      <a:pt x="128" y="240"/>
                    </a:cubicBezTo>
                    <a:cubicBezTo>
                      <a:pt x="118" y="234"/>
                      <a:pt x="112" y="229"/>
                      <a:pt x="106" y="225"/>
                    </a:cubicBezTo>
                    <a:cubicBezTo>
                      <a:pt x="98" y="219"/>
                      <a:pt x="98" y="219"/>
                      <a:pt x="88" y="214"/>
                    </a:cubicBezTo>
                    <a:cubicBezTo>
                      <a:pt x="83" y="211"/>
                      <a:pt x="76" y="207"/>
                      <a:pt x="65" y="201"/>
                    </a:cubicBezTo>
                    <a:cubicBezTo>
                      <a:pt x="16" y="175"/>
                      <a:pt x="0" y="114"/>
                      <a:pt x="27" y="65"/>
                    </a:cubicBezTo>
                    <a:cubicBezTo>
                      <a:pt x="52" y="17"/>
                      <a:pt x="115" y="0"/>
                      <a:pt x="163" y="27"/>
                    </a:cubicBezTo>
                    <a:cubicBezTo>
                      <a:pt x="173" y="32"/>
                      <a:pt x="180" y="36"/>
                      <a:pt x="185" y="39"/>
                    </a:cubicBezTo>
                    <a:cubicBezTo>
                      <a:pt x="203" y="48"/>
                      <a:pt x="207" y="51"/>
                      <a:pt x="223" y="63"/>
                    </a:cubicBezTo>
                    <a:cubicBezTo>
                      <a:pt x="228" y="66"/>
                      <a:pt x="233" y="70"/>
                      <a:pt x="243" y="77"/>
                    </a:cubicBezTo>
                    <a:cubicBezTo>
                      <a:pt x="288" y="109"/>
                      <a:pt x="298" y="172"/>
                      <a:pt x="266" y="216"/>
                    </a:cubicBezTo>
                    <a:cubicBezTo>
                      <a:pt x="248" y="244"/>
                      <a:pt x="216" y="259"/>
                      <a:pt x="185"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8" name="Mobile_search2" descr="{&quot;Key&quot;:&quot;POWER_USER_SHAPE_ICON&quot;,&quot;Value&quot;:&quot;POWER_USER_SHAPE_ICON_STYLE_1&quot;}">
              <a:extLst>
                <a:ext uri="{FF2B5EF4-FFF2-40B4-BE49-F238E27FC236}">
                  <a16:creationId xmlns:a16="http://schemas.microsoft.com/office/drawing/2014/main" id="{F0CC2980-EB4D-41BA-B421-711789192E14}"/>
                </a:ext>
              </a:extLst>
            </p:cNvPr>
            <p:cNvGrpSpPr>
              <a:grpSpLocks noChangeAspect="1"/>
            </p:cNvGrpSpPr>
            <p:nvPr/>
          </p:nvGrpSpPr>
          <p:grpSpPr>
            <a:xfrm>
              <a:off x="7492229" y="3714482"/>
              <a:ext cx="696216" cy="762000"/>
              <a:chOff x="6437313" y="369888"/>
              <a:chExt cx="201613" cy="220663"/>
            </a:xfrm>
            <a:solidFill>
              <a:schemeClr val="bg1"/>
            </a:solidFill>
          </p:grpSpPr>
          <p:sp>
            <p:nvSpPr>
              <p:cNvPr id="69" name="Freeform 2943">
                <a:extLst>
                  <a:ext uri="{FF2B5EF4-FFF2-40B4-BE49-F238E27FC236}">
                    <a16:creationId xmlns:a16="http://schemas.microsoft.com/office/drawing/2014/main" id="{3D1495F4-81FE-4A56-8D71-073CE29A7EDB}"/>
                  </a:ext>
                </a:extLst>
              </p:cNvPr>
              <p:cNvSpPr>
                <a:spLocks noEditPoints="1"/>
              </p:cNvSpPr>
              <p:nvPr/>
            </p:nvSpPr>
            <p:spPr bwMode="auto">
              <a:xfrm>
                <a:off x="6472238" y="417513"/>
                <a:ext cx="114300" cy="112713"/>
              </a:xfrm>
              <a:custGeom>
                <a:avLst/>
                <a:gdLst>
                  <a:gd name="T0" fmla="*/ 1555 w 3110"/>
                  <a:gd name="T1" fmla="*/ 199 h 3109"/>
                  <a:gd name="T2" fmla="*/ 200 w 3110"/>
                  <a:gd name="T3" fmla="*/ 1555 h 3109"/>
                  <a:gd name="T4" fmla="*/ 1555 w 3110"/>
                  <a:gd name="T5" fmla="*/ 2910 h 3109"/>
                  <a:gd name="T6" fmla="*/ 2910 w 3110"/>
                  <a:gd name="T7" fmla="*/ 1555 h 3109"/>
                  <a:gd name="T8" fmla="*/ 1555 w 3110"/>
                  <a:gd name="T9" fmla="*/ 199 h 3109"/>
                  <a:gd name="T10" fmla="*/ 1555 w 3110"/>
                  <a:gd name="T11" fmla="*/ 3109 h 3109"/>
                  <a:gd name="T12" fmla="*/ 0 w 3110"/>
                  <a:gd name="T13" fmla="*/ 1555 h 3109"/>
                  <a:gd name="T14" fmla="*/ 1555 w 3110"/>
                  <a:gd name="T15" fmla="*/ 0 h 3109"/>
                  <a:gd name="T16" fmla="*/ 3110 w 3110"/>
                  <a:gd name="T17" fmla="*/ 1555 h 3109"/>
                  <a:gd name="T18" fmla="*/ 1555 w 3110"/>
                  <a:gd name="T19" fmla="*/ 3109 h 3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0" h="3109">
                    <a:moveTo>
                      <a:pt x="1555" y="199"/>
                    </a:moveTo>
                    <a:cubicBezTo>
                      <a:pt x="808" y="199"/>
                      <a:pt x="200" y="807"/>
                      <a:pt x="200" y="1555"/>
                    </a:cubicBezTo>
                    <a:cubicBezTo>
                      <a:pt x="200" y="2302"/>
                      <a:pt x="808" y="2910"/>
                      <a:pt x="1555" y="2910"/>
                    </a:cubicBezTo>
                    <a:cubicBezTo>
                      <a:pt x="2302" y="2910"/>
                      <a:pt x="2910" y="2302"/>
                      <a:pt x="2910" y="1555"/>
                    </a:cubicBezTo>
                    <a:cubicBezTo>
                      <a:pt x="2910" y="807"/>
                      <a:pt x="2302" y="199"/>
                      <a:pt x="1555" y="199"/>
                    </a:cubicBezTo>
                    <a:close/>
                    <a:moveTo>
                      <a:pt x="1555" y="3109"/>
                    </a:moveTo>
                    <a:cubicBezTo>
                      <a:pt x="698" y="3109"/>
                      <a:pt x="0" y="2413"/>
                      <a:pt x="0" y="1555"/>
                    </a:cubicBezTo>
                    <a:cubicBezTo>
                      <a:pt x="0" y="698"/>
                      <a:pt x="698" y="0"/>
                      <a:pt x="1555" y="0"/>
                    </a:cubicBezTo>
                    <a:cubicBezTo>
                      <a:pt x="2413" y="0"/>
                      <a:pt x="3110" y="698"/>
                      <a:pt x="3110" y="1555"/>
                    </a:cubicBezTo>
                    <a:cubicBezTo>
                      <a:pt x="3110" y="2413"/>
                      <a:pt x="2413" y="3109"/>
                      <a:pt x="1555" y="3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2944">
                <a:extLst>
                  <a:ext uri="{FF2B5EF4-FFF2-40B4-BE49-F238E27FC236}">
                    <a16:creationId xmlns:a16="http://schemas.microsoft.com/office/drawing/2014/main" id="{5C983001-C791-437E-A627-C7A1BFC11484}"/>
                  </a:ext>
                </a:extLst>
              </p:cNvPr>
              <p:cNvSpPr>
                <a:spLocks/>
              </p:cNvSpPr>
              <p:nvPr/>
            </p:nvSpPr>
            <p:spPr bwMode="auto">
              <a:xfrm>
                <a:off x="6538913" y="452438"/>
                <a:ext cx="30163" cy="58738"/>
              </a:xfrm>
              <a:custGeom>
                <a:avLst/>
                <a:gdLst>
                  <a:gd name="T0" fmla="*/ 113 w 822"/>
                  <a:gd name="T1" fmla="*/ 1634 h 1634"/>
                  <a:gd name="T2" fmla="*/ 20 w 822"/>
                  <a:gd name="T3" fmla="*/ 1570 h 1634"/>
                  <a:gd name="T4" fmla="*/ 77 w 822"/>
                  <a:gd name="T5" fmla="*/ 1441 h 1634"/>
                  <a:gd name="T6" fmla="*/ 622 w 822"/>
                  <a:gd name="T7" fmla="*/ 641 h 1634"/>
                  <a:gd name="T8" fmla="*/ 480 w 822"/>
                  <a:gd name="T9" fmla="*/ 169 h 1634"/>
                  <a:gd name="T10" fmla="*/ 508 w 822"/>
                  <a:gd name="T11" fmla="*/ 30 h 1634"/>
                  <a:gd name="T12" fmla="*/ 647 w 822"/>
                  <a:gd name="T13" fmla="*/ 58 h 1634"/>
                  <a:gd name="T14" fmla="*/ 822 w 822"/>
                  <a:gd name="T15" fmla="*/ 641 h 1634"/>
                  <a:gd name="T16" fmla="*/ 150 w 822"/>
                  <a:gd name="T17" fmla="*/ 1627 h 1634"/>
                  <a:gd name="T18" fmla="*/ 113 w 822"/>
                  <a:gd name="T19" fmla="*/ 1634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2" h="1634">
                    <a:moveTo>
                      <a:pt x="113" y="1634"/>
                    </a:moveTo>
                    <a:cubicBezTo>
                      <a:pt x="73" y="1634"/>
                      <a:pt x="36" y="1609"/>
                      <a:pt x="20" y="1570"/>
                    </a:cubicBezTo>
                    <a:cubicBezTo>
                      <a:pt x="0" y="1519"/>
                      <a:pt x="25" y="1460"/>
                      <a:pt x="77" y="1441"/>
                    </a:cubicBezTo>
                    <a:cubicBezTo>
                      <a:pt x="408" y="1311"/>
                      <a:pt x="622" y="997"/>
                      <a:pt x="622" y="641"/>
                    </a:cubicBezTo>
                    <a:cubicBezTo>
                      <a:pt x="622" y="472"/>
                      <a:pt x="573" y="308"/>
                      <a:pt x="480" y="169"/>
                    </a:cubicBezTo>
                    <a:cubicBezTo>
                      <a:pt x="450" y="123"/>
                      <a:pt x="462" y="60"/>
                      <a:pt x="508" y="30"/>
                    </a:cubicBezTo>
                    <a:cubicBezTo>
                      <a:pt x="554" y="0"/>
                      <a:pt x="617" y="13"/>
                      <a:pt x="647" y="58"/>
                    </a:cubicBezTo>
                    <a:cubicBezTo>
                      <a:pt x="761" y="232"/>
                      <a:pt x="822" y="432"/>
                      <a:pt x="822" y="641"/>
                    </a:cubicBezTo>
                    <a:cubicBezTo>
                      <a:pt x="822" y="1080"/>
                      <a:pt x="558" y="1467"/>
                      <a:pt x="150" y="1627"/>
                    </a:cubicBezTo>
                    <a:cubicBezTo>
                      <a:pt x="138" y="1632"/>
                      <a:pt x="126" y="1634"/>
                      <a:pt x="113" y="16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2945">
                <a:extLst>
                  <a:ext uri="{FF2B5EF4-FFF2-40B4-BE49-F238E27FC236}">
                    <a16:creationId xmlns:a16="http://schemas.microsoft.com/office/drawing/2014/main" id="{AD768D75-1D4A-4F01-B3D1-9ADFA018899B}"/>
                  </a:ext>
                </a:extLst>
              </p:cNvPr>
              <p:cNvSpPr>
                <a:spLocks/>
              </p:cNvSpPr>
              <p:nvPr/>
            </p:nvSpPr>
            <p:spPr bwMode="auto">
              <a:xfrm>
                <a:off x="6546851" y="442913"/>
                <a:ext cx="7938" cy="7938"/>
              </a:xfrm>
              <a:custGeom>
                <a:avLst/>
                <a:gdLst>
                  <a:gd name="T0" fmla="*/ 131 w 245"/>
                  <a:gd name="T1" fmla="*/ 226 h 226"/>
                  <a:gd name="T2" fmla="*/ 73 w 245"/>
                  <a:gd name="T3" fmla="*/ 208 h 226"/>
                  <a:gd name="T4" fmla="*/ 57 w 245"/>
                  <a:gd name="T5" fmla="*/ 197 h 226"/>
                  <a:gd name="T6" fmla="*/ 31 w 245"/>
                  <a:gd name="T7" fmla="*/ 57 h 226"/>
                  <a:gd name="T8" fmla="*/ 170 w 245"/>
                  <a:gd name="T9" fmla="*/ 32 h 226"/>
                  <a:gd name="T10" fmla="*/ 189 w 245"/>
                  <a:gd name="T11" fmla="*/ 44 h 226"/>
                  <a:gd name="T12" fmla="*/ 212 w 245"/>
                  <a:gd name="T13" fmla="*/ 184 h 226"/>
                  <a:gd name="T14" fmla="*/ 131 w 245"/>
                  <a:gd name="T15" fmla="*/ 226 h 2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5" h="226">
                    <a:moveTo>
                      <a:pt x="131" y="226"/>
                    </a:moveTo>
                    <a:cubicBezTo>
                      <a:pt x="111" y="226"/>
                      <a:pt x="91" y="221"/>
                      <a:pt x="73" y="208"/>
                    </a:cubicBezTo>
                    <a:cubicBezTo>
                      <a:pt x="68" y="203"/>
                      <a:pt x="63" y="200"/>
                      <a:pt x="57" y="197"/>
                    </a:cubicBezTo>
                    <a:cubicBezTo>
                      <a:pt x="12" y="166"/>
                      <a:pt x="0" y="104"/>
                      <a:pt x="31" y="57"/>
                    </a:cubicBezTo>
                    <a:cubicBezTo>
                      <a:pt x="62" y="12"/>
                      <a:pt x="124" y="0"/>
                      <a:pt x="170" y="32"/>
                    </a:cubicBezTo>
                    <a:cubicBezTo>
                      <a:pt x="176" y="36"/>
                      <a:pt x="183" y="40"/>
                      <a:pt x="189" y="44"/>
                    </a:cubicBezTo>
                    <a:cubicBezTo>
                      <a:pt x="234" y="77"/>
                      <a:pt x="245" y="140"/>
                      <a:pt x="212" y="184"/>
                    </a:cubicBezTo>
                    <a:cubicBezTo>
                      <a:pt x="193" y="212"/>
                      <a:pt x="162" y="226"/>
                      <a:pt x="131"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2946">
                <a:extLst>
                  <a:ext uri="{FF2B5EF4-FFF2-40B4-BE49-F238E27FC236}">
                    <a16:creationId xmlns:a16="http://schemas.microsoft.com/office/drawing/2014/main" id="{2A673788-B2D2-49BC-93D2-9636CCA719CC}"/>
                  </a:ext>
                </a:extLst>
              </p:cNvPr>
              <p:cNvSpPr>
                <a:spLocks/>
              </p:cNvSpPr>
              <p:nvPr/>
            </p:nvSpPr>
            <p:spPr bwMode="auto">
              <a:xfrm>
                <a:off x="6575426" y="514350"/>
                <a:ext cx="19050" cy="19050"/>
              </a:xfrm>
              <a:custGeom>
                <a:avLst/>
                <a:gdLst>
                  <a:gd name="T0" fmla="*/ 430 w 540"/>
                  <a:gd name="T1" fmla="*/ 539 h 539"/>
                  <a:gd name="T2" fmla="*/ 358 w 540"/>
                  <a:gd name="T3" fmla="*/ 508 h 539"/>
                  <a:gd name="T4" fmla="*/ 38 w 540"/>
                  <a:gd name="T5" fmla="*/ 180 h 539"/>
                  <a:gd name="T6" fmla="*/ 40 w 540"/>
                  <a:gd name="T7" fmla="*/ 39 h 539"/>
                  <a:gd name="T8" fmla="*/ 182 w 540"/>
                  <a:gd name="T9" fmla="*/ 41 h 539"/>
                  <a:gd name="T10" fmla="*/ 501 w 540"/>
                  <a:gd name="T11" fmla="*/ 369 h 539"/>
                  <a:gd name="T12" fmla="*/ 499 w 540"/>
                  <a:gd name="T13" fmla="*/ 510 h 539"/>
                  <a:gd name="T14" fmla="*/ 430 w 540"/>
                  <a:gd name="T15" fmla="*/ 539 h 5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 h="539">
                    <a:moveTo>
                      <a:pt x="430" y="539"/>
                    </a:moveTo>
                    <a:cubicBezTo>
                      <a:pt x="403" y="539"/>
                      <a:pt x="377" y="528"/>
                      <a:pt x="358" y="508"/>
                    </a:cubicBezTo>
                    <a:lnTo>
                      <a:pt x="38" y="180"/>
                    </a:lnTo>
                    <a:cubicBezTo>
                      <a:pt x="0" y="140"/>
                      <a:pt x="1" y="77"/>
                      <a:pt x="40" y="39"/>
                    </a:cubicBezTo>
                    <a:cubicBezTo>
                      <a:pt x="80" y="0"/>
                      <a:pt x="143" y="1"/>
                      <a:pt x="182" y="41"/>
                    </a:cubicBezTo>
                    <a:lnTo>
                      <a:pt x="501" y="369"/>
                    </a:lnTo>
                    <a:cubicBezTo>
                      <a:pt x="540" y="409"/>
                      <a:pt x="539" y="472"/>
                      <a:pt x="499" y="510"/>
                    </a:cubicBezTo>
                    <a:cubicBezTo>
                      <a:pt x="480" y="529"/>
                      <a:pt x="454" y="539"/>
                      <a:pt x="430" y="5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2947">
                <a:extLst>
                  <a:ext uri="{FF2B5EF4-FFF2-40B4-BE49-F238E27FC236}">
                    <a16:creationId xmlns:a16="http://schemas.microsoft.com/office/drawing/2014/main" id="{864EB5F8-3151-4EB8-9138-FAD2BC6CC0D7}"/>
                  </a:ext>
                </a:extLst>
              </p:cNvPr>
              <p:cNvSpPr>
                <a:spLocks/>
              </p:cNvSpPr>
              <p:nvPr/>
            </p:nvSpPr>
            <p:spPr bwMode="auto">
              <a:xfrm>
                <a:off x="6565901" y="523875"/>
                <a:ext cx="19050" cy="19050"/>
              </a:xfrm>
              <a:custGeom>
                <a:avLst/>
                <a:gdLst>
                  <a:gd name="T0" fmla="*/ 429 w 540"/>
                  <a:gd name="T1" fmla="*/ 538 h 538"/>
                  <a:gd name="T2" fmla="*/ 357 w 540"/>
                  <a:gd name="T3" fmla="*/ 509 h 538"/>
                  <a:gd name="T4" fmla="*/ 38 w 540"/>
                  <a:gd name="T5" fmla="*/ 181 h 538"/>
                  <a:gd name="T6" fmla="*/ 40 w 540"/>
                  <a:gd name="T7" fmla="*/ 39 h 538"/>
                  <a:gd name="T8" fmla="*/ 181 w 540"/>
                  <a:gd name="T9" fmla="*/ 41 h 538"/>
                  <a:gd name="T10" fmla="*/ 500 w 540"/>
                  <a:gd name="T11" fmla="*/ 369 h 538"/>
                  <a:gd name="T12" fmla="*/ 499 w 540"/>
                  <a:gd name="T13" fmla="*/ 511 h 538"/>
                  <a:gd name="T14" fmla="*/ 429 w 540"/>
                  <a:gd name="T15" fmla="*/ 538 h 5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 h="538">
                    <a:moveTo>
                      <a:pt x="429" y="538"/>
                    </a:moveTo>
                    <a:cubicBezTo>
                      <a:pt x="403" y="538"/>
                      <a:pt x="377" y="529"/>
                      <a:pt x="357" y="509"/>
                    </a:cubicBezTo>
                    <a:lnTo>
                      <a:pt x="38" y="181"/>
                    </a:lnTo>
                    <a:cubicBezTo>
                      <a:pt x="0" y="140"/>
                      <a:pt x="1" y="77"/>
                      <a:pt x="40" y="39"/>
                    </a:cubicBezTo>
                    <a:cubicBezTo>
                      <a:pt x="80" y="0"/>
                      <a:pt x="143" y="1"/>
                      <a:pt x="181" y="41"/>
                    </a:cubicBezTo>
                    <a:lnTo>
                      <a:pt x="500" y="369"/>
                    </a:lnTo>
                    <a:cubicBezTo>
                      <a:pt x="540" y="408"/>
                      <a:pt x="539" y="472"/>
                      <a:pt x="499" y="511"/>
                    </a:cubicBezTo>
                    <a:cubicBezTo>
                      <a:pt x="479" y="530"/>
                      <a:pt x="454" y="538"/>
                      <a:pt x="429" y="5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2948">
                <a:extLst>
                  <a:ext uri="{FF2B5EF4-FFF2-40B4-BE49-F238E27FC236}">
                    <a16:creationId xmlns:a16="http://schemas.microsoft.com/office/drawing/2014/main" id="{5597CDD7-FBDB-4824-AB81-4903BC684A7A}"/>
                  </a:ext>
                </a:extLst>
              </p:cNvPr>
              <p:cNvSpPr>
                <a:spLocks noEditPoints="1"/>
              </p:cNvSpPr>
              <p:nvPr/>
            </p:nvSpPr>
            <p:spPr bwMode="auto">
              <a:xfrm>
                <a:off x="6570663" y="520700"/>
                <a:ext cx="68263" cy="66675"/>
              </a:xfrm>
              <a:custGeom>
                <a:avLst/>
                <a:gdLst>
                  <a:gd name="T0" fmla="*/ 247 w 1892"/>
                  <a:gd name="T1" fmla="*/ 686 h 1850"/>
                  <a:gd name="T2" fmla="*/ 1168 w 1892"/>
                  <a:gd name="T3" fmla="*/ 1611 h 1850"/>
                  <a:gd name="T4" fmla="*/ 1649 w 1892"/>
                  <a:gd name="T5" fmla="*/ 1162 h 1850"/>
                  <a:gd name="T6" fmla="*/ 757 w 1892"/>
                  <a:gd name="T7" fmla="*/ 254 h 1850"/>
                  <a:gd name="T8" fmla="*/ 247 w 1892"/>
                  <a:gd name="T9" fmla="*/ 686 h 1850"/>
                  <a:gd name="T10" fmla="*/ 1165 w 1892"/>
                  <a:gd name="T11" fmla="*/ 1850 h 1850"/>
                  <a:gd name="T12" fmla="*/ 1094 w 1892"/>
                  <a:gd name="T13" fmla="*/ 1821 h 1850"/>
                  <a:gd name="T14" fmla="*/ 30 w 1892"/>
                  <a:gd name="T15" fmla="*/ 750 h 1850"/>
                  <a:gd name="T16" fmla="*/ 1 w 1892"/>
                  <a:gd name="T17" fmla="*/ 676 h 1850"/>
                  <a:gd name="T18" fmla="*/ 36 w 1892"/>
                  <a:gd name="T19" fmla="*/ 603 h 1850"/>
                  <a:gd name="T20" fmla="*/ 705 w 1892"/>
                  <a:gd name="T21" fmla="*/ 35 h 1850"/>
                  <a:gd name="T22" fmla="*/ 846 w 1892"/>
                  <a:gd name="T23" fmla="*/ 47 h 1850"/>
                  <a:gd name="T24" fmla="*/ 863 w 1892"/>
                  <a:gd name="T25" fmla="*/ 76 h 1850"/>
                  <a:gd name="T26" fmla="*/ 1863 w 1892"/>
                  <a:gd name="T27" fmla="*/ 1095 h 1850"/>
                  <a:gd name="T28" fmla="*/ 1892 w 1892"/>
                  <a:gd name="T29" fmla="*/ 1167 h 1850"/>
                  <a:gd name="T30" fmla="*/ 1860 w 1892"/>
                  <a:gd name="T31" fmla="*/ 1238 h 1850"/>
                  <a:gd name="T32" fmla="*/ 1233 w 1892"/>
                  <a:gd name="T33" fmla="*/ 1823 h 1850"/>
                  <a:gd name="T34" fmla="*/ 1165 w 1892"/>
                  <a:gd name="T35" fmla="*/ 1850 h 1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92" h="1850">
                    <a:moveTo>
                      <a:pt x="247" y="686"/>
                    </a:moveTo>
                    <a:lnTo>
                      <a:pt x="1168" y="1611"/>
                    </a:lnTo>
                    <a:lnTo>
                      <a:pt x="1649" y="1162"/>
                    </a:lnTo>
                    <a:lnTo>
                      <a:pt x="757" y="254"/>
                    </a:lnTo>
                    <a:lnTo>
                      <a:pt x="247" y="686"/>
                    </a:lnTo>
                    <a:close/>
                    <a:moveTo>
                      <a:pt x="1165" y="1850"/>
                    </a:moveTo>
                    <a:cubicBezTo>
                      <a:pt x="1139" y="1850"/>
                      <a:pt x="1114" y="1840"/>
                      <a:pt x="1094" y="1821"/>
                    </a:cubicBezTo>
                    <a:lnTo>
                      <a:pt x="30" y="750"/>
                    </a:lnTo>
                    <a:cubicBezTo>
                      <a:pt x="10" y="730"/>
                      <a:pt x="0" y="704"/>
                      <a:pt x="1" y="676"/>
                    </a:cubicBezTo>
                    <a:cubicBezTo>
                      <a:pt x="2" y="647"/>
                      <a:pt x="15" y="622"/>
                      <a:pt x="36" y="603"/>
                    </a:cubicBezTo>
                    <a:lnTo>
                      <a:pt x="705" y="35"/>
                    </a:lnTo>
                    <a:cubicBezTo>
                      <a:pt x="746" y="0"/>
                      <a:pt x="809" y="5"/>
                      <a:pt x="846" y="47"/>
                    </a:cubicBezTo>
                    <a:cubicBezTo>
                      <a:pt x="853" y="55"/>
                      <a:pt x="858" y="66"/>
                      <a:pt x="863" y="76"/>
                    </a:cubicBezTo>
                    <a:lnTo>
                      <a:pt x="1863" y="1095"/>
                    </a:lnTo>
                    <a:cubicBezTo>
                      <a:pt x="1883" y="1114"/>
                      <a:pt x="1892" y="1140"/>
                      <a:pt x="1892" y="1167"/>
                    </a:cubicBezTo>
                    <a:cubicBezTo>
                      <a:pt x="1891" y="1194"/>
                      <a:pt x="1881" y="1220"/>
                      <a:pt x="1860" y="1238"/>
                    </a:cubicBezTo>
                    <a:lnTo>
                      <a:pt x="1233" y="1823"/>
                    </a:lnTo>
                    <a:cubicBezTo>
                      <a:pt x="1214" y="1841"/>
                      <a:pt x="1190" y="1850"/>
                      <a:pt x="1165" y="18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2949">
                <a:extLst>
                  <a:ext uri="{FF2B5EF4-FFF2-40B4-BE49-F238E27FC236}">
                    <a16:creationId xmlns:a16="http://schemas.microsoft.com/office/drawing/2014/main" id="{4849D873-1681-4DF5-ADF5-EAC815DCC9CA}"/>
                  </a:ext>
                </a:extLst>
              </p:cNvPr>
              <p:cNvSpPr>
                <a:spLocks noEditPoints="1"/>
              </p:cNvSpPr>
              <p:nvPr/>
            </p:nvSpPr>
            <p:spPr bwMode="auto">
              <a:xfrm>
                <a:off x="6492876" y="554038"/>
                <a:ext cx="19050" cy="20638"/>
              </a:xfrm>
              <a:custGeom>
                <a:avLst/>
                <a:gdLst>
                  <a:gd name="T0" fmla="*/ 265 w 531"/>
                  <a:gd name="T1" fmla="*/ 200 h 532"/>
                  <a:gd name="T2" fmla="*/ 200 w 531"/>
                  <a:gd name="T3" fmla="*/ 266 h 532"/>
                  <a:gd name="T4" fmla="*/ 265 w 531"/>
                  <a:gd name="T5" fmla="*/ 332 h 532"/>
                  <a:gd name="T6" fmla="*/ 331 w 531"/>
                  <a:gd name="T7" fmla="*/ 266 h 532"/>
                  <a:gd name="T8" fmla="*/ 265 w 531"/>
                  <a:gd name="T9" fmla="*/ 200 h 532"/>
                  <a:gd name="T10" fmla="*/ 265 w 531"/>
                  <a:gd name="T11" fmla="*/ 532 h 532"/>
                  <a:gd name="T12" fmla="*/ 0 w 531"/>
                  <a:gd name="T13" fmla="*/ 266 h 532"/>
                  <a:gd name="T14" fmla="*/ 265 w 531"/>
                  <a:gd name="T15" fmla="*/ 0 h 532"/>
                  <a:gd name="T16" fmla="*/ 531 w 531"/>
                  <a:gd name="T17" fmla="*/ 266 h 532"/>
                  <a:gd name="T18" fmla="*/ 265 w 531"/>
                  <a:gd name="T19" fmla="*/ 532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1" h="532">
                    <a:moveTo>
                      <a:pt x="265" y="200"/>
                    </a:moveTo>
                    <a:cubicBezTo>
                      <a:pt x="229" y="200"/>
                      <a:pt x="200" y="230"/>
                      <a:pt x="200" y="266"/>
                    </a:cubicBezTo>
                    <a:cubicBezTo>
                      <a:pt x="200" y="302"/>
                      <a:pt x="229" y="332"/>
                      <a:pt x="265" y="332"/>
                    </a:cubicBezTo>
                    <a:cubicBezTo>
                      <a:pt x="301" y="332"/>
                      <a:pt x="331" y="302"/>
                      <a:pt x="331" y="266"/>
                    </a:cubicBezTo>
                    <a:cubicBezTo>
                      <a:pt x="331" y="230"/>
                      <a:pt x="301" y="200"/>
                      <a:pt x="265" y="200"/>
                    </a:cubicBezTo>
                    <a:close/>
                    <a:moveTo>
                      <a:pt x="265" y="532"/>
                    </a:moveTo>
                    <a:cubicBezTo>
                      <a:pt x="119" y="532"/>
                      <a:pt x="0" y="413"/>
                      <a:pt x="0" y="266"/>
                    </a:cubicBezTo>
                    <a:cubicBezTo>
                      <a:pt x="0" y="119"/>
                      <a:pt x="119" y="0"/>
                      <a:pt x="265" y="0"/>
                    </a:cubicBezTo>
                    <a:cubicBezTo>
                      <a:pt x="412" y="0"/>
                      <a:pt x="531" y="119"/>
                      <a:pt x="531" y="266"/>
                    </a:cubicBezTo>
                    <a:cubicBezTo>
                      <a:pt x="531" y="413"/>
                      <a:pt x="412" y="532"/>
                      <a:pt x="265" y="5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2950">
                <a:extLst>
                  <a:ext uri="{FF2B5EF4-FFF2-40B4-BE49-F238E27FC236}">
                    <a16:creationId xmlns:a16="http://schemas.microsoft.com/office/drawing/2014/main" id="{C1FA5876-7B44-4A47-BF76-18D9CCEE9EAD}"/>
                  </a:ext>
                </a:extLst>
              </p:cNvPr>
              <p:cNvSpPr>
                <a:spLocks/>
              </p:cNvSpPr>
              <p:nvPr/>
            </p:nvSpPr>
            <p:spPr bwMode="auto">
              <a:xfrm>
                <a:off x="6440488" y="542925"/>
                <a:ext cx="106363" cy="6350"/>
              </a:xfrm>
              <a:custGeom>
                <a:avLst/>
                <a:gdLst>
                  <a:gd name="T0" fmla="*/ 2816 w 2916"/>
                  <a:gd name="T1" fmla="*/ 200 h 200"/>
                  <a:gd name="T2" fmla="*/ 99 w 2916"/>
                  <a:gd name="T3" fmla="*/ 200 h 200"/>
                  <a:gd name="T4" fmla="*/ 0 w 2916"/>
                  <a:gd name="T5" fmla="*/ 100 h 200"/>
                  <a:gd name="T6" fmla="*/ 99 w 2916"/>
                  <a:gd name="T7" fmla="*/ 0 h 200"/>
                  <a:gd name="T8" fmla="*/ 2816 w 2916"/>
                  <a:gd name="T9" fmla="*/ 0 h 200"/>
                  <a:gd name="T10" fmla="*/ 2916 w 2916"/>
                  <a:gd name="T11" fmla="*/ 100 h 200"/>
                  <a:gd name="T12" fmla="*/ 2816 w 2916"/>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2916" h="200">
                    <a:moveTo>
                      <a:pt x="2816" y="200"/>
                    </a:moveTo>
                    <a:lnTo>
                      <a:pt x="99" y="200"/>
                    </a:lnTo>
                    <a:cubicBezTo>
                      <a:pt x="44" y="200"/>
                      <a:pt x="0" y="155"/>
                      <a:pt x="0" y="100"/>
                    </a:cubicBezTo>
                    <a:cubicBezTo>
                      <a:pt x="0" y="44"/>
                      <a:pt x="44" y="0"/>
                      <a:pt x="99" y="0"/>
                    </a:cubicBezTo>
                    <a:lnTo>
                      <a:pt x="2816" y="0"/>
                    </a:lnTo>
                    <a:cubicBezTo>
                      <a:pt x="2871" y="0"/>
                      <a:pt x="2916" y="44"/>
                      <a:pt x="2916" y="100"/>
                    </a:cubicBezTo>
                    <a:cubicBezTo>
                      <a:pt x="2916" y="155"/>
                      <a:pt x="2871" y="200"/>
                      <a:pt x="281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2951">
                <a:extLst>
                  <a:ext uri="{FF2B5EF4-FFF2-40B4-BE49-F238E27FC236}">
                    <a16:creationId xmlns:a16="http://schemas.microsoft.com/office/drawing/2014/main" id="{3B0D95B6-5BBF-4227-8D16-66EBFB5F0406}"/>
                  </a:ext>
                </a:extLst>
              </p:cNvPr>
              <p:cNvSpPr>
                <a:spLocks/>
              </p:cNvSpPr>
              <p:nvPr/>
            </p:nvSpPr>
            <p:spPr bwMode="auto">
              <a:xfrm>
                <a:off x="6437313" y="369888"/>
                <a:ext cx="128588" cy="220663"/>
              </a:xfrm>
              <a:custGeom>
                <a:avLst/>
                <a:gdLst>
                  <a:gd name="T0" fmla="*/ 2915 w 3517"/>
                  <a:gd name="T1" fmla="*/ 6050 h 6050"/>
                  <a:gd name="T2" fmla="*/ 603 w 3517"/>
                  <a:gd name="T3" fmla="*/ 6050 h 6050"/>
                  <a:gd name="T4" fmla="*/ 0 w 3517"/>
                  <a:gd name="T5" fmla="*/ 5446 h 6050"/>
                  <a:gd name="T6" fmla="*/ 0 w 3517"/>
                  <a:gd name="T7" fmla="*/ 597 h 6050"/>
                  <a:gd name="T8" fmla="*/ 603 w 3517"/>
                  <a:gd name="T9" fmla="*/ 0 h 6050"/>
                  <a:gd name="T10" fmla="*/ 2915 w 3517"/>
                  <a:gd name="T11" fmla="*/ 0 h 6050"/>
                  <a:gd name="T12" fmla="*/ 3517 w 3517"/>
                  <a:gd name="T13" fmla="*/ 597 h 6050"/>
                  <a:gd name="T14" fmla="*/ 3517 w 3517"/>
                  <a:gd name="T15" fmla="*/ 1366 h 6050"/>
                  <a:gd name="T16" fmla="*/ 3417 w 3517"/>
                  <a:gd name="T17" fmla="*/ 1466 h 6050"/>
                  <a:gd name="T18" fmla="*/ 3317 w 3517"/>
                  <a:gd name="T19" fmla="*/ 1366 h 6050"/>
                  <a:gd name="T20" fmla="*/ 3317 w 3517"/>
                  <a:gd name="T21" fmla="*/ 597 h 6050"/>
                  <a:gd name="T22" fmla="*/ 2915 w 3517"/>
                  <a:gd name="T23" fmla="*/ 200 h 6050"/>
                  <a:gd name="T24" fmla="*/ 603 w 3517"/>
                  <a:gd name="T25" fmla="*/ 200 h 6050"/>
                  <a:gd name="T26" fmla="*/ 200 w 3517"/>
                  <a:gd name="T27" fmla="*/ 597 h 6050"/>
                  <a:gd name="T28" fmla="*/ 200 w 3517"/>
                  <a:gd name="T29" fmla="*/ 5446 h 6050"/>
                  <a:gd name="T30" fmla="*/ 603 w 3517"/>
                  <a:gd name="T31" fmla="*/ 5850 h 6050"/>
                  <a:gd name="T32" fmla="*/ 2915 w 3517"/>
                  <a:gd name="T33" fmla="*/ 5850 h 6050"/>
                  <a:gd name="T34" fmla="*/ 3317 w 3517"/>
                  <a:gd name="T35" fmla="*/ 5446 h 6050"/>
                  <a:gd name="T36" fmla="*/ 3317 w 3517"/>
                  <a:gd name="T37" fmla="*/ 4382 h 6050"/>
                  <a:gd name="T38" fmla="*/ 3417 w 3517"/>
                  <a:gd name="T39" fmla="*/ 4283 h 6050"/>
                  <a:gd name="T40" fmla="*/ 3517 w 3517"/>
                  <a:gd name="T41" fmla="*/ 4382 h 6050"/>
                  <a:gd name="T42" fmla="*/ 3517 w 3517"/>
                  <a:gd name="T43" fmla="*/ 5446 h 6050"/>
                  <a:gd name="T44" fmla="*/ 2915 w 3517"/>
                  <a:gd name="T45" fmla="*/ 6050 h 6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17" h="6050">
                    <a:moveTo>
                      <a:pt x="2915" y="6050"/>
                    </a:moveTo>
                    <a:lnTo>
                      <a:pt x="603" y="6050"/>
                    </a:lnTo>
                    <a:cubicBezTo>
                      <a:pt x="271" y="6050"/>
                      <a:pt x="0" y="5779"/>
                      <a:pt x="0" y="5446"/>
                    </a:cubicBezTo>
                    <a:lnTo>
                      <a:pt x="0" y="597"/>
                    </a:lnTo>
                    <a:cubicBezTo>
                      <a:pt x="0" y="268"/>
                      <a:pt x="271" y="0"/>
                      <a:pt x="603" y="0"/>
                    </a:cubicBezTo>
                    <a:lnTo>
                      <a:pt x="2915" y="0"/>
                    </a:lnTo>
                    <a:cubicBezTo>
                      <a:pt x="3247" y="0"/>
                      <a:pt x="3517" y="268"/>
                      <a:pt x="3517" y="597"/>
                    </a:cubicBezTo>
                    <a:lnTo>
                      <a:pt x="3517" y="1366"/>
                    </a:lnTo>
                    <a:cubicBezTo>
                      <a:pt x="3517" y="1421"/>
                      <a:pt x="3472" y="1466"/>
                      <a:pt x="3417" y="1466"/>
                    </a:cubicBezTo>
                    <a:cubicBezTo>
                      <a:pt x="3362" y="1466"/>
                      <a:pt x="3317" y="1421"/>
                      <a:pt x="3317" y="1366"/>
                    </a:cubicBezTo>
                    <a:lnTo>
                      <a:pt x="3317" y="597"/>
                    </a:lnTo>
                    <a:cubicBezTo>
                      <a:pt x="3317" y="374"/>
                      <a:pt x="3141" y="200"/>
                      <a:pt x="2915" y="200"/>
                    </a:cubicBezTo>
                    <a:lnTo>
                      <a:pt x="603" y="200"/>
                    </a:lnTo>
                    <a:cubicBezTo>
                      <a:pt x="377" y="200"/>
                      <a:pt x="200" y="374"/>
                      <a:pt x="200" y="597"/>
                    </a:cubicBezTo>
                    <a:lnTo>
                      <a:pt x="200" y="5446"/>
                    </a:lnTo>
                    <a:cubicBezTo>
                      <a:pt x="200" y="5668"/>
                      <a:pt x="381" y="5850"/>
                      <a:pt x="603" y="5850"/>
                    </a:cubicBezTo>
                    <a:lnTo>
                      <a:pt x="2915" y="5850"/>
                    </a:lnTo>
                    <a:cubicBezTo>
                      <a:pt x="3137" y="5850"/>
                      <a:pt x="3317" y="5668"/>
                      <a:pt x="3317" y="5446"/>
                    </a:cubicBezTo>
                    <a:lnTo>
                      <a:pt x="3317" y="4382"/>
                    </a:lnTo>
                    <a:cubicBezTo>
                      <a:pt x="3317" y="4328"/>
                      <a:pt x="3362" y="4283"/>
                      <a:pt x="3417" y="4283"/>
                    </a:cubicBezTo>
                    <a:cubicBezTo>
                      <a:pt x="3472" y="4283"/>
                      <a:pt x="3517" y="4328"/>
                      <a:pt x="3517" y="4382"/>
                    </a:cubicBezTo>
                    <a:lnTo>
                      <a:pt x="3517" y="5446"/>
                    </a:lnTo>
                    <a:cubicBezTo>
                      <a:pt x="3517" y="5779"/>
                      <a:pt x="3247" y="6050"/>
                      <a:pt x="2915" y="60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2952">
                <a:extLst>
                  <a:ext uri="{FF2B5EF4-FFF2-40B4-BE49-F238E27FC236}">
                    <a16:creationId xmlns:a16="http://schemas.microsoft.com/office/drawing/2014/main" id="{68880456-AEDA-4087-B9BF-2C3754B44692}"/>
                  </a:ext>
                </a:extLst>
              </p:cNvPr>
              <p:cNvSpPr>
                <a:spLocks/>
              </p:cNvSpPr>
              <p:nvPr/>
            </p:nvSpPr>
            <p:spPr bwMode="auto">
              <a:xfrm>
                <a:off x="6440488" y="398463"/>
                <a:ext cx="104775" cy="6350"/>
              </a:xfrm>
              <a:custGeom>
                <a:avLst/>
                <a:gdLst>
                  <a:gd name="T0" fmla="*/ 2816 w 2916"/>
                  <a:gd name="T1" fmla="*/ 200 h 200"/>
                  <a:gd name="T2" fmla="*/ 100 w 2916"/>
                  <a:gd name="T3" fmla="*/ 200 h 200"/>
                  <a:gd name="T4" fmla="*/ 0 w 2916"/>
                  <a:gd name="T5" fmla="*/ 100 h 200"/>
                  <a:gd name="T6" fmla="*/ 100 w 2916"/>
                  <a:gd name="T7" fmla="*/ 0 h 200"/>
                  <a:gd name="T8" fmla="*/ 2816 w 2916"/>
                  <a:gd name="T9" fmla="*/ 0 h 200"/>
                  <a:gd name="T10" fmla="*/ 2916 w 2916"/>
                  <a:gd name="T11" fmla="*/ 100 h 200"/>
                  <a:gd name="T12" fmla="*/ 2816 w 2916"/>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2916" h="200">
                    <a:moveTo>
                      <a:pt x="2816" y="200"/>
                    </a:moveTo>
                    <a:lnTo>
                      <a:pt x="100" y="200"/>
                    </a:lnTo>
                    <a:cubicBezTo>
                      <a:pt x="44" y="200"/>
                      <a:pt x="0" y="156"/>
                      <a:pt x="0" y="100"/>
                    </a:cubicBezTo>
                    <a:cubicBezTo>
                      <a:pt x="0" y="45"/>
                      <a:pt x="44" y="0"/>
                      <a:pt x="100" y="0"/>
                    </a:cubicBezTo>
                    <a:lnTo>
                      <a:pt x="2816" y="0"/>
                    </a:lnTo>
                    <a:cubicBezTo>
                      <a:pt x="2872" y="0"/>
                      <a:pt x="2916" y="45"/>
                      <a:pt x="2916" y="100"/>
                    </a:cubicBezTo>
                    <a:cubicBezTo>
                      <a:pt x="2916" y="156"/>
                      <a:pt x="2872" y="200"/>
                      <a:pt x="281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2953">
                <a:extLst>
                  <a:ext uri="{FF2B5EF4-FFF2-40B4-BE49-F238E27FC236}">
                    <a16:creationId xmlns:a16="http://schemas.microsoft.com/office/drawing/2014/main" id="{D9CD7959-38C7-4909-B880-912D8DC76F2A}"/>
                  </a:ext>
                </a:extLst>
              </p:cNvPr>
              <p:cNvSpPr>
                <a:spLocks/>
              </p:cNvSpPr>
              <p:nvPr/>
            </p:nvSpPr>
            <p:spPr bwMode="auto">
              <a:xfrm>
                <a:off x="6475413" y="384175"/>
                <a:ext cx="52388" cy="6350"/>
              </a:xfrm>
              <a:custGeom>
                <a:avLst/>
                <a:gdLst>
                  <a:gd name="T0" fmla="*/ 1317 w 1417"/>
                  <a:gd name="T1" fmla="*/ 200 h 200"/>
                  <a:gd name="T2" fmla="*/ 100 w 1417"/>
                  <a:gd name="T3" fmla="*/ 200 h 200"/>
                  <a:gd name="T4" fmla="*/ 0 w 1417"/>
                  <a:gd name="T5" fmla="*/ 100 h 200"/>
                  <a:gd name="T6" fmla="*/ 100 w 1417"/>
                  <a:gd name="T7" fmla="*/ 0 h 200"/>
                  <a:gd name="T8" fmla="*/ 1317 w 1417"/>
                  <a:gd name="T9" fmla="*/ 0 h 200"/>
                  <a:gd name="T10" fmla="*/ 1417 w 1417"/>
                  <a:gd name="T11" fmla="*/ 100 h 200"/>
                  <a:gd name="T12" fmla="*/ 1317 w 1417"/>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1417" h="200">
                    <a:moveTo>
                      <a:pt x="1317" y="200"/>
                    </a:moveTo>
                    <a:lnTo>
                      <a:pt x="100" y="200"/>
                    </a:lnTo>
                    <a:cubicBezTo>
                      <a:pt x="45" y="200"/>
                      <a:pt x="0" y="155"/>
                      <a:pt x="0" y="100"/>
                    </a:cubicBezTo>
                    <a:cubicBezTo>
                      <a:pt x="0" y="45"/>
                      <a:pt x="45" y="0"/>
                      <a:pt x="100" y="0"/>
                    </a:cubicBezTo>
                    <a:lnTo>
                      <a:pt x="1317" y="0"/>
                    </a:lnTo>
                    <a:cubicBezTo>
                      <a:pt x="1372" y="0"/>
                      <a:pt x="1417" y="45"/>
                      <a:pt x="1417" y="100"/>
                    </a:cubicBezTo>
                    <a:cubicBezTo>
                      <a:pt x="1417" y="155"/>
                      <a:pt x="1372" y="200"/>
                      <a:pt x="1317"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 name="Title 2">
            <a:extLst>
              <a:ext uri="{FF2B5EF4-FFF2-40B4-BE49-F238E27FC236}">
                <a16:creationId xmlns:a16="http://schemas.microsoft.com/office/drawing/2014/main" id="{9C336D67-1D30-431D-AFD6-F4BADCEB0F30}"/>
              </a:ext>
            </a:extLst>
          </p:cNvPr>
          <p:cNvSpPr>
            <a:spLocks noGrp="1"/>
          </p:cNvSpPr>
          <p:nvPr>
            <p:ph type="title"/>
          </p:nvPr>
        </p:nvSpPr>
        <p:spPr>
          <a:xfrm>
            <a:off x="609600" y="443268"/>
            <a:ext cx="10490768" cy="553998"/>
          </a:xfrm>
        </p:spPr>
        <p:txBody>
          <a:bodyPr vert="horz" wrap="square" lIns="0" tIns="0" rIns="0" bIns="0" rtlCol="0" anchor="t" anchorCtr="0">
            <a:spAutoFit/>
          </a:bodyPr>
          <a:lstStyle/>
          <a:p>
            <a:r>
              <a:rPr lang="en-US" sz="3600" dirty="0">
                <a:solidFill>
                  <a:schemeClr val="accent1"/>
                </a:solidFill>
                <a:latin typeface="Arial"/>
                <a:cs typeface="Arial"/>
              </a:rPr>
              <a:t>Fully managed NG-XDR service offering</a:t>
            </a:r>
          </a:p>
        </p:txBody>
      </p:sp>
      <p:sp>
        <p:nvSpPr>
          <p:cNvPr id="14" name="Rectangle 13">
            <a:extLst>
              <a:ext uri="{FF2B5EF4-FFF2-40B4-BE49-F238E27FC236}">
                <a16:creationId xmlns:a16="http://schemas.microsoft.com/office/drawing/2014/main" id="{190CD20E-BB53-471D-8E15-6277EAC6F67E}"/>
              </a:ext>
            </a:extLst>
          </p:cNvPr>
          <p:cNvSpPr/>
          <p:nvPr/>
        </p:nvSpPr>
        <p:spPr>
          <a:xfrm>
            <a:off x="-5116" y="1348315"/>
            <a:ext cx="4182202" cy="17351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b="1" dirty="0">
                <a:solidFill>
                  <a:srgbClr val="00B050"/>
                </a:solidFill>
              </a:rPr>
              <a:t>Extended Detection &amp; Response</a:t>
            </a:r>
          </a:p>
          <a:p>
            <a:pPr algn="r">
              <a:spcBef>
                <a:spcPts val="200"/>
              </a:spcBef>
              <a:spcAft>
                <a:spcPts val="200"/>
              </a:spcAft>
            </a:pPr>
            <a:r>
              <a:rPr lang="en-US" sz="1400" dirty="0">
                <a:solidFill>
                  <a:schemeClr val="accent5"/>
                </a:solidFill>
              </a:rPr>
              <a:t>24x7 Security Operations</a:t>
            </a:r>
            <a:endParaRPr lang="en-US" sz="1600" dirty="0">
              <a:solidFill>
                <a:schemeClr val="accent5"/>
              </a:solidFill>
            </a:endParaRPr>
          </a:p>
          <a:p>
            <a:pPr algn="r">
              <a:spcBef>
                <a:spcPts val="200"/>
              </a:spcBef>
              <a:spcAft>
                <a:spcPts val="200"/>
              </a:spcAft>
            </a:pPr>
            <a:r>
              <a:rPr lang="en-US" sz="1400" dirty="0">
                <a:solidFill>
                  <a:schemeClr val="accent5"/>
                </a:solidFill>
              </a:rPr>
              <a:t>Threat Hunting &amp; Tuning</a:t>
            </a:r>
          </a:p>
          <a:p>
            <a:pPr algn="r">
              <a:spcBef>
                <a:spcPts val="200"/>
              </a:spcBef>
              <a:spcAft>
                <a:spcPts val="200"/>
              </a:spcAft>
            </a:pPr>
            <a:r>
              <a:rPr lang="en-US" sz="1400" dirty="0">
                <a:solidFill>
                  <a:schemeClr val="accent5"/>
                </a:solidFill>
              </a:rPr>
              <a:t>Incident / Case Handling</a:t>
            </a:r>
          </a:p>
          <a:p>
            <a:pPr algn="r">
              <a:spcBef>
                <a:spcPts val="200"/>
              </a:spcBef>
              <a:spcAft>
                <a:spcPts val="200"/>
              </a:spcAft>
            </a:pPr>
            <a:r>
              <a:rPr lang="en-US" sz="1400" dirty="0">
                <a:solidFill>
                  <a:schemeClr val="accent5"/>
                </a:solidFill>
              </a:rPr>
              <a:t>Mature Documented Procedures</a:t>
            </a:r>
          </a:p>
          <a:p>
            <a:pPr algn="r">
              <a:spcBef>
                <a:spcPts val="200"/>
              </a:spcBef>
              <a:spcAft>
                <a:spcPts val="200"/>
              </a:spcAft>
            </a:pPr>
            <a:r>
              <a:rPr lang="en-US" sz="1400" dirty="0">
                <a:solidFill>
                  <a:schemeClr val="accent5"/>
                </a:solidFill>
              </a:rPr>
              <a:t>Custom Threat  Intelligence Subscriptions</a:t>
            </a:r>
          </a:p>
        </p:txBody>
      </p:sp>
      <p:sp>
        <p:nvSpPr>
          <p:cNvPr id="15" name="Rectangle 14">
            <a:extLst>
              <a:ext uri="{FF2B5EF4-FFF2-40B4-BE49-F238E27FC236}">
                <a16:creationId xmlns:a16="http://schemas.microsoft.com/office/drawing/2014/main" id="{856BC3E9-CFE7-4E05-A097-6D5770B3EA21}"/>
              </a:ext>
            </a:extLst>
          </p:cNvPr>
          <p:cNvSpPr/>
          <p:nvPr/>
        </p:nvSpPr>
        <p:spPr>
          <a:xfrm>
            <a:off x="-1" y="3465829"/>
            <a:ext cx="4177085" cy="11169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40046"/>
                </a:solidFill>
                <a:effectLst/>
                <a:uLnTx/>
                <a:uFillTx/>
                <a:latin typeface="Arial" panose="020B0604020202020204"/>
                <a:ea typeface="+mn-ea"/>
                <a:cs typeface="+mn-cs"/>
              </a:rPr>
              <a:t>Network Detection &amp; Response</a:t>
            </a:r>
          </a:p>
          <a:p>
            <a:pPr algn="r">
              <a:spcBef>
                <a:spcPts val="200"/>
              </a:spcBef>
              <a:spcAft>
                <a:spcPts val="200"/>
              </a:spcAft>
            </a:pPr>
            <a:r>
              <a:rPr lang="en-US" sz="1400" dirty="0">
                <a:solidFill>
                  <a:schemeClr val="accent5"/>
                </a:solidFill>
              </a:rPr>
              <a:t>Network Traffic Analyses</a:t>
            </a:r>
          </a:p>
          <a:p>
            <a:pPr algn="r">
              <a:spcBef>
                <a:spcPts val="200"/>
              </a:spcBef>
              <a:spcAft>
                <a:spcPts val="200"/>
              </a:spcAft>
            </a:pPr>
            <a:r>
              <a:rPr lang="en-US" sz="1400" dirty="0">
                <a:solidFill>
                  <a:schemeClr val="accent5"/>
                </a:solidFill>
              </a:rPr>
              <a:t>Deep Packet Inspection / Blocking</a:t>
            </a:r>
          </a:p>
          <a:p>
            <a:pPr algn="r">
              <a:spcBef>
                <a:spcPts val="200"/>
              </a:spcBef>
              <a:spcAft>
                <a:spcPts val="200"/>
              </a:spcAft>
            </a:pPr>
            <a:r>
              <a:rPr lang="en-US" sz="1400" dirty="0">
                <a:solidFill>
                  <a:schemeClr val="accent5"/>
                </a:solidFill>
              </a:rPr>
              <a:t>Behavior Analysis / Certificate Inspection</a:t>
            </a:r>
          </a:p>
        </p:txBody>
      </p:sp>
      <p:sp>
        <p:nvSpPr>
          <p:cNvPr id="16" name="Rectangle 15">
            <a:extLst>
              <a:ext uri="{FF2B5EF4-FFF2-40B4-BE49-F238E27FC236}">
                <a16:creationId xmlns:a16="http://schemas.microsoft.com/office/drawing/2014/main" id="{CD41D0A6-9F58-49E3-80C4-D0720643DA73}"/>
              </a:ext>
            </a:extLst>
          </p:cNvPr>
          <p:cNvSpPr/>
          <p:nvPr/>
        </p:nvSpPr>
        <p:spPr>
          <a:xfrm>
            <a:off x="7955890" y="3308021"/>
            <a:ext cx="4182201" cy="11169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rgbClr val="E40046"/>
                </a:solidFill>
                <a:latin typeface="Arial" panose="020B0604020202020204"/>
              </a:rPr>
              <a:t>Endpoint Detection &amp; Response</a:t>
            </a:r>
          </a:p>
          <a:p>
            <a:pPr>
              <a:spcBef>
                <a:spcPts val="200"/>
              </a:spcBef>
              <a:spcAft>
                <a:spcPts val="200"/>
              </a:spcAft>
              <a:defRPr/>
            </a:pPr>
            <a:r>
              <a:rPr lang="en-US" sz="1400" dirty="0">
                <a:solidFill>
                  <a:schemeClr val="accent5"/>
                </a:solidFill>
                <a:latin typeface="Arial" panose="020B0604020202020204"/>
              </a:rPr>
              <a:t>Fully managed EDR or BYO</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400" b="0" i="0" u="none" strike="noStrike" kern="1200" cap="none" spc="0" normalizeH="0" baseline="0" noProof="0" dirty="0">
                <a:ln>
                  <a:noFill/>
                </a:ln>
                <a:solidFill>
                  <a:schemeClr val="accent5"/>
                </a:solidFill>
                <a:effectLst/>
                <a:uLnTx/>
                <a:uFillTx/>
                <a:latin typeface="Arial" panose="020B0604020202020204"/>
                <a:ea typeface="+mn-ea"/>
                <a:cs typeface="+mn-cs"/>
              </a:rPr>
              <a:t>Signature &amp; Behavior Detection</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400" b="0" i="0" u="none" strike="noStrike" kern="1200" cap="none" spc="0" normalizeH="0" baseline="0" noProof="0" dirty="0">
                <a:ln>
                  <a:noFill/>
                </a:ln>
                <a:solidFill>
                  <a:schemeClr val="accent5"/>
                </a:solidFill>
                <a:effectLst/>
                <a:uLnTx/>
                <a:uFillTx/>
                <a:latin typeface="Arial" panose="020B0604020202020204"/>
                <a:ea typeface="+mn-ea"/>
                <a:cs typeface="+mn-cs"/>
              </a:rPr>
              <a:t>SOAR Automation – Drop, Disable, Contain</a:t>
            </a:r>
          </a:p>
        </p:txBody>
      </p:sp>
      <p:sp>
        <p:nvSpPr>
          <p:cNvPr id="17" name="Rectangle 16">
            <a:extLst>
              <a:ext uri="{FF2B5EF4-FFF2-40B4-BE49-F238E27FC236}">
                <a16:creationId xmlns:a16="http://schemas.microsoft.com/office/drawing/2014/main" id="{77089445-C4F6-45A8-9075-FB5F6227255B}"/>
              </a:ext>
            </a:extLst>
          </p:cNvPr>
          <p:cNvSpPr/>
          <p:nvPr/>
        </p:nvSpPr>
        <p:spPr>
          <a:xfrm>
            <a:off x="7955889" y="1294537"/>
            <a:ext cx="4182202" cy="1606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accent2"/>
                </a:solidFill>
              </a:rPr>
              <a:t>Vulnerability Management</a:t>
            </a:r>
          </a:p>
          <a:p>
            <a:pPr>
              <a:spcBef>
                <a:spcPts val="200"/>
              </a:spcBef>
              <a:spcAft>
                <a:spcPts val="200"/>
              </a:spcAft>
            </a:pPr>
            <a:r>
              <a:rPr lang="en-US" sz="1400" dirty="0">
                <a:solidFill>
                  <a:schemeClr val="accent5"/>
                </a:solidFill>
              </a:rPr>
              <a:t>Weekly scanning / Monthly Reporting</a:t>
            </a:r>
          </a:p>
          <a:p>
            <a:pPr>
              <a:spcBef>
                <a:spcPts val="200"/>
              </a:spcBef>
              <a:spcAft>
                <a:spcPts val="200"/>
              </a:spcAft>
            </a:pPr>
            <a:r>
              <a:rPr lang="en-US" sz="1400" dirty="0">
                <a:solidFill>
                  <a:schemeClr val="accent5"/>
                </a:solidFill>
              </a:rPr>
              <a:t>Endpoint, Network, Cloud Visibility</a:t>
            </a:r>
          </a:p>
          <a:p>
            <a:pPr>
              <a:spcBef>
                <a:spcPts val="200"/>
              </a:spcBef>
              <a:spcAft>
                <a:spcPts val="200"/>
              </a:spcAft>
            </a:pPr>
            <a:r>
              <a:rPr lang="en-US" sz="1400" dirty="0">
                <a:solidFill>
                  <a:schemeClr val="accent5"/>
                </a:solidFill>
              </a:rPr>
              <a:t>Measurable Program Results</a:t>
            </a:r>
          </a:p>
          <a:p>
            <a:pPr>
              <a:spcBef>
                <a:spcPts val="200"/>
              </a:spcBef>
              <a:spcAft>
                <a:spcPts val="200"/>
              </a:spcAft>
            </a:pPr>
            <a:r>
              <a:rPr lang="en-US" sz="1400" dirty="0">
                <a:solidFill>
                  <a:schemeClr val="accent5"/>
                </a:solidFill>
              </a:rPr>
              <a:t>Custom Remediation Options</a:t>
            </a:r>
          </a:p>
        </p:txBody>
      </p:sp>
      <p:sp>
        <p:nvSpPr>
          <p:cNvPr id="18" name="Rectangle 17">
            <a:extLst>
              <a:ext uri="{FF2B5EF4-FFF2-40B4-BE49-F238E27FC236}">
                <a16:creationId xmlns:a16="http://schemas.microsoft.com/office/drawing/2014/main" id="{BC078D55-C985-4F2C-BD55-69D8F2FF83D3}"/>
              </a:ext>
            </a:extLst>
          </p:cNvPr>
          <p:cNvSpPr/>
          <p:nvPr/>
        </p:nvSpPr>
        <p:spPr>
          <a:xfrm>
            <a:off x="-5118" y="5057982"/>
            <a:ext cx="4182202" cy="871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b="1" dirty="0">
                <a:solidFill>
                  <a:srgbClr val="00B0F0"/>
                </a:solidFill>
              </a:rPr>
              <a:t>Configuration Monitoring</a:t>
            </a:r>
          </a:p>
          <a:p>
            <a:pPr algn="r">
              <a:spcBef>
                <a:spcPts val="200"/>
              </a:spcBef>
              <a:spcAft>
                <a:spcPts val="200"/>
              </a:spcAft>
            </a:pPr>
            <a:r>
              <a:rPr lang="en-US" sz="1400" dirty="0">
                <a:solidFill>
                  <a:schemeClr val="accent5"/>
                </a:solidFill>
              </a:rPr>
              <a:t>Privacy Framework</a:t>
            </a:r>
          </a:p>
          <a:p>
            <a:pPr algn="r">
              <a:spcBef>
                <a:spcPts val="200"/>
              </a:spcBef>
              <a:spcAft>
                <a:spcPts val="200"/>
              </a:spcAft>
            </a:pPr>
            <a:r>
              <a:rPr lang="en-US" sz="1400" dirty="0">
                <a:solidFill>
                  <a:schemeClr val="accent5"/>
                </a:solidFill>
              </a:rPr>
              <a:t>Security Framework</a:t>
            </a:r>
          </a:p>
        </p:txBody>
      </p:sp>
      <p:sp>
        <p:nvSpPr>
          <p:cNvPr id="19" name="Rectangle 18">
            <a:extLst>
              <a:ext uri="{FF2B5EF4-FFF2-40B4-BE49-F238E27FC236}">
                <a16:creationId xmlns:a16="http://schemas.microsoft.com/office/drawing/2014/main" id="{9960A92A-EB56-47B2-8D5F-F6C5DAF9B236}"/>
              </a:ext>
            </a:extLst>
          </p:cNvPr>
          <p:cNvSpPr/>
          <p:nvPr/>
        </p:nvSpPr>
        <p:spPr>
          <a:xfrm>
            <a:off x="7955892" y="5068803"/>
            <a:ext cx="4182202" cy="11169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accent1"/>
                </a:solidFill>
              </a:rPr>
              <a:t>Training &amp; Phishing</a:t>
            </a:r>
          </a:p>
          <a:p>
            <a:pPr>
              <a:spcBef>
                <a:spcPts val="200"/>
              </a:spcBef>
              <a:spcAft>
                <a:spcPts val="200"/>
              </a:spcAft>
            </a:pPr>
            <a:r>
              <a:rPr lang="en-US" sz="1400" dirty="0">
                <a:solidFill>
                  <a:schemeClr val="accent5"/>
                </a:solidFill>
              </a:rPr>
              <a:t>KnowBe4 Platform</a:t>
            </a:r>
          </a:p>
          <a:p>
            <a:pPr>
              <a:spcBef>
                <a:spcPts val="200"/>
              </a:spcBef>
              <a:spcAft>
                <a:spcPts val="200"/>
              </a:spcAft>
            </a:pPr>
            <a:r>
              <a:rPr lang="en-US" sz="1400" dirty="0">
                <a:solidFill>
                  <a:schemeClr val="accent5"/>
                </a:solidFill>
              </a:rPr>
              <a:t>Fully Customized</a:t>
            </a:r>
          </a:p>
          <a:p>
            <a:pPr>
              <a:spcBef>
                <a:spcPts val="200"/>
              </a:spcBef>
              <a:spcAft>
                <a:spcPts val="200"/>
              </a:spcAft>
            </a:pPr>
            <a:r>
              <a:rPr lang="en-US" sz="1400" dirty="0">
                <a:solidFill>
                  <a:schemeClr val="accent5"/>
                </a:solidFill>
              </a:rPr>
              <a:t>Measurable Program Results </a:t>
            </a:r>
          </a:p>
        </p:txBody>
      </p:sp>
    </p:spTree>
    <p:extLst>
      <p:ext uri="{BB962C8B-B14F-4D97-AF65-F5344CB8AC3E}">
        <p14:creationId xmlns:p14="http://schemas.microsoft.com/office/powerpoint/2010/main" val="30988809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03CCB-FC02-6A45-1014-A3F40E8EE82D}"/>
              </a:ext>
            </a:extLst>
          </p:cNvPr>
          <p:cNvSpPr>
            <a:spLocks noGrp="1"/>
          </p:cNvSpPr>
          <p:nvPr>
            <p:ph type="title"/>
          </p:nvPr>
        </p:nvSpPr>
        <p:spPr>
          <a:xfrm>
            <a:off x="2584800" y="2430000"/>
            <a:ext cx="5492400" cy="1594622"/>
          </a:xfrm>
        </p:spPr>
        <p:txBody>
          <a:bodyPr/>
          <a:lstStyle/>
          <a:p>
            <a:r>
              <a:rPr lang="en-US" dirty="0"/>
              <a:t>XDR Threat Detection Service</a:t>
            </a:r>
          </a:p>
        </p:txBody>
      </p:sp>
    </p:spTree>
    <p:extLst>
      <p:ext uri="{BB962C8B-B14F-4D97-AF65-F5344CB8AC3E}">
        <p14:creationId xmlns:p14="http://schemas.microsoft.com/office/powerpoint/2010/main" val="15896148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0.xml><?xml version="1.0" encoding="utf-8"?>
<p:tagLst xmlns:a="http://schemas.openxmlformats.org/drawingml/2006/main" xmlns:r="http://schemas.openxmlformats.org/officeDocument/2006/relationships" xmlns:p="http://schemas.openxmlformats.org/presentationml/2006/main">
  <p:tag name="PLACEHOLDER" val="9"/>
</p:tagLst>
</file>

<file path=ppt/tags/tag100.xml><?xml version="1.0" encoding="utf-8"?>
<p:tagLst xmlns:a="http://schemas.openxmlformats.org/drawingml/2006/main" xmlns:r="http://schemas.openxmlformats.org/officeDocument/2006/relationships" xmlns:p="http://schemas.openxmlformats.org/presentationml/2006/main">
  <p:tag name="PLACEHOLDER" val="19"/>
</p:tagLst>
</file>

<file path=ppt/tags/tag101.xml><?xml version="1.0" encoding="utf-8"?>
<p:tagLst xmlns:a="http://schemas.openxmlformats.org/drawingml/2006/main" xmlns:r="http://schemas.openxmlformats.org/officeDocument/2006/relationships" xmlns:p="http://schemas.openxmlformats.org/presentationml/2006/main">
  <p:tag name="PLACEHOLDER" val="20"/>
</p:tagLst>
</file>

<file path=ppt/tags/tag102.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103.xml><?xml version="1.0" encoding="utf-8"?>
<p:tagLst xmlns:a="http://schemas.openxmlformats.org/drawingml/2006/main" xmlns:r="http://schemas.openxmlformats.org/officeDocument/2006/relationships" xmlns:p="http://schemas.openxmlformats.org/presentationml/2006/main">
  <p:tag name="PLACEHOLDER" val="1"/>
</p:tagLst>
</file>

<file path=ppt/tags/tag104.xml><?xml version="1.0" encoding="utf-8"?>
<p:tagLst xmlns:a="http://schemas.openxmlformats.org/drawingml/2006/main" xmlns:r="http://schemas.openxmlformats.org/officeDocument/2006/relationships" xmlns:p="http://schemas.openxmlformats.org/presentationml/2006/main">
  <p:tag name="PLACEHOLDER" val="2"/>
</p:tagLst>
</file>

<file path=ppt/tags/tag105.xml><?xml version="1.0" encoding="utf-8"?>
<p:tagLst xmlns:a="http://schemas.openxmlformats.org/drawingml/2006/main" xmlns:r="http://schemas.openxmlformats.org/officeDocument/2006/relationships" xmlns:p="http://schemas.openxmlformats.org/presentationml/2006/main">
  <p:tag name="PLACEHOLDER" val="3"/>
</p:tagLst>
</file>

<file path=ppt/tags/tag106.xml><?xml version="1.0" encoding="utf-8"?>
<p:tagLst xmlns:a="http://schemas.openxmlformats.org/drawingml/2006/main" xmlns:r="http://schemas.openxmlformats.org/officeDocument/2006/relationships" xmlns:p="http://schemas.openxmlformats.org/presentationml/2006/main">
  <p:tag name="PLACEHOLDER" val="4"/>
</p:tagLst>
</file>

<file path=ppt/tags/tag107.xml><?xml version="1.0" encoding="utf-8"?>
<p:tagLst xmlns:a="http://schemas.openxmlformats.org/drawingml/2006/main" xmlns:r="http://schemas.openxmlformats.org/officeDocument/2006/relationships" xmlns:p="http://schemas.openxmlformats.org/presentationml/2006/main">
  <p:tag name="PLACEHOLDER" val="5"/>
</p:tagLst>
</file>

<file path=ppt/tags/tag108.xml><?xml version="1.0" encoding="utf-8"?>
<p:tagLst xmlns:a="http://schemas.openxmlformats.org/drawingml/2006/main" xmlns:r="http://schemas.openxmlformats.org/officeDocument/2006/relationships" xmlns:p="http://schemas.openxmlformats.org/presentationml/2006/main">
  <p:tag name="PLACEHOLDER" val="6"/>
</p:tagLst>
</file>

<file path=ppt/tags/tag109.xml><?xml version="1.0" encoding="utf-8"?>
<p:tagLst xmlns:a="http://schemas.openxmlformats.org/drawingml/2006/main" xmlns:r="http://schemas.openxmlformats.org/officeDocument/2006/relationships" xmlns:p="http://schemas.openxmlformats.org/presentationml/2006/main">
  <p:tag name="PLACEHOLDER" val="7"/>
</p:tagLst>
</file>

<file path=ppt/tags/tag11.xml><?xml version="1.0" encoding="utf-8"?>
<p:tagLst xmlns:a="http://schemas.openxmlformats.org/drawingml/2006/main" xmlns:r="http://schemas.openxmlformats.org/officeDocument/2006/relationships" xmlns:p="http://schemas.openxmlformats.org/presentationml/2006/main">
  <p:tag name="PLACEHOLDER" val="10"/>
</p:tagLst>
</file>

<file path=ppt/tags/tag110.xml><?xml version="1.0" encoding="utf-8"?>
<p:tagLst xmlns:a="http://schemas.openxmlformats.org/drawingml/2006/main" xmlns:r="http://schemas.openxmlformats.org/officeDocument/2006/relationships" xmlns:p="http://schemas.openxmlformats.org/presentationml/2006/main">
  <p:tag name="PLACEHOLDER" val="8"/>
</p:tagLst>
</file>

<file path=ppt/tags/tag111.xml><?xml version="1.0" encoding="utf-8"?>
<p:tagLst xmlns:a="http://schemas.openxmlformats.org/drawingml/2006/main" xmlns:r="http://schemas.openxmlformats.org/officeDocument/2006/relationships" xmlns:p="http://schemas.openxmlformats.org/presentationml/2006/main">
  <p:tag name="PLACEHOLDER" val="9"/>
</p:tagLst>
</file>

<file path=ppt/tags/tag112.xml><?xml version="1.0" encoding="utf-8"?>
<p:tagLst xmlns:a="http://schemas.openxmlformats.org/drawingml/2006/main" xmlns:r="http://schemas.openxmlformats.org/officeDocument/2006/relationships" xmlns:p="http://schemas.openxmlformats.org/presentationml/2006/main">
  <p:tag name="PLACEHOLDER" val="10"/>
</p:tagLst>
</file>

<file path=ppt/tags/tag113.xml><?xml version="1.0" encoding="utf-8"?>
<p:tagLst xmlns:a="http://schemas.openxmlformats.org/drawingml/2006/main" xmlns:r="http://schemas.openxmlformats.org/officeDocument/2006/relationships" xmlns:p="http://schemas.openxmlformats.org/presentationml/2006/main">
  <p:tag name="PLACEHOLDER" val="11"/>
</p:tagLst>
</file>

<file path=ppt/tags/tag114.xml><?xml version="1.0" encoding="utf-8"?>
<p:tagLst xmlns:a="http://schemas.openxmlformats.org/drawingml/2006/main" xmlns:r="http://schemas.openxmlformats.org/officeDocument/2006/relationships" xmlns:p="http://schemas.openxmlformats.org/presentationml/2006/main">
  <p:tag name="PLACEHOLDER" val="12"/>
</p:tagLst>
</file>

<file path=ppt/tags/tag115.xml><?xml version="1.0" encoding="utf-8"?>
<p:tagLst xmlns:a="http://schemas.openxmlformats.org/drawingml/2006/main" xmlns:r="http://schemas.openxmlformats.org/officeDocument/2006/relationships" xmlns:p="http://schemas.openxmlformats.org/presentationml/2006/main">
  <p:tag name="PLACEHOLDER" val="13"/>
</p:tagLst>
</file>

<file path=ppt/tags/tag116.xml><?xml version="1.0" encoding="utf-8"?>
<p:tagLst xmlns:a="http://schemas.openxmlformats.org/drawingml/2006/main" xmlns:r="http://schemas.openxmlformats.org/officeDocument/2006/relationships" xmlns:p="http://schemas.openxmlformats.org/presentationml/2006/main">
  <p:tag name="PLACEHOLDER" val="14"/>
</p:tagLst>
</file>

<file path=ppt/tags/tag117.xml><?xml version="1.0" encoding="utf-8"?>
<p:tagLst xmlns:a="http://schemas.openxmlformats.org/drawingml/2006/main" xmlns:r="http://schemas.openxmlformats.org/officeDocument/2006/relationships" xmlns:p="http://schemas.openxmlformats.org/presentationml/2006/main">
  <p:tag name="PLACEHOLDER" val="15"/>
</p:tagLst>
</file>

<file path=ppt/tags/tag118.xml><?xml version="1.0" encoding="utf-8"?>
<p:tagLst xmlns:a="http://schemas.openxmlformats.org/drawingml/2006/main" xmlns:r="http://schemas.openxmlformats.org/officeDocument/2006/relationships" xmlns:p="http://schemas.openxmlformats.org/presentationml/2006/main">
  <p:tag name="PLACEHOLDER" val="16"/>
</p:tagLst>
</file>

<file path=ppt/tags/tag119.xml><?xml version="1.0" encoding="utf-8"?>
<p:tagLst xmlns:a="http://schemas.openxmlformats.org/drawingml/2006/main" xmlns:r="http://schemas.openxmlformats.org/officeDocument/2006/relationships" xmlns:p="http://schemas.openxmlformats.org/presentationml/2006/main">
  <p:tag name="PLACEHOLDER" val="17"/>
</p:tagLst>
</file>

<file path=ppt/tags/tag12.xml><?xml version="1.0" encoding="utf-8"?>
<p:tagLst xmlns:a="http://schemas.openxmlformats.org/drawingml/2006/main" xmlns:r="http://schemas.openxmlformats.org/officeDocument/2006/relationships" xmlns:p="http://schemas.openxmlformats.org/presentationml/2006/main">
  <p:tag name="PLACEHOLDER" val="11"/>
</p:tagLst>
</file>

<file path=ppt/tags/tag120.xml><?xml version="1.0" encoding="utf-8"?>
<p:tagLst xmlns:a="http://schemas.openxmlformats.org/drawingml/2006/main" xmlns:r="http://schemas.openxmlformats.org/officeDocument/2006/relationships" xmlns:p="http://schemas.openxmlformats.org/presentationml/2006/main">
  <p:tag name="PLACEHOLDER" val="18"/>
</p:tagLst>
</file>

<file path=ppt/tags/tag121.xml><?xml version="1.0" encoding="utf-8"?>
<p:tagLst xmlns:a="http://schemas.openxmlformats.org/drawingml/2006/main" xmlns:r="http://schemas.openxmlformats.org/officeDocument/2006/relationships" xmlns:p="http://schemas.openxmlformats.org/presentationml/2006/main">
  <p:tag name="PLACEHOLDER" val="19"/>
</p:tagLst>
</file>

<file path=ppt/tags/tag122.xml><?xml version="1.0" encoding="utf-8"?>
<p:tagLst xmlns:a="http://schemas.openxmlformats.org/drawingml/2006/main" xmlns:r="http://schemas.openxmlformats.org/officeDocument/2006/relationships" xmlns:p="http://schemas.openxmlformats.org/presentationml/2006/main">
  <p:tag name="PLACEHOLDER" val="20"/>
</p:tagLst>
</file>

<file path=ppt/tags/tag123.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124.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25.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26.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27.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28.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29.xml><?xml version="1.0" encoding="utf-8"?>
<p:tagLst xmlns:a="http://schemas.openxmlformats.org/drawingml/2006/main" xmlns:r="http://schemas.openxmlformats.org/officeDocument/2006/relationships" xmlns:p="http://schemas.openxmlformats.org/presentationml/2006/main">
  <p:tag name="PS_COMPARE_SHAPE_ID" val="40b88dd6-ab85-42e9-8224-7be37531a8d8"/>
</p:tagLst>
</file>

<file path=ppt/tags/tag13.xml><?xml version="1.0" encoding="utf-8"?>
<p:tagLst xmlns:a="http://schemas.openxmlformats.org/drawingml/2006/main" xmlns:r="http://schemas.openxmlformats.org/officeDocument/2006/relationships" xmlns:p="http://schemas.openxmlformats.org/presentationml/2006/main">
  <p:tag name="PLACEHOLDER" val="12"/>
</p:tagLst>
</file>

<file path=ppt/tags/tag130.xml><?xml version="1.0" encoding="utf-8"?>
<p:tagLst xmlns:a="http://schemas.openxmlformats.org/drawingml/2006/main" xmlns:r="http://schemas.openxmlformats.org/officeDocument/2006/relationships" xmlns:p="http://schemas.openxmlformats.org/presentationml/2006/main">
  <p:tag name="PS_COMPARE_SHAPE_ID" val="40b88dd6-ab85-42e9-8224-7be37531a8d8"/>
</p:tagLst>
</file>

<file path=ppt/tags/tag131.xml><?xml version="1.0" encoding="utf-8"?>
<p:tagLst xmlns:a="http://schemas.openxmlformats.org/drawingml/2006/main" xmlns:r="http://schemas.openxmlformats.org/officeDocument/2006/relationships" xmlns:p="http://schemas.openxmlformats.org/presentationml/2006/main">
  <p:tag name="PS_COMPARE_SHAPE_ID" val="40b88dd6-ab85-42e9-8224-7be37531a8d8"/>
</p:tagLst>
</file>

<file path=ppt/tags/tag132.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133.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134.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135.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136.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37.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38.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39.xml><?xml version="1.0" encoding="utf-8"?>
<p:tagLst xmlns:a="http://schemas.openxmlformats.org/drawingml/2006/main" xmlns:r="http://schemas.openxmlformats.org/officeDocument/2006/relationships" xmlns:p="http://schemas.openxmlformats.org/presentationml/2006/main">
  <p:tag name="PS_COMPARE_SHAPE_ID" val="b9df0c79-7149-445e-952f-cf4ae36f911a"/>
</p:tagLst>
</file>

<file path=ppt/tags/tag14.xml><?xml version="1.0" encoding="utf-8"?>
<p:tagLst xmlns:a="http://schemas.openxmlformats.org/drawingml/2006/main" xmlns:r="http://schemas.openxmlformats.org/officeDocument/2006/relationships" xmlns:p="http://schemas.openxmlformats.org/presentationml/2006/main">
  <p:tag name="PLACEHOLDER" val="13"/>
</p:tagLst>
</file>

<file path=ppt/tags/tag140.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41.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142.xml><?xml version="1.0" encoding="utf-8"?>
<p:tagLst xmlns:a="http://schemas.openxmlformats.org/drawingml/2006/main" xmlns:r="http://schemas.openxmlformats.org/officeDocument/2006/relationships" xmlns:p="http://schemas.openxmlformats.org/presentationml/2006/main">
  <p:tag name="PS_COMPARE_SHAPE_ID" val="b9df0c79-7149-445e-952f-cf4ae36f911a"/>
</p:tagLst>
</file>

<file path=ppt/tags/tag143.xml><?xml version="1.0" encoding="utf-8"?>
<p:tagLst xmlns:a="http://schemas.openxmlformats.org/drawingml/2006/main" xmlns:r="http://schemas.openxmlformats.org/officeDocument/2006/relationships" xmlns:p="http://schemas.openxmlformats.org/presentationml/2006/main">
  <p:tag name="PS_COMPARE_SHAPE_ID" val="ec1775c1-c386-4eee-8c64-caedc60285ec"/>
</p:tagLst>
</file>

<file path=ppt/tags/tag144.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145.xml><?xml version="1.0" encoding="utf-8"?>
<p:tagLst xmlns:a="http://schemas.openxmlformats.org/drawingml/2006/main" xmlns:r="http://schemas.openxmlformats.org/officeDocument/2006/relationships" xmlns:p="http://schemas.openxmlformats.org/presentationml/2006/main">
  <p:tag name="PS_COMPARE_SHAPE_ID" val="4c98742e-df3a-4132-a401-723a4c7e4fd6"/>
</p:tagLst>
</file>

<file path=ppt/tags/tag146.xml><?xml version="1.0" encoding="utf-8"?>
<p:tagLst xmlns:a="http://schemas.openxmlformats.org/drawingml/2006/main" xmlns:r="http://schemas.openxmlformats.org/officeDocument/2006/relationships" xmlns:p="http://schemas.openxmlformats.org/presentationml/2006/main">
  <p:tag name="PS_COMPARE_SHAPE_ID" val="4c43386a-1888-4e82-9292-5a5a7a86cef6"/>
</p:tagLst>
</file>

<file path=ppt/tags/tag147.xml><?xml version="1.0" encoding="utf-8"?>
<p:tagLst xmlns:a="http://schemas.openxmlformats.org/drawingml/2006/main" xmlns:r="http://schemas.openxmlformats.org/officeDocument/2006/relationships" xmlns:p="http://schemas.openxmlformats.org/presentationml/2006/main">
  <p:tag name="PS_COMPARE_SHAPE_ID" val="b72b8a9b-30f4-40f0-b32d-879025afd820"/>
</p:tagLst>
</file>

<file path=ppt/tags/tag148.xml><?xml version="1.0" encoding="utf-8"?>
<p:tagLst xmlns:a="http://schemas.openxmlformats.org/drawingml/2006/main" xmlns:r="http://schemas.openxmlformats.org/officeDocument/2006/relationships" xmlns:p="http://schemas.openxmlformats.org/presentationml/2006/main">
  <p:tag name="PS_COMPARE_SHAPE_ID" val="4c43386a-1888-4e82-9292-5a5a7a86cef6"/>
</p:tagLst>
</file>

<file path=ppt/tags/tag149.xml><?xml version="1.0" encoding="utf-8"?>
<p:tagLst xmlns:a="http://schemas.openxmlformats.org/drawingml/2006/main" xmlns:r="http://schemas.openxmlformats.org/officeDocument/2006/relationships" xmlns:p="http://schemas.openxmlformats.org/presentationml/2006/main">
  <p:tag name="PS_COMPARE_SHAPE_ID" val="b72b8a9b-30f4-40f0-b32d-879025afd820"/>
</p:tagLst>
</file>

<file path=ppt/tags/tag15.xml><?xml version="1.0" encoding="utf-8"?>
<p:tagLst xmlns:a="http://schemas.openxmlformats.org/drawingml/2006/main" xmlns:r="http://schemas.openxmlformats.org/officeDocument/2006/relationships" xmlns:p="http://schemas.openxmlformats.org/presentationml/2006/main">
  <p:tag name="PLACEHOLDER" val="14"/>
</p:tagLst>
</file>

<file path=ppt/tags/tag150.xml><?xml version="1.0" encoding="utf-8"?>
<p:tagLst xmlns:a="http://schemas.openxmlformats.org/drawingml/2006/main" xmlns:r="http://schemas.openxmlformats.org/officeDocument/2006/relationships" xmlns:p="http://schemas.openxmlformats.org/presentationml/2006/main">
  <p:tag name="PS_COMPARE_SHAPE_ID" val="60e3a253-bd86-4d69-908b-31a5f771b271"/>
</p:tagLst>
</file>

<file path=ppt/tags/tag151.xml><?xml version="1.0" encoding="utf-8"?>
<p:tagLst xmlns:a="http://schemas.openxmlformats.org/drawingml/2006/main" xmlns:r="http://schemas.openxmlformats.org/officeDocument/2006/relationships" xmlns:p="http://schemas.openxmlformats.org/presentationml/2006/main">
  <p:tag name="PS_COMPARE_SHAPE_ID" val="4c43386a-1888-4e82-9292-5a5a7a86cef6"/>
</p:tagLst>
</file>

<file path=ppt/tags/tag152.xml><?xml version="1.0" encoding="utf-8"?>
<p:tagLst xmlns:a="http://schemas.openxmlformats.org/drawingml/2006/main" xmlns:r="http://schemas.openxmlformats.org/officeDocument/2006/relationships" xmlns:p="http://schemas.openxmlformats.org/presentationml/2006/main">
  <p:tag name="PS_COMPARE_SHAPE_ID" val="b72b8a9b-30f4-40f0-b32d-879025afd820"/>
</p:tagLst>
</file>

<file path=ppt/tags/tag153.xml><?xml version="1.0" encoding="utf-8"?>
<p:tagLst xmlns:a="http://schemas.openxmlformats.org/drawingml/2006/main" xmlns:r="http://schemas.openxmlformats.org/officeDocument/2006/relationships" xmlns:p="http://schemas.openxmlformats.org/presentationml/2006/main">
  <p:tag name="PS_COMPARE_SHAPE_ID" val="60e3a253-bd86-4d69-908b-31a5f771b271"/>
</p:tagLst>
</file>

<file path=ppt/tags/tag154.xml><?xml version="1.0" encoding="utf-8"?>
<p:tagLst xmlns:a="http://schemas.openxmlformats.org/drawingml/2006/main" xmlns:r="http://schemas.openxmlformats.org/officeDocument/2006/relationships" xmlns:p="http://schemas.openxmlformats.org/presentationml/2006/main">
  <p:tag name="PS_COMPARE_SHAPE_ID" val="60e3a253-bd86-4d69-908b-31a5f771b271"/>
</p:tagLst>
</file>

<file path=ppt/tags/tag155.xml><?xml version="1.0" encoding="utf-8"?>
<p:tagLst xmlns:a="http://schemas.openxmlformats.org/drawingml/2006/main" xmlns:r="http://schemas.openxmlformats.org/officeDocument/2006/relationships" xmlns:p="http://schemas.openxmlformats.org/presentationml/2006/main">
  <p:tag name="PS_COMPARE_SHAPE_ID" val="673002f4-8191-41b0-8750-70ff93914202"/>
</p:tagLst>
</file>

<file path=ppt/tags/tag156.xml><?xml version="1.0" encoding="utf-8"?>
<p:tagLst xmlns:a="http://schemas.openxmlformats.org/drawingml/2006/main" xmlns:r="http://schemas.openxmlformats.org/officeDocument/2006/relationships" xmlns:p="http://schemas.openxmlformats.org/presentationml/2006/main">
  <p:tag name="PS_COMPARE_SHAPE_ID" val="5137e8c9-d4b7-4b4e-a708-62c217304a59"/>
</p:tagLst>
</file>

<file path=ppt/tags/tag157.xml><?xml version="1.0" encoding="utf-8"?>
<p:tagLst xmlns:a="http://schemas.openxmlformats.org/drawingml/2006/main" xmlns:r="http://schemas.openxmlformats.org/officeDocument/2006/relationships" xmlns:p="http://schemas.openxmlformats.org/presentationml/2006/main">
  <p:tag name="PS_COMPARE_SHAPE_ID" val="b1ab730b-52ca-4c73-a7bf-ae88e12146ae"/>
</p:tagLst>
</file>

<file path=ppt/tags/tag158.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52cdc08-e2d6-4dbf-ba68-db5560d8a23a"/>
</p:tagLst>
</file>

<file path=ppt/tags/tag159.xml><?xml version="1.0" encoding="utf-8"?>
<p:tagLst xmlns:a="http://schemas.openxmlformats.org/drawingml/2006/main" xmlns:r="http://schemas.openxmlformats.org/officeDocument/2006/relationships" xmlns:p="http://schemas.openxmlformats.org/presentationml/2006/main">
  <p:tag name="PS_COMPARE_SHAPE_ID" val="4c98742e-df3a-4132-a401-723a4c7e4fd6"/>
</p:tagLst>
</file>

<file path=ppt/tags/tag16.xml><?xml version="1.0" encoding="utf-8"?>
<p:tagLst xmlns:a="http://schemas.openxmlformats.org/drawingml/2006/main" xmlns:r="http://schemas.openxmlformats.org/officeDocument/2006/relationships" xmlns:p="http://schemas.openxmlformats.org/presentationml/2006/main">
  <p:tag name="PLACEHOLDER" val="15"/>
</p:tagLst>
</file>

<file path=ppt/tags/tag160.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52cdc08-e2d6-4dbf-ba68-db5560d8a23a"/>
</p:tagLst>
</file>

<file path=ppt/tags/tag161.xml><?xml version="1.0" encoding="utf-8"?>
<p:tagLst xmlns:a="http://schemas.openxmlformats.org/drawingml/2006/main" xmlns:r="http://schemas.openxmlformats.org/officeDocument/2006/relationships" xmlns:p="http://schemas.openxmlformats.org/presentationml/2006/main">
  <p:tag name="PS_COMPARE_SHAPE_ID" val="3bbd190b-5849-4e5a-9e59-372f0bc8ab4f"/>
</p:tagLst>
</file>

<file path=ppt/tags/tag162.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52cdc08-e2d6-4dbf-ba68-db5560d8a23a"/>
</p:tagLst>
</file>

<file path=ppt/tags/tag163.xml><?xml version="1.0" encoding="utf-8"?>
<p:tagLst xmlns:a="http://schemas.openxmlformats.org/drawingml/2006/main" xmlns:r="http://schemas.openxmlformats.org/officeDocument/2006/relationships" xmlns:p="http://schemas.openxmlformats.org/presentationml/2006/main">
  <p:tag name="PS_COMPARE_SHAPE_ID" val="4c4d67f1-53fc-4234-b026-8c3e64a2242c"/>
</p:tagLst>
</file>

<file path=ppt/tags/tag164.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65.xml><?xml version="1.0" encoding="utf-8"?>
<p:tagLst xmlns:a="http://schemas.openxmlformats.org/drawingml/2006/main" xmlns:r="http://schemas.openxmlformats.org/officeDocument/2006/relationships" xmlns:p="http://schemas.openxmlformats.org/presentationml/2006/main">
  <p:tag name="PLACEHOLDER" val="1"/>
</p:tagLst>
</file>

<file path=ppt/tags/tag166.xml><?xml version="1.0" encoding="utf-8"?>
<p:tagLst xmlns:a="http://schemas.openxmlformats.org/drawingml/2006/main" xmlns:r="http://schemas.openxmlformats.org/officeDocument/2006/relationships" xmlns:p="http://schemas.openxmlformats.org/presentationml/2006/main">
  <p:tag name="PLACEHOLDER" val="2"/>
</p:tagLst>
</file>

<file path=ppt/tags/tag167.xml><?xml version="1.0" encoding="utf-8"?>
<p:tagLst xmlns:a="http://schemas.openxmlformats.org/drawingml/2006/main" xmlns:r="http://schemas.openxmlformats.org/officeDocument/2006/relationships" xmlns:p="http://schemas.openxmlformats.org/presentationml/2006/main">
  <p:tag name="PLACEHOLDER" val="3"/>
</p:tagLst>
</file>

<file path=ppt/tags/tag168.xml><?xml version="1.0" encoding="utf-8"?>
<p:tagLst xmlns:a="http://schemas.openxmlformats.org/drawingml/2006/main" xmlns:r="http://schemas.openxmlformats.org/officeDocument/2006/relationships" xmlns:p="http://schemas.openxmlformats.org/presentationml/2006/main">
  <p:tag name="PLACEHOLDER" val="4"/>
</p:tagLst>
</file>

<file path=ppt/tags/tag169.xml><?xml version="1.0" encoding="utf-8"?>
<p:tagLst xmlns:a="http://schemas.openxmlformats.org/drawingml/2006/main" xmlns:r="http://schemas.openxmlformats.org/officeDocument/2006/relationships" xmlns:p="http://schemas.openxmlformats.org/presentationml/2006/main">
  <p:tag name="PLACEHOLDER" val="5"/>
</p:tagLst>
</file>

<file path=ppt/tags/tag17.xml><?xml version="1.0" encoding="utf-8"?>
<p:tagLst xmlns:a="http://schemas.openxmlformats.org/drawingml/2006/main" xmlns:r="http://schemas.openxmlformats.org/officeDocument/2006/relationships" xmlns:p="http://schemas.openxmlformats.org/presentationml/2006/main">
  <p:tag name="PLACEHOLDER" val="16"/>
</p:tagLst>
</file>

<file path=ppt/tags/tag170.xml><?xml version="1.0" encoding="utf-8"?>
<p:tagLst xmlns:a="http://schemas.openxmlformats.org/drawingml/2006/main" xmlns:r="http://schemas.openxmlformats.org/officeDocument/2006/relationships" xmlns:p="http://schemas.openxmlformats.org/presentationml/2006/main">
  <p:tag name="PLACEHOLDER" val="6"/>
</p:tagLst>
</file>

<file path=ppt/tags/tag171.xml><?xml version="1.0" encoding="utf-8"?>
<p:tagLst xmlns:a="http://schemas.openxmlformats.org/drawingml/2006/main" xmlns:r="http://schemas.openxmlformats.org/officeDocument/2006/relationships" xmlns:p="http://schemas.openxmlformats.org/presentationml/2006/main">
  <p:tag name="PLACEHOLDER" val="7"/>
</p:tagLst>
</file>

<file path=ppt/tags/tag172.xml><?xml version="1.0" encoding="utf-8"?>
<p:tagLst xmlns:a="http://schemas.openxmlformats.org/drawingml/2006/main" xmlns:r="http://schemas.openxmlformats.org/officeDocument/2006/relationships" xmlns:p="http://schemas.openxmlformats.org/presentationml/2006/main">
  <p:tag name="PLACEHOLDER" val="8"/>
</p:tagLst>
</file>

<file path=ppt/tags/tag173.xml><?xml version="1.0" encoding="utf-8"?>
<p:tagLst xmlns:a="http://schemas.openxmlformats.org/drawingml/2006/main" xmlns:r="http://schemas.openxmlformats.org/officeDocument/2006/relationships" xmlns:p="http://schemas.openxmlformats.org/presentationml/2006/main">
  <p:tag name="PLACEHOLDER" val="9"/>
</p:tagLst>
</file>

<file path=ppt/tags/tag174.xml><?xml version="1.0" encoding="utf-8"?>
<p:tagLst xmlns:a="http://schemas.openxmlformats.org/drawingml/2006/main" xmlns:r="http://schemas.openxmlformats.org/officeDocument/2006/relationships" xmlns:p="http://schemas.openxmlformats.org/presentationml/2006/main">
  <p:tag name="PLACEHOLDER" val="10"/>
</p:tagLst>
</file>

<file path=ppt/tags/tag175.xml><?xml version="1.0" encoding="utf-8"?>
<p:tagLst xmlns:a="http://schemas.openxmlformats.org/drawingml/2006/main" xmlns:r="http://schemas.openxmlformats.org/officeDocument/2006/relationships" xmlns:p="http://schemas.openxmlformats.org/presentationml/2006/main">
  <p:tag name="PLACEHOLDER" val="11"/>
</p:tagLst>
</file>

<file path=ppt/tags/tag176.xml><?xml version="1.0" encoding="utf-8"?>
<p:tagLst xmlns:a="http://schemas.openxmlformats.org/drawingml/2006/main" xmlns:r="http://schemas.openxmlformats.org/officeDocument/2006/relationships" xmlns:p="http://schemas.openxmlformats.org/presentationml/2006/main">
  <p:tag name="PLACEHOLDER" val="12"/>
</p:tagLst>
</file>

<file path=ppt/tags/tag177.xml><?xml version="1.0" encoding="utf-8"?>
<p:tagLst xmlns:a="http://schemas.openxmlformats.org/drawingml/2006/main" xmlns:r="http://schemas.openxmlformats.org/officeDocument/2006/relationships" xmlns:p="http://schemas.openxmlformats.org/presentationml/2006/main">
  <p:tag name="PLACEHOLDER" val="13"/>
</p:tagLst>
</file>

<file path=ppt/tags/tag178.xml><?xml version="1.0" encoding="utf-8"?>
<p:tagLst xmlns:a="http://schemas.openxmlformats.org/drawingml/2006/main" xmlns:r="http://schemas.openxmlformats.org/officeDocument/2006/relationships" xmlns:p="http://schemas.openxmlformats.org/presentationml/2006/main">
  <p:tag name="PLACEHOLDER" val="14"/>
</p:tagLst>
</file>

<file path=ppt/tags/tag179.xml><?xml version="1.0" encoding="utf-8"?>
<p:tagLst xmlns:a="http://schemas.openxmlformats.org/drawingml/2006/main" xmlns:r="http://schemas.openxmlformats.org/officeDocument/2006/relationships" xmlns:p="http://schemas.openxmlformats.org/presentationml/2006/main">
  <p:tag name="PLACEHOLDER" val="15"/>
</p:tagLst>
</file>

<file path=ppt/tags/tag18.xml><?xml version="1.0" encoding="utf-8"?>
<p:tagLst xmlns:a="http://schemas.openxmlformats.org/drawingml/2006/main" xmlns:r="http://schemas.openxmlformats.org/officeDocument/2006/relationships" xmlns:p="http://schemas.openxmlformats.org/presentationml/2006/main">
  <p:tag name="PLACEHOLDER" val="17"/>
</p:tagLst>
</file>

<file path=ppt/tags/tag180.xml><?xml version="1.0" encoding="utf-8"?>
<p:tagLst xmlns:a="http://schemas.openxmlformats.org/drawingml/2006/main" xmlns:r="http://schemas.openxmlformats.org/officeDocument/2006/relationships" xmlns:p="http://schemas.openxmlformats.org/presentationml/2006/main">
  <p:tag name="PLACEHOLDER" val="16"/>
</p:tagLst>
</file>

<file path=ppt/tags/tag181.xml><?xml version="1.0" encoding="utf-8"?>
<p:tagLst xmlns:a="http://schemas.openxmlformats.org/drawingml/2006/main" xmlns:r="http://schemas.openxmlformats.org/officeDocument/2006/relationships" xmlns:p="http://schemas.openxmlformats.org/presentationml/2006/main">
  <p:tag name="PLACEHOLDER" val="17"/>
</p:tagLst>
</file>

<file path=ppt/tags/tag182.xml><?xml version="1.0" encoding="utf-8"?>
<p:tagLst xmlns:a="http://schemas.openxmlformats.org/drawingml/2006/main" xmlns:r="http://schemas.openxmlformats.org/officeDocument/2006/relationships" xmlns:p="http://schemas.openxmlformats.org/presentationml/2006/main">
  <p:tag name="PLACEHOLDER" val="18"/>
</p:tagLst>
</file>

<file path=ppt/tags/tag183.xml><?xml version="1.0" encoding="utf-8"?>
<p:tagLst xmlns:a="http://schemas.openxmlformats.org/drawingml/2006/main" xmlns:r="http://schemas.openxmlformats.org/officeDocument/2006/relationships" xmlns:p="http://schemas.openxmlformats.org/presentationml/2006/main">
  <p:tag name="PLACEHOLDER" val="19"/>
</p:tagLst>
</file>

<file path=ppt/tags/tag184.xml><?xml version="1.0" encoding="utf-8"?>
<p:tagLst xmlns:a="http://schemas.openxmlformats.org/drawingml/2006/main" xmlns:r="http://schemas.openxmlformats.org/officeDocument/2006/relationships" xmlns:p="http://schemas.openxmlformats.org/presentationml/2006/main">
  <p:tag name="PLACEHOLDER" val="20"/>
</p:tagLst>
</file>

<file path=ppt/tags/tag185.xml><?xml version="1.0" encoding="utf-8"?>
<p:tagLst xmlns:a="http://schemas.openxmlformats.org/drawingml/2006/main" xmlns:r="http://schemas.openxmlformats.org/officeDocument/2006/relationships" xmlns:p="http://schemas.openxmlformats.org/presentationml/2006/main">
  <p:tag name="PLACEHOLDER" val="1"/>
</p:tagLst>
</file>

<file path=ppt/tags/tag186.xml><?xml version="1.0" encoding="utf-8"?>
<p:tagLst xmlns:a="http://schemas.openxmlformats.org/drawingml/2006/main" xmlns:r="http://schemas.openxmlformats.org/officeDocument/2006/relationships" xmlns:p="http://schemas.openxmlformats.org/presentationml/2006/main">
  <p:tag name="PLACEHOLDER" val="2"/>
</p:tagLst>
</file>

<file path=ppt/tags/tag187.xml><?xml version="1.0" encoding="utf-8"?>
<p:tagLst xmlns:a="http://schemas.openxmlformats.org/drawingml/2006/main" xmlns:r="http://schemas.openxmlformats.org/officeDocument/2006/relationships" xmlns:p="http://schemas.openxmlformats.org/presentationml/2006/main">
  <p:tag name="PLACEHOLDER" val="3"/>
</p:tagLst>
</file>

<file path=ppt/tags/tag188.xml><?xml version="1.0" encoding="utf-8"?>
<p:tagLst xmlns:a="http://schemas.openxmlformats.org/drawingml/2006/main" xmlns:r="http://schemas.openxmlformats.org/officeDocument/2006/relationships" xmlns:p="http://schemas.openxmlformats.org/presentationml/2006/main">
  <p:tag name="PLACEHOLDER" val="4"/>
</p:tagLst>
</file>

<file path=ppt/tags/tag189.xml><?xml version="1.0" encoding="utf-8"?>
<p:tagLst xmlns:a="http://schemas.openxmlformats.org/drawingml/2006/main" xmlns:r="http://schemas.openxmlformats.org/officeDocument/2006/relationships" xmlns:p="http://schemas.openxmlformats.org/presentationml/2006/main">
  <p:tag name="PLACEHOLDER" val="5"/>
</p:tagLst>
</file>

<file path=ppt/tags/tag19.xml><?xml version="1.0" encoding="utf-8"?>
<p:tagLst xmlns:a="http://schemas.openxmlformats.org/drawingml/2006/main" xmlns:r="http://schemas.openxmlformats.org/officeDocument/2006/relationships" xmlns:p="http://schemas.openxmlformats.org/presentationml/2006/main">
  <p:tag name="PLACEHOLDER" val="18"/>
</p:tagLst>
</file>

<file path=ppt/tags/tag190.xml><?xml version="1.0" encoding="utf-8"?>
<p:tagLst xmlns:a="http://schemas.openxmlformats.org/drawingml/2006/main" xmlns:r="http://schemas.openxmlformats.org/officeDocument/2006/relationships" xmlns:p="http://schemas.openxmlformats.org/presentationml/2006/main">
  <p:tag name="PLACEHOLDER" val="6"/>
</p:tagLst>
</file>

<file path=ppt/tags/tag191.xml><?xml version="1.0" encoding="utf-8"?>
<p:tagLst xmlns:a="http://schemas.openxmlformats.org/drawingml/2006/main" xmlns:r="http://schemas.openxmlformats.org/officeDocument/2006/relationships" xmlns:p="http://schemas.openxmlformats.org/presentationml/2006/main">
  <p:tag name="PLACEHOLDER" val="7"/>
</p:tagLst>
</file>

<file path=ppt/tags/tag192.xml><?xml version="1.0" encoding="utf-8"?>
<p:tagLst xmlns:a="http://schemas.openxmlformats.org/drawingml/2006/main" xmlns:r="http://schemas.openxmlformats.org/officeDocument/2006/relationships" xmlns:p="http://schemas.openxmlformats.org/presentationml/2006/main">
  <p:tag name="PLACEHOLDER" val="8"/>
</p:tagLst>
</file>

<file path=ppt/tags/tag193.xml><?xml version="1.0" encoding="utf-8"?>
<p:tagLst xmlns:a="http://schemas.openxmlformats.org/drawingml/2006/main" xmlns:r="http://schemas.openxmlformats.org/officeDocument/2006/relationships" xmlns:p="http://schemas.openxmlformats.org/presentationml/2006/main">
  <p:tag name="PLACEHOLDER" val="9"/>
</p:tagLst>
</file>

<file path=ppt/tags/tag194.xml><?xml version="1.0" encoding="utf-8"?>
<p:tagLst xmlns:a="http://schemas.openxmlformats.org/drawingml/2006/main" xmlns:r="http://schemas.openxmlformats.org/officeDocument/2006/relationships" xmlns:p="http://schemas.openxmlformats.org/presentationml/2006/main">
  <p:tag name="PLACEHOLDER" val="10"/>
</p:tagLst>
</file>

<file path=ppt/tags/tag195.xml><?xml version="1.0" encoding="utf-8"?>
<p:tagLst xmlns:a="http://schemas.openxmlformats.org/drawingml/2006/main" xmlns:r="http://schemas.openxmlformats.org/officeDocument/2006/relationships" xmlns:p="http://schemas.openxmlformats.org/presentationml/2006/main">
  <p:tag name="PLACEHOLDER" val="11"/>
</p:tagLst>
</file>

<file path=ppt/tags/tag196.xml><?xml version="1.0" encoding="utf-8"?>
<p:tagLst xmlns:a="http://schemas.openxmlformats.org/drawingml/2006/main" xmlns:r="http://schemas.openxmlformats.org/officeDocument/2006/relationships" xmlns:p="http://schemas.openxmlformats.org/presentationml/2006/main">
  <p:tag name="PLACEHOLDER" val="12"/>
</p:tagLst>
</file>

<file path=ppt/tags/tag197.xml><?xml version="1.0" encoding="utf-8"?>
<p:tagLst xmlns:a="http://schemas.openxmlformats.org/drawingml/2006/main" xmlns:r="http://schemas.openxmlformats.org/officeDocument/2006/relationships" xmlns:p="http://schemas.openxmlformats.org/presentationml/2006/main">
  <p:tag name="PLACEHOLDER" val="13"/>
</p:tagLst>
</file>

<file path=ppt/tags/tag198.xml><?xml version="1.0" encoding="utf-8"?>
<p:tagLst xmlns:a="http://schemas.openxmlformats.org/drawingml/2006/main" xmlns:r="http://schemas.openxmlformats.org/officeDocument/2006/relationships" xmlns:p="http://schemas.openxmlformats.org/presentationml/2006/main">
  <p:tag name="PLACEHOLDER" val="14"/>
</p:tagLst>
</file>

<file path=ppt/tags/tag199.xml><?xml version="1.0" encoding="utf-8"?>
<p:tagLst xmlns:a="http://schemas.openxmlformats.org/drawingml/2006/main" xmlns:r="http://schemas.openxmlformats.org/officeDocument/2006/relationships" xmlns:p="http://schemas.openxmlformats.org/presentationml/2006/main">
  <p:tag name="PLACEHOLDER" val="15"/>
</p:tagLst>
</file>

<file path=ppt/tags/tag2.xml><?xml version="1.0" encoding="utf-8"?>
<p:tagLst xmlns:a="http://schemas.openxmlformats.org/drawingml/2006/main" xmlns:r="http://schemas.openxmlformats.org/officeDocument/2006/relationships" xmlns:p="http://schemas.openxmlformats.org/presentationml/2006/main">
  <p:tag name="PLACEHOLDER" val="1"/>
</p:tagLst>
</file>

<file path=ppt/tags/tag20.xml><?xml version="1.0" encoding="utf-8"?>
<p:tagLst xmlns:a="http://schemas.openxmlformats.org/drawingml/2006/main" xmlns:r="http://schemas.openxmlformats.org/officeDocument/2006/relationships" xmlns:p="http://schemas.openxmlformats.org/presentationml/2006/main">
  <p:tag name="PLACEHOLDER" val="19"/>
</p:tagLst>
</file>

<file path=ppt/tags/tag200.xml><?xml version="1.0" encoding="utf-8"?>
<p:tagLst xmlns:a="http://schemas.openxmlformats.org/drawingml/2006/main" xmlns:r="http://schemas.openxmlformats.org/officeDocument/2006/relationships" xmlns:p="http://schemas.openxmlformats.org/presentationml/2006/main">
  <p:tag name="PLACEHOLDER" val="16"/>
</p:tagLst>
</file>

<file path=ppt/tags/tag201.xml><?xml version="1.0" encoding="utf-8"?>
<p:tagLst xmlns:a="http://schemas.openxmlformats.org/drawingml/2006/main" xmlns:r="http://schemas.openxmlformats.org/officeDocument/2006/relationships" xmlns:p="http://schemas.openxmlformats.org/presentationml/2006/main">
  <p:tag name="PLACEHOLDER" val="17"/>
</p:tagLst>
</file>

<file path=ppt/tags/tag202.xml><?xml version="1.0" encoding="utf-8"?>
<p:tagLst xmlns:a="http://schemas.openxmlformats.org/drawingml/2006/main" xmlns:r="http://schemas.openxmlformats.org/officeDocument/2006/relationships" xmlns:p="http://schemas.openxmlformats.org/presentationml/2006/main">
  <p:tag name="PLACEHOLDER" val="18"/>
</p:tagLst>
</file>

<file path=ppt/tags/tag203.xml><?xml version="1.0" encoding="utf-8"?>
<p:tagLst xmlns:a="http://schemas.openxmlformats.org/drawingml/2006/main" xmlns:r="http://schemas.openxmlformats.org/officeDocument/2006/relationships" xmlns:p="http://schemas.openxmlformats.org/presentationml/2006/main">
  <p:tag name="PLACEHOLDER" val="19"/>
</p:tagLst>
</file>

<file path=ppt/tags/tag204.xml><?xml version="1.0" encoding="utf-8"?>
<p:tagLst xmlns:a="http://schemas.openxmlformats.org/drawingml/2006/main" xmlns:r="http://schemas.openxmlformats.org/officeDocument/2006/relationships" xmlns:p="http://schemas.openxmlformats.org/presentationml/2006/main">
  <p:tag name="PLACEHOLDER" val="20"/>
</p:tagLst>
</file>

<file path=ppt/tags/tag205.xml><?xml version="1.0" encoding="utf-8"?>
<p:tagLst xmlns:a="http://schemas.openxmlformats.org/drawingml/2006/main" xmlns:r="http://schemas.openxmlformats.org/officeDocument/2006/relationships" xmlns:p="http://schemas.openxmlformats.org/presentationml/2006/main">
  <p:tag name="PLACEHOLDER" val="1"/>
</p:tagLst>
</file>

<file path=ppt/tags/tag206.xml><?xml version="1.0" encoding="utf-8"?>
<p:tagLst xmlns:a="http://schemas.openxmlformats.org/drawingml/2006/main" xmlns:r="http://schemas.openxmlformats.org/officeDocument/2006/relationships" xmlns:p="http://schemas.openxmlformats.org/presentationml/2006/main">
  <p:tag name="PLACEHOLDER" val="2"/>
</p:tagLst>
</file>

<file path=ppt/tags/tag207.xml><?xml version="1.0" encoding="utf-8"?>
<p:tagLst xmlns:a="http://schemas.openxmlformats.org/drawingml/2006/main" xmlns:r="http://schemas.openxmlformats.org/officeDocument/2006/relationships" xmlns:p="http://schemas.openxmlformats.org/presentationml/2006/main">
  <p:tag name="PLACEHOLDER" val="3"/>
</p:tagLst>
</file>

<file path=ppt/tags/tag208.xml><?xml version="1.0" encoding="utf-8"?>
<p:tagLst xmlns:a="http://schemas.openxmlformats.org/drawingml/2006/main" xmlns:r="http://schemas.openxmlformats.org/officeDocument/2006/relationships" xmlns:p="http://schemas.openxmlformats.org/presentationml/2006/main">
  <p:tag name="PLACEHOLDER" val="4"/>
</p:tagLst>
</file>

<file path=ppt/tags/tag209.xml><?xml version="1.0" encoding="utf-8"?>
<p:tagLst xmlns:a="http://schemas.openxmlformats.org/drawingml/2006/main" xmlns:r="http://schemas.openxmlformats.org/officeDocument/2006/relationships" xmlns:p="http://schemas.openxmlformats.org/presentationml/2006/main">
  <p:tag name="PLACEHOLDER" val="5"/>
</p:tagLst>
</file>

<file path=ppt/tags/tag21.xml><?xml version="1.0" encoding="utf-8"?>
<p:tagLst xmlns:a="http://schemas.openxmlformats.org/drawingml/2006/main" xmlns:r="http://schemas.openxmlformats.org/officeDocument/2006/relationships" xmlns:p="http://schemas.openxmlformats.org/presentationml/2006/main">
  <p:tag name="PLACEHOLDER" val="20"/>
</p:tagLst>
</file>

<file path=ppt/tags/tag210.xml><?xml version="1.0" encoding="utf-8"?>
<p:tagLst xmlns:a="http://schemas.openxmlformats.org/drawingml/2006/main" xmlns:r="http://schemas.openxmlformats.org/officeDocument/2006/relationships" xmlns:p="http://schemas.openxmlformats.org/presentationml/2006/main">
  <p:tag name="PLACEHOLDER" val="6"/>
</p:tagLst>
</file>

<file path=ppt/tags/tag211.xml><?xml version="1.0" encoding="utf-8"?>
<p:tagLst xmlns:a="http://schemas.openxmlformats.org/drawingml/2006/main" xmlns:r="http://schemas.openxmlformats.org/officeDocument/2006/relationships" xmlns:p="http://schemas.openxmlformats.org/presentationml/2006/main">
  <p:tag name="PLACEHOLDER" val="7"/>
</p:tagLst>
</file>

<file path=ppt/tags/tag212.xml><?xml version="1.0" encoding="utf-8"?>
<p:tagLst xmlns:a="http://schemas.openxmlformats.org/drawingml/2006/main" xmlns:r="http://schemas.openxmlformats.org/officeDocument/2006/relationships" xmlns:p="http://schemas.openxmlformats.org/presentationml/2006/main">
  <p:tag name="PLACEHOLDER" val="8"/>
</p:tagLst>
</file>

<file path=ppt/tags/tag213.xml><?xml version="1.0" encoding="utf-8"?>
<p:tagLst xmlns:a="http://schemas.openxmlformats.org/drawingml/2006/main" xmlns:r="http://schemas.openxmlformats.org/officeDocument/2006/relationships" xmlns:p="http://schemas.openxmlformats.org/presentationml/2006/main">
  <p:tag name="PLACEHOLDER" val="9"/>
</p:tagLst>
</file>

<file path=ppt/tags/tag214.xml><?xml version="1.0" encoding="utf-8"?>
<p:tagLst xmlns:a="http://schemas.openxmlformats.org/drawingml/2006/main" xmlns:r="http://schemas.openxmlformats.org/officeDocument/2006/relationships" xmlns:p="http://schemas.openxmlformats.org/presentationml/2006/main">
  <p:tag name="PLACEHOLDER" val="10"/>
</p:tagLst>
</file>

<file path=ppt/tags/tag215.xml><?xml version="1.0" encoding="utf-8"?>
<p:tagLst xmlns:a="http://schemas.openxmlformats.org/drawingml/2006/main" xmlns:r="http://schemas.openxmlformats.org/officeDocument/2006/relationships" xmlns:p="http://schemas.openxmlformats.org/presentationml/2006/main">
  <p:tag name="PLACEHOLDER" val="11"/>
</p:tagLst>
</file>

<file path=ppt/tags/tag216.xml><?xml version="1.0" encoding="utf-8"?>
<p:tagLst xmlns:a="http://schemas.openxmlformats.org/drawingml/2006/main" xmlns:r="http://schemas.openxmlformats.org/officeDocument/2006/relationships" xmlns:p="http://schemas.openxmlformats.org/presentationml/2006/main">
  <p:tag name="PLACEHOLDER" val="12"/>
</p:tagLst>
</file>

<file path=ppt/tags/tag217.xml><?xml version="1.0" encoding="utf-8"?>
<p:tagLst xmlns:a="http://schemas.openxmlformats.org/drawingml/2006/main" xmlns:r="http://schemas.openxmlformats.org/officeDocument/2006/relationships" xmlns:p="http://schemas.openxmlformats.org/presentationml/2006/main">
  <p:tag name="PLACEHOLDER" val="13"/>
</p:tagLst>
</file>

<file path=ppt/tags/tag218.xml><?xml version="1.0" encoding="utf-8"?>
<p:tagLst xmlns:a="http://schemas.openxmlformats.org/drawingml/2006/main" xmlns:r="http://schemas.openxmlformats.org/officeDocument/2006/relationships" xmlns:p="http://schemas.openxmlformats.org/presentationml/2006/main">
  <p:tag name="PLACEHOLDER" val="14"/>
</p:tagLst>
</file>

<file path=ppt/tags/tag219.xml><?xml version="1.0" encoding="utf-8"?>
<p:tagLst xmlns:a="http://schemas.openxmlformats.org/drawingml/2006/main" xmlns:r="http://schemas.openxmlformats.org/officeDocument/2006/relationships" xmlns:p="http://schemas.openxmlformats.org/presentationml/2006/main">
  <p:tag name="PLACEHOLDER" val="15"/>
</p:tagLst>
</file>

<file path=ppt/tags/tag22.xml><?xml version="1.0" encoding="utf-8"?>
<p:tagLst xmlns:a="http://schemas.openxmlformats.org/drawingml/2006/main" xmlns:r="http://schemas.openxmlformats.org/officeDocument/2006/relationships" xmlns:p="http://schemas.openxmlformats.org/presentationml/2006/main">
  <p:tag name="PLACEHOLDER" val="1"/>
</p:tagLst>
</file>

<file path=ppt/tags/tag220.xml><?xml version="1.0" encoding="utf-8"?>
<p:tagLst xmlns:a="http://schemas.openxmlformats.org/drawingml/2006/main" xmlns:r="http://schemas.openxmlformats.org/officeDocument/2006/relationships" xmlns:p="http://schemas.openxmlformats.org/presentationml/2006/main">
  <p:tag name="PLACEHOLDER" val="16"/>
</p:tagLst>
</file>

<file path=ppt/tags/tag221.xml><?xml version="1.0" encoding="utf-8"?>
<p:tagLst xmlns:a="http://schemas.openxmlformats.org/drawingml/2006/main" xmlns:r="http://schemas.openxmlformats.org/officeDocument/2006/relationships" xmlns:p="http://schemas.openxmlformats.org/presentationml/2006/main">
  <p:tag name="PLACEHOLDER" val="17"/>
</p:tagLst>
</file>

<file path=ppt/tags/tag222.xml><?xml version="1.0" encoding="utf-8"?>
<p:tagLst xmlns:a="http://schemas.openxmlformats.org/drawingml/2006/main" xmlns:r="http://schemas.openxmlformats.org/officeDocument/2006/relationships" xmlns:p="http://schemas.openxmlformats.org/presentationml/2006/main">
  <p:tag name="PLACEHOLDER" val="18"/>
</p:tagLst>
</file>

<file path=ppt/tags/tag223.xml><?xml version="1.0" encoding="utf-8"?>
<p:tagLst xmlns:a="http://schemas.openxmlformats.org/drawingml/2006/main" xmlns:r="http://schemas.openxmlformats.org/officeDocument/2006/relationships" xmlns:p="http://schemas.openxmlformats.org/presentationml/2006/main">
  <p:tag name="PLACEHOLDER" val="19"/>
</p:tagLst>
</file>

<file path=ppt/tags/tag224.xml><?xml version="1.0" encoding="utf-8"?>
<p:tagLst xmlns:a="http://schemas.openxmlformats.org/drawingml/2006/main" xmlns:r="http://schemas.openxmlformats.org/officeDocument/2006/relationships" xmlns:p="http://schemas.openxmlformats.org/presentationml/2006/main">
  <p:tag name="PLACEHOLDER" val="20"/>
</p:tagLst>
</file>

<file path=ppt/tags/tag225.xml><?xml version="1.0" encoding="utf-8"?>
<p:tagLst xmlns:a="http://schemas.openxmlformats.org/drawingml/2006/main" xmlns:r="http://schemas.openxmlformats.org/officeDocument/2006/relationships" xmlns:p="http://schemas.openxmlformats.org/presentationml/2006/main">
  <p:tag name="PLACEHOLDER" val="1"/>
</p:tagLst>
</file>

<file path=ppt/tags/tag226.xml><?xml version="1.0" encoding="utf-8"?>
<p:tagLst xmlns:a="http://schemas.openxmlformats.org/drawingml/2006/main" xmlns:r="http://schemas.openxmlformats.org/officeDocument/2006/relationships" xmlns:p="http://schemas.openxmlformats.org/presentationml/2006/main">
  <p:tag name="PLACEHOLDER" val="2"/>
</p:tagLst>
</file>

<file path=ppt/tags/tag227.xml><?xml version="1.0" encoding="utf-8"?>
<p:tagLst xmlns:a="http://schemas.openxmlformats.org/drawingml/2006/main" xmlns:r="http://schemas.openxmlformats.org/officeDocument/2006/relationships" xmlns:p="http://schemas.openxmlformats.org/presentationml/2006/main">
  <p:tag name="PLACEHOLDER" val="3"/>
</p:tagLst>
</file>

<file path=ppt/tags/tag228.xml><?xml version="1.0" encoding="utf-8"?>
<p:tagLst xmlns:a="http://schemas.openxmlformats.org/drawingml/2006/main" xmlns:r="http://schemas.openxmlformats.org/officeDocument/2006/relationships" xmlns:p="http://schemas.openxmlformats.org/presentationml/2006/main">
  <p:tag name="PLACEHOLDER" val="4"/>
</p:tagLst>
</file>

<file path=ppt/tags/tag229.xml><?xml version="1.0" encoding="utf-8"?>
<p:tagLst xmlns:a="http://schemas.openxmlformats.org/drawingml/2006/main" xmlns:r="http://schemas.openxmlformats.org/officeDocument/2006/relationships" xmlns:p="http://schemas.openxmlformats.org/presentationml/2006/main">
  <p:tag name="PLACEHOLDER" val="5"/>
</p:tagLst>
</file>

<file path=ppt/tags/tag23.xml><?xml version="1.0" encoding="utf-8"?>
<p:tagLst xmlns:a="http://schemas.openxmlformats.org/drawingml/2006/main" xmlns:r="http://schemas.openxmlformats.org/officeDocument/2006/relationships" xmlns:p="http://schemas.openxmlformats.org/presentationml/2006/main">
  <p:tag name="PLACEHOLDER" val="2"/>
</p:tagLst>
</file>

<file path=ppt/tags/tag230.xml><?xml version="1.0" encoding="utf-8"?>
<p:tagLst xmlns:a="http://schemas.openxmlformats.org/drawingml/2006/main" xmlns:r="http://schemas.openxmlformats.org/officeDocument/2006/relationships" xmlns:p="http://schemas.openxmlformats.org/presentationml/2006/main">
  <p:tag name="PLACEHOLDER" val="6"/>
</p:tagLst>
</file>

<file path=ppt/tags/tag231.xml><?xml version="1.0" encoding="utf-8"?>
<p:tagLst xmlns:a="http://schemas.openxmlformats.org/drawingml/2006/main" xmlns:r="http://schemas.openxmlformats.org/officeDocument/2006/relationships" xmlns:p="http://schemas.openxmlformats.org/presentationml/2006/main">
  <p:tag name="PLACEHOLDER" val="7"/>
</p:tagLst>
</file>

<file path=ppt/tags/tag232.xml><?xml version="1.0" encoding="utf-8"?>
<p:tagLst xmlns:a="http://schemas.openxmlformats.org/drawingml/2006/main" xmlns:r="http://schemas.openxmlformats.org/officeDocument/2006/relationships" xmlns:p="http://schemas.openxmlformats.org/presentationml/2006/main">
  <p:tag name="PLACEHOLDER" val="8"/>
</p:tagLst>
</file>

<file path=ppt/tags/tag233.xml><?xml version="1.0" encoding="utf-8"?>
<p:tagLst xmlns:a="http://schemas.openxmlformats.org/drawingml/2006/main" xmlns:r="http://schemas.openxmlformats.org/officeDocument/2006/relationships" xmlns:p="http://schemas.openxmlformats.org/presentationml/2006/main">
  <p:tag name="PLACEHOLDER" val="9"/>
</p:tagLst>
</file>

<file path=ppt/tags/tag234.xml><?xml version="1.0" encoding="utf-8"?>
<p:tagLst xmlns:a="http://schemas.openxmlformats.org/drawingml/2006/main" xmlns:r="http://schemas.openxmlformats.org/officeDocument/2006/relationships" xmlns:p="http://schemas.openxmlformats.org/presentationml/2006/main">
  <p:tag name="PLACEHOLDER" val="10"/>
</p:tagLst>
</file>

<file path=ppt/tags/tag235.xml><?xml version="1.0" encoding="utf-8"?>
<p:tagLst xmlns:a="http://schemas.openxmlformats.org/drawingml/2006/main" xmlns:r="http://schemas.openxmlformats.org/officeDocument/2006/relationships" xmlns:p="http://schemas.openxmlformats.org/presentationml/2006/main">
  <p:tag name="PLACEHOLDER" val="11"/>
</p:tagLst>
</file>

<file path=ppt/tags/tag236.xml><?xml version="1.0" encoding="utf-8"?>
<p:tagLst xmlns:a="http://schemas.openxmlformats.org/drawingml/2006/main" xmlns:r="http://schemas.openxmlformats.org/officeDocument/2006/relationships" xmlns:p="http://schemas.openxmlformats.org/presentationml/2006/main">
  <p:tag name="PLACEHOLDER" val="12"/>
</p:tagLst>
</file>

<file path=ppt/tags/tag237.xml><?xml version="1.0" encoding="utf-8"?>
<p:tagLst xmlns:a="http://schemas.openxmlformats.org/drawingml/2006/main" xmlns:r="http://schemas.openxmlformats.org/officeDocument/2006/relationships" xmlns:p="http://schemas.openxmlformats.org/presentationml/2006/main">
  <p:tag name="PLACEHOLDER" val="13"/>
</p:tagLst>
</file>

<file path=ppt/tags/tag238.xml><?xml version="1.0" encoding="utf-8"?>
<p:tagLst xmlns:a="http://schemas.openxmlformats.org/drawingml/2006/main" xmlns:r="http://schemas.openxmlformats.org/officeDocument/2006/relationships" xmlns:p="http://schemas.openxmlformats.org/presentationml/2006/main">
  <p:tag name="PLACEHOLDER" val="14"/>
</p:tagLst>
</file>

<file path=ppt/tags/tag239.xml><?xml version="1.0" encoding="utf-8"?>
<p:tagLst xmlns:a="http://schemas.openxmlformats.org/drawingml/2006/main" xmlns:r="http://schemas.openxmlformats.org/officeDocument/2006/relationships" xmlns:p="http://schemas.openxmlformats.org/presentationml/2006/main">
  <p:tag name="PLACEHOLDER" val="15"/>
</p:tagLst>
</file>

<file path=ppt/tags/tag24.xml><?xml version="1.0" encoding="utf-8"?>
<p:tagLst xmlns:a="http://schemas.openxmlformats.org/drawingml/2006/main" xmlns:r="http://schemas.openxmlformats.org/officeDocument/2006/relationships" xmlns:p="http://schemas.openxmlformats.org/presentationml/2006/main">
  <p:tag name="PLACEHOLDER" val="3"/>
</p:tagLst>
</file>

<file path=ppt/tags/tag240.xml><?xml version="1.0" encoding="utf-8"?>
<p:tagLst xmlns:a="http://schemas.openxmlformats.org/drawingml/2006/main" xmlns:r="http://schemas.openxmlformats.org/officeDocument/2006/relationships" xmlns:p="http://schemas.openxmlformats.org/presentationml/2006/main">
  <p:tag name="PLACEHOLDER" val="16"/>
</p:tagLst>
</file>

<file path=ppt/tags/tag241.xml><?xml version="1.0" encoding="utf-8"?>
<p:tagLst xmlns:a="http://schemas.openxmlformats.org/drawingml/2006/main" xmlns:r="http://schemas.openxmlformats.org/officeDocument/2006/relationships" xmlns:p="http://schemas.openxmlformats.org/presentationml/2006/main">
  <p:tag name="PLACEHOLDER" val="17"/>
</p:tagLst>
</file>

<file path=ppt/tags/tag242.xml><?xml version="1.0" encoding="utf-8"?>
<p:tagLst xmlns:a="http://schemas.openxmlformats.org/drawingml/2006/main" xmlns:r="http://schemas.openxmlformats.org/officeDocument/2006/relationships" xmlns:p="http://schemas.openxmlformats.org/presentationml/2006/main">
  <p:tag name="PLACEHOLDER" val="18"/>
</p:tagLst>
</file>

<file path=ppt/tags/tag243.xml><?xml version="1.0" encoding="utf-8"?>
<p:tagLst xmlns:a="http://schemas.openxmlformats.org/drawingml/2006/main" xmlns:r="http://schemas.openxmlformats.org/officeDocument/2006/relationships" xmlns:p="http://schemas.openxmlformats.org/presentationml/2006/main">
  <p:tag name="PLACEHOLDER" val="19"/>
</p:tagLst>
</file>

<file path=ppt/tags/tag244.xml><?xml version="1.0" encoding="utf-8"?>
<p:tagLst xmlns:a="http://schemas.openxmlformats.org/drawingml/2006/main" xmlns:r="http://schemas.openxmlformats.org/officeDocument/2006/relationships" xmlns:p="http://schemas.openxmlformats.org/presentationml/2006/main">
  <p:tag name="PLACEHOLDER" val="20"/>
</p:tagLst>
</file>

<file path=ppt/tags/tag245.xml><?xml version="1.0" encoding="utf-8"?>
<p:tagLst xmlns:a="http://schemas.openxmlformats.org/drawingml/2006/main" xmlns:r="http://schemas.openxmlformats.org/officeDocument/2006/relationships" xmlns:p="http://schemas.openxmlformats.org/presentationml/2006/main">
  <p:tag name="PLACEHOLDER" val="1"/>
</p:tagLst>
</file>

<file path=ppt/tags/tag246.xml><?xml version="1.0" encoding="utf-8"?>
<p:tagLst xmlns:a="http://schemas.openxmlformats.org/drawingml/2006/main" xmlns:r="http://schemas.openxmlformats.org/officeDocument/2006/relationships" xmlns:p="http://schemas.openxmlformats.org/presentationml/2006/main">
  <p:tag name="PLACEHOLDER" val="2"/>
</p:tagLst>
</file>

<file path=ppt/tags/tag247.xml><?xml version="1.0" encoding="utf-8"?>
<p:tagLst xmlns:a="http://schemas.openxmlformats.org/drawingml/2006/main" xmlns:r="http://schemas.openxmlformats.org/officeDocument/2006/relationships" xmlns:p="http://schemas.openxmlformats.org/presentationml/2006/main">
  <p:tag name="PLACEHOLDER" val="3"/>
</p:tagLst>
</file>

<file path=ppt/tags/tag248.xml><?xml version="1.0" encoding="utf-8"?>
<p:tagLst xmlns:a="http://schemas.openxmlformats.org/drawingml/2006/main" xmlns:r="http://schemas.openxmlformats.org/officeDocument/2006/relationships" xmlns:p="http://schemas.openxmlformats.org/presentationml/2006/main">
  <p:tag name="PLACEHOLDER" val="4"/>
</p:tagLst>
</file>

<file path=ppt/tags/tag249.xml><?xml version="1.0" encoding="utf-8"?>
<p:tagLst xmlns:a="http://schemas.openxmlformats.org/drawingml/2006/main" xmlns:r="http://schemas.openxmlformats.org/officeDocument/2006/relationships" xmlns:p="http://schemas.openxmlformats.org/presentationml/2006/main">
  <p:tag name="PLACEHOLDER" val="5"/>
</p:tagLst>
</file>

<file path=ppt/tags/tag25.xml><?xml version="1.0" encoding="utf-8"?>
<p:tagLst xmlns:a="http://schemas.openxmlformats.org/drawingml/2006/main" xmlns:r="http://schemas.openxmlformats.org/officeDocument/2006/relationships" xmlns:p="http://schemas.openxmlformats.org/presentationml/2006/main">
  <p:tag name="PLACEHOLDER" val="4"/>
</p:tagLst>
</file>

<file path=ppt/tags/tag250.xml><?xml version="1.0" encoding="utf-8"?>
<p:tagLst xmlns:a="http://schemas.openxmlformats.org/drawingml/2006/main" xmlns:r="http://schemas.openxmlformats.org/officeDocument/2006/relationships" xmlns:p="http://schemas.openxmlformats.org/presentationml/2006/main">
  <p:tag name="PLACEHOLDER" val="6"/>
</p:tagLst>
</file>

<file path=ppt/tags/tag251.xml><?xml version="1.0" encoding="utf-8"?>
<p:tagLst xmlns:a="http://schemas.openxmlformats.org/drawingml/2006/main" xmlns:r="http://schemas.openxmlformats.org/officeDocument/2006/relationships" xmlns:p="http://schemas.openxmlformats.org/presentationml/2006/main">
  <p:tag name="PLACEHOLDER" val="7"/>
</p:tagLst>
</file>

<file path=ppt/tags/tag252.xml><?xml version="1.0" encoding="utf-8"?>
<p:tagLst xmlns:a="http://schemas.openxmlformats.org/drawingml/2006/main" xmlns:r="http://schemas.openxmlformats.org/officeDocument/2006/relationships" xmlns:p="http://schemas.openxmlformats.org/presentationml/2006/main">
  <p:tag name="PLACEHOLDER" val="8"/>
</p:tagLst>
</file>

<file path=ppt/tags/tag253.xml><?xml version="1.0" encoding="utf-8"?>
<p:tagLst xmlns:a="http://schemas.openxmlformats.org/drawingml/2006/main" xmlns:r="http://schemas.openxmlformats.org/officeDocument/2006/relationships" xmlns:p="http://schemas.openxmlformats.org/presentationml/2006/main">
  <p:tag name="PLACEHOLDER" val="9"/>
</p:tagLst>
</file>

<file path=ppt/tags/tag254.xml><?xml version="1.0" encoding="utf-8"?>
<p:tagLst xmlns:a="http://schemas.openxmlformats.org/drawingml/2006/main" xmlns:r="http://schemas.openxmlformats.org/officeDocument/2006/relationships" xmlns:p="http://schemas.openxmlformats.org/presentationml/2006/main">
  <p:tag name="PLACEHOLDER" val="10"/>
</p:tagLst>
</file>

<file path=ppt/tags/tag255.xml><?xml version="1.0" encoding="utf-8"?>
<p:tagLst xmlns:a="http://schemas.openxmlformats.org/drawingml/2006/main" xmlns:r="http://schemas.openxmlformats.org/officeDocument/2006/relationships" xmlns:p="http://schemas.openxmlformats.org/presentationml/2006/main">
  <p:tag name="PLACEHOLDER" val="11"/>
</p:tagLst>
</file>

<file path=ppt/tags/tag256.xml><?xml version="1.0" encoding="utf-8"?>
<p:tagLst xmlns:a="http://schemas.openxmlformats.org/drawingml/2006/main" xmlns:r="http://schemas.openxmlformats.org/officeDocument/2006/relationships" xmlns:p="http://schemas.openxmlformats.org/presentationml/2006/main">
  <p:tag name="PLACEHOLDER" val="12"/>
</p:tagLst>
</file>

<file path=ppt/tags/tag257.xml><?xml version="1.0" encoding="utf-8"?>
<p:tagLst xmlns:a="http://schemas.openxmlformats.org/drawingml/2006/main" xmlns:r="http://schemas.openxmlformats.org/officeDocument/2006/relationships" xmlns:p="http://schemas.openxmlformats.org/presentationml/2006/main">
  <p:tag name="PLACEHOLDER" val="13"/>
</p:tagLst>
</file>

<file path=ppt/tags/tag258.xml><?xml version="1.0" encoding="utf-8"?>
<p:tagLst xmlns:a="http://schemas.openxmlformats.org/drawingml/2006/main" xmlns:r="http://schemas.openxmlformats.org/officeDocument/2006/relationships" xmlns:p="http://schemas.openxmlformats.org/presentationml/2006/main">
  <p:tag name="PLACEHOLDER" val="14"/>
</p:tagLst>
</file>

<file path=ppt/tags/tag259.xml><?xml version="1.0" encoding="utf-8"?>
<p:tagLst xmlns:a="http://schemas.openxmlformats.org/drawingml/2006/main" xmlns:r="http://schemas.openxmlformats.org/officeDocument/2006/relationships" xmlns:p="http://schemas.openxmlformats.org/presentationml/2006/main">
  <p:tag name="PLACEHOLDER" val="15"/>
</p:tagLst>
</file>

<file path=ppt/tags/tag26.xml><?xml version="1.0" encoding="utf-8"?>
<p:tagLst xmlns:a="http://schemas.openxmlformats.org/drawingml/2006/main" xmlns:r="http://schemas.openxmlformats.org/officeDocument/2006/relationships" xmlns:p="http://schemas.openxmlformats.org/presentationml/2006/main">
  <p:tag name="PLACEHOLDER" val="5"/>
</p:tagLst>
</file>

<file path=ppt/tags/tag260.xml><?xml version="1.0" encoding="utf-8"?>
<p:tagLst xmlns:a="http://schemas.openxmlformats.org/drawingml/2006/main" xmlns:r="http://schemas.openxmlformats.org/officeDocument/2006/relationships" xmlns:p="http://schemas.openxmlformats.org/presentationml/2006/main">
  <p:tag name="PLACEHOLDER" val="16"/>
</p:tagLst>
</file>

<file path=ppt/tags/tag261.xml><?xml version="1.0" encoding="utf-8"?>
<p:tagLst xmlns:a="http://schemas.openxmlformats.org/drawingml/2006/main" xmlns:r="http://schemas.openxmlformats.org/officeDocument/2006/relationships" xmlns:p="http://schemas.openxmlformats.org/presentationml/2006/main">
  <p:tag name="PLACEHOLDER" val="17"/>
</p:tagLst>
</file>

<file path=ppt/tags/tag262.xml><?xml version="1.0" encoding="utf-8"?>
<p:tagLst xmlns:a="http://schemas.openxmlformats.org/drawingml/2006/main" xmlns:r="http://schemas.openxmlformats.org/officeDocument/2006/relationships" xmlns:p="http://schemas.openxmlformats.org/presentationml/2006/main">
  <p:tag name="PLACEHOLDER" val="18"/>
</p:tagLst>
</file>

<file path=ppt/tags/tag263.xml><?xml version="1.0" encoding="utf-8"?>
<p:tagLst xmlns:a="http://schemas.openxmlformats.org/drawingml/2006/main" xmlns:r="http://schemas.openxmlformats.org/officeDocument/2006/relationships" xmlns:p="http://schemas.openxmlformats.org/presentationml/2006/main">
  <p:tag name="PLACEHOLDER" val="19"/>
</p:tagLst>
</file>

<file path=ppt/tags/tag264.xml><?xml version="1.0" encoding="utf-8"?>
<p:tagLst xmlns:a="http://schemas.openxmlformats.org/drawingml/2006/main" xmlns:r="http://schemas.openxmlformats.org/officeDocument/2006/relationships" xmlns:p="http://schemas.openxmlformats.org/presentationml/2006/main">
  <p:tag name="PLACEHOLDER" val="20"/>
</p:tagLst>
</file>

<file path=ppt/tags/tag265.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266.xml><?xml version="1.0" encoding="utf-8"?>
<p:tagLst xmlns:a="http://schemas.openxmlformats.org/drawingml/2006/main" xmlns:r="http://schemas.openxmlformats.org/officeDocument/2006/relationships" xmlns:p="http://schemas.openxmlformats.org/presentationml/2006/main">
  <p:tag name="PLACEHOLDER" val="1"/>
</p:tagLst>
</file>

<file path=ppt/tags/tag267.xml><?xml version="1.0" encoding="utf-8"?>
<p:tagLst xmlns:a="http://schemas.openxmlformats.org/drawingml/2006/main" xmlns:r="http://schemas.openxmlformats.org/officeDocument/2006/relationships" xmlns:p="http://schemas.openxmlformats.org/presentationml/2006/main">
  <p:tag name="PLACEHOLDER" val="2"/>
</p:tagLst>
</file>

<file path=ppt/tags/tag268.xml><?xml version="1.0" encoding="utf-8"?>
<p:tagLst xmlns:a="http://schemas.openxmlformats.org/drawingml/2006/main" xmlns:r="http://schemas.openxmlformats.org/officeDocument/2006/relationships" xmlns:p="http://schemas.openxmlformats.org/presentationml/2006/main">
  <p:tag name="PLACEHOLDER" val="3"/>
</p:tagLst>
</file>

<file path=ppt/tags/tag269.xml><?xml version="1.0" encoding="utf-8"?>
<p:tagLst xmlns:a="http://schemas.openxmlformats.org/drawingml/2006/main" xmlns:r="http://schemas.openxmlformats.org/officeDocument/2006/relationships" xmlns:p="http://schemas.openxmlformats.org/presentationml/2006/main">
  <p:tag name="PLACEHOLDER" val="4"/>
</p:tagLst>
</file>

<file path=ppt/tags/tag27.xml><?xml version="1.0" encoding="utf-8"?>
<p:tagLst xmlns:a="http://schemas.openxmlformats.org/drawingml/2006/main" xmlns:r="http://schemas.openxmlformats.org/officeDocument/2006/relationships" xmlns:p="http://schemas.openxmlformats.org/presentationml/2006/main">
  <p:tag name="PLACEHOLDER" val="6"/>
</p:tagLst>
</file>

<file path=ppt/tags/tag270.xml><?xml version="1.0" encoding="utf-8"?>
<p:tagLst xmlns:a="http://schemas.openxmlformats.org/drawingml/2006/main" xmlns:r="http://schemas.openxmlformats.org/officeDocument/2006/relationships" xmlns:p="http://schemas.openxmlformats.org/presentationml/2006/main">
  <p:tag name="PLACEHOLDER" val="5"/>
</p:tagLst>
</file>

<file path=ppt/tags/tag271.xml><?xml version="1.0" encoding="utf-8"?>
<p:tagLst xmlns:a="http://schemas.openxmlformats.org/drawingml/2006/main" xmlns:r="http://schemas.openxmlformats.org/officeDocument/2006/relationships" xmlns:p="http://schemas.openxmlformats.org/presentationml/2006/main">
  <p:tag name="PLACEHOLDER" val="6"/>
</p:tagLst>
</file>

<file path=ppt/tags/tag272.xml><?xml version="1.0" encoding="utf-8"?>
<p:tagLst xmlns:a="http://schemas.openxmlformats.org/drawingml/2006/main" xmlns:r="http://schemas.openxmlformats.org/officeDocument/2006/relationships" xmlns:p="http://schemas.openxmlformats.org/presentationml/2006/main">
  <p:tag name="PLACEHOLDER" val="7"/>
</p:tagLst>
</file>

<file path=ppt/tags/tag273.xml><?xml version="1.0" encoding="utf-8"?>
<p:tagLst xmlns:a="http://schemas.openxmlformats.org/drawingml/2006/main" xmlns:r="http://schemas.openxmlformats.org/officeDocument/2006/relationships" xmlns:p="http://schemas.openxmlformats.org/presentationml/2006/main">
  <p:tag name="PLACEHOLDER" val="8"/>
</p:tagLst>
</file>

<file path=ppt/tags/tag274.xml><?xml version="1.0" encoding="utf-8"?>
<p:tagLst xmlns:a="http://schemas.openxmlformats.org/drawingml/2006/main" xmlns:r="http://schemas.openxmlformats.org/officeDocument/2006/relationships" xmlns:p="http://schemas.openxmlformats.org/presentationml/2006/main">
  <p:tag name="PLACEHOLDER" val="9"/>
</p:tagLst>
</file>

<file path=ppt/tags/tag275.xml><?xml version="1.0" encoding="utf-8"?>
<p:tagLst xmlns:a="http://schemas.openxmlformats.org/drawingml/2006/main" xmlns:r="http://schemas.openxmlformats.org/officeDocument/2006/relationships" xmlns:p="http://schemas.openxmlformats.org/presentationml/2006/main">
  <p:tag name="PLACEHOLDER" val="10"/>
</p:tagLst>
</file>

<file path=ppt/tags/tag276.xml><?xml version="1.0" encoding="utf-8"?>
<p:tagLst xmlns:a="http://schemas.openxmlformats.org/drawingml/2006/main" xmlns:r="http://schemas.openxmlformats.org/officeDocument/2006/relationships" xmlns:p="http://schemas.openxmlformats.org/presentationml/2006/main">
  <p:tag name="PLACEHOLDER" val="11"/>
</p:tagLst>
</file>

<file path=ppt/tags/tag277.xml><?xml version="1.0" encoding="utf-8"?>
<p:tagLst xmlns:a="http://schemas.openxmlformats.org/drawingml/2006/main" xmlns:r="http://schemas.openxmlformats.org/officeDocument/2006/relationships" xmlns:p="http://schemas.openxmlformats.org/presentationml/2006/main">
  <p:tag name="PLACEHOLDER" val="12"/>
</p:tagLst>
</file>

<file path=ppt/tags/tag278.xml><?xml version="1.0" encoding="utf-8"?>
<p:tagLst xmlns:a="http://schemas.openxmlformats.org/drawingml/2006/main" xmlns:r="http://schemas.openxmlformats.org/officeDocument/2006/relationships" xmlns:p="http://schemas.openxmlformats.org/presentationml/2006/main">
  <p:tag name="PLACEHOLDER" val="13"/>
</p:tagLst>
</file>

<file path=ppt/tags/tag279.xml><?xml version="1.0" encoding="utf-8"?>
<p:tagLst xmlns:a="http://schemas.openxmlformats.org/drawingml/2006/main" xmlns:r="http://schemas.openxmlformats.org/officeDocument/2006/relationships" xmlns:p="http://schemas.openxmlformats.org/presentationml/2006/main">
  <p:tag name="PLACEHOLDER" val="14"/>
</p:tagLst>
</file>

<file path=ppt/tags/tag28.xml><?xml version="1.0" encoding="utf-8"?>
<p:tagLst xmlns:a="http://schemas.openxmlformats.org/drawingml/2006/main" xmlns:r="http://schemas.openxmlformats.org/officeDocument/2006/relationships" xmlns:p="http://schemas.openxmlformats.org/presentationml/2006/main">
  <p:tag name="PLACEHOLDER" val="7"/>
</p:tagLst>
</file>

<file path=ppt/tags/tag280.xml><?xml version="1.0" encoding="utf-8"?>
<p:tagLst xmlns:a="http://schemas.openxmlformats.org/drawingml/2006/main" xmlns:r="http://schemas.openxmlformats.org/officeDocument/2006/relationships" xmlns:p="http://schemas.openxmlformats.org/presentationml/2006/main">
  <p:tag name="PLACEHOLDER" val="15"/>
</p:tagLst>
</file>

<file path=ppt/tags/tag281.xml><?xml version="1.0" encoding="utf-8"?>
<p:tagLst xmlns:a="http://schemas.openxmlformats.org/drawingml/2006/main" xmlns:r="http://schemas.openxmlformats.org/officeDocument/2006/relationships" xmlns:p="http://schemas.openxmlformats.org/presentationml/2006/main">
  <p:tag name="PLACEHOLDER" val="16"/>
</p:tagLst>
</file>

<file path=ppt/tags/tag282.xml><?xml version="1.0" encoding="utf-8"?>
<p:tagLst xmlns:a="http://schemas.openxmlformats.org/drawingml/2006/main" xmlns:r="http://schemas.openxmlformats.org/officeDocument/2006/relationships" xmlns:p="http://schemas.openxmlformats.org/presentationml/2006/main">
  <p:tag name="PLACEHOLDER" val="17"/>
</p:tagLst>
</file>

<file path=ppt/tags/tag283.xml><?xml version="1.0" encoding="utf-8"?>
<p:tagLst xmlns:a="http://schemas.openxmlformats.org/drawingml/2006/main" xmlns:r="http://schemas.openxmlformats.org/officeDocument/2006/relationships" xmlns:p="http://schemas.openxmlformats.org/presentationml/2006/main">
  <p:tag name="PLACEHOLDER" val="18"/>
</p:tagLst>
</file>

<file path=ppt/tags/tag284.xml><?xml version="1.0" encoding="utf-8"?>
<p:tagLst xmlns:a="http://schemas.openxmlformats.org/drawingml/2006/main" xmlns:r="http://schemas.openxmlformats.org/officeDocument/2006/relationships" xmlns:p="http://schemas.openxmlformats.org/presentationml/2006/main">
  <p:tag name="PLACEHOLDER" val="19"/>
</p:tagLst>
</file>

<file path=ppt/tags/tag285.xml><?xml version="1.0" encoding="utf-8"?>
<p:tagLst xmlns:a="http://schemas.openxmlformats.org/drawingml/2006/main" xmlns:r="http://schemas.openxmlformats.org/officeDocument/2006/relationships" xmlns:p="http://schemas.openxmlformats.org/presentationml/2006/main">
  <p:tag name="PLACEHOLDER" val="20"/>
</p:tagLst>
</file>

<file path=ppt/tags/tag286.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287.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288.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289.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29.xml><?xml version="1.0" encoding="utf-8"?>
<p:tagLst xmlns:a="http://schemas.openxmlformats.org/drawingml/2006/main" xmlns:r="http://schemas.openxmlformats.org/officeDocument/2006/relationships" xmlns:p="http://schemas.openxmlformats.org/presentationml/2006/main">
  <p:tag name="PLACEHOLDER" val="8"/>
</p:tagLst>
</file>

<file path=ppt/tags/tag290.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291.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292.xml><?xml version="1.0" encoding="utf-8"?>
<p:tagLst xmlns:a="http://schemas.openxmlformats.org/drawingml/2006/main" xmlns:r="http://schemas.openxmlformats.org/officeDocument/2006/relationships" xmlns:p="http://schemas.openxmlformats.org/presentationml/2006/main">
  <p:tag name="PS_COMPARE_SHAPE_ID" val="40b88dd6-ab85-42e9-8224-7be37531a8d8"/>
</p:tagLst>
</file>

<file path=ppt/tags/tag293.xml><?xml version="1.0" encoding="utf-8"?>
<p:tagLst xmlns:a="http://schemas.openxmlformats.org/drawingml/2006/main" xmlns:r="http://schemas.openxmlformats.org/officeDocument/2006/relationships" xmlns:p="http://schemas.openxmlformats.org/presentationml/2006/main">
  <p:tag name="PS_COMPARE_SHAPE_ID" val="40b88dd6-ab85-42e9-8224-7be37531a8d8"/>
</p:tagLst>
</file>

<file path=ppt/tags/tag294.xml><?xml version="1.0" encoding="utf-8"?>
<p:tagLst xmlns:a="http://schemas.openxmlformats.org/drawingml/2006/main" xmlns:r="http://schemas.openxmlformats.org/officeDocument/2006/relationships" xmlns:p="http://schemas.openxmlformats.org/presentationml/2006/main">
  <p:tag name="PS_COMPARE_SHAPE_ID" val="40b88dd6-ab85-42e9-8224-7be37531a8d8"/>
</p:tagLst>
</file>

<file path=ppt/tags/tag295.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296.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297.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298.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299.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3.xml><?xml version="1.0" encoding="utf-8"?>
<p:tagLst xmlns:a="http://schemas.openxmlformats.org/drawingml/2006/main" xmlns:r="http://schemas.openxmlformats.org/officeDocument/2006/relationships" xmlns:p="http://schemas.openxmlformats.org/presentationml/2006/main">
  <p:tag name="PLACEHOLDER" val="2"/>
</p:tagLst>
</file>

<file path=ppt/tags/tag30.xml><?xml version="1.0" encoding="utf-8"?>
<p:tagLst xmlns:a="http://schemas.openxmlformats.org/drawingml/2006/main" xmlns:r="http://schemas.openxmlformats.org/officeDocument/2006/relationships" xmlns:p="http://schemas.openxmlformats.org/presentationml/2006/main">
  <p:tag name="PLACEHOLDER" val="9"/>
</p:tagLst>
</file>

<file path=ppt/tags/tag300.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301.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302.xml><?xml version="1.0" encoding="utf-8"?>
<p:tagLst xmlns:a="http://schemas.openxmlformats.org/drawingml/2006/main" xmlns:r="http://schemas.openxmlformats.org/officeDocument/2006/relationships" xmlns:p="http://schemas.openxmlformats.org/presentationml/2006/main">
  <p:tag name="PS_COMPARE_SHAPE_ID" val="b9df0c79-7149-445e-952f-cf4ae36f911a"/>
</p:tagLst>
</file>

<file path=ppt/tags/tag303.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304.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305.xml><?xml version="1.0" encoding="utf-8"?>
<p:tagLst xmlns:a="http://schemas.openxmlformats.org/drawingml/2006/main" xmlns:r="http://schemas.openxmlformats.org/officeDocument/2006/relationships" xmlns:p="http://schemas.openxmlformats.org/presentationml/2006/main">
  <p:tag name="PS_COMPARE_SHAPE_ID" val="b9df0c79-7149-445e-952f-cf4ae36f911a"/>
</p:tagLst>
</file>

<file path=ppt/tags/tag306.xml><?xml version="1.0" encoding="utf-8"?>
<p:tagLst xmlns:a="http://schemas.openxmlformats.org/drawingml/2006/main" xmlns:r="http://schemas.openxmlformats.org/officeDocument/2006/relationships" xmlns:p="http://schemas.openxmlformats.org/presentationml/2006/main">
  <p:tag name="PS_COMPARE_SHAPE_ID" val="ec1775c1-c386-4eee-8c64-caedc60285ec"/>
</p:tagLst>
</file>

<file path=ppt/tags/tag307.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308.xml><?xml version="1.0" encoding="utf-8"?>
<p:tagLst xmlns:a="http://schemas.openxmlformats.org/drawingml/2006/main" xmlns:r="http://schemas.openxmlformats.org/officeDocument/2006/relationships" xmlns:p="http://schemas.openxmlformats.org/presentationml/2006/main">
  <p:tag name="PS_COMPARE_SLIDE_ID" val="0ed3e4d7-e520-4802-a674-002ea3abf8cc"/>
  <p:tag name="SLIDE_TYPE" val="Title"/>
</p:tagLst>
</file>

<file path=ppt/tags/tag309.xml><?xml version="1.0" encoding="utf-8"?>
<p:tagLst xmlns:a="http://schemas.openxmlformats.org/drawingml/2006/main" xmlns:r="http://schemas.openxmlformats.org/officeDocument/2006/relationships" xmlns:p="http://schemas.openxmlformats.org/presentationml/2006/main">
  <p:tag name="PS_COMPARE_SHAPE_ID" val="7ef431dd-8d22-4675-97fe-226d2770c1f2"/>
</p:tagLst>
</file>

<file path=ppt/tags/tag31.xml><?xml version="1.0" encoding="utf-8"?>
<p:tagLst xmlns:a="http://schemas.openxmlformats.org/drawingml/2006/main" xmlns:r="http://schemas.openxmlformats.org/officeDocument/2006/relationships" xmlns:p="http://schemas.openxmlformats.org/presentationml/2006/main">
  <p:tag name="PLACEHOLDER" val="10"/>
</p:tagLst>
</file>

<file path=ppt/tags/tag310.xml><?xml version="1.0" encoding="utf-8"?>
<p:tagLst xmlns:a="http://schemas.openxmlformats.org/drawingml/2006/main" xmlns:r="http://schemas.openxmlformats.org/officeDocument/2006/relationships" xmlns:p="http://schemas.openxmlformats.org/presentationml/2006/main">
  <p:tag name="PS_COMPARE_SHAPE_ID" val="0070c7e1-68d4-4197-bb0b-35e64959f546"/>
</p:tagLst>
</file>

<file path=ppt/tags/tag311.xml><?xml version="1.0" encoding="utf-8"?>
<p:tagLst xmlns:a="http://schemas.openxmlformats.org/drawingml/2006/main" xmlns:r="http://schemas.openxmlformats.org/officeDocument/2006/relationships" xmlns:p="http://schemas.openxmlformats.org/presentationml/2006/main">
  <p:tag name="PS_COMPARE_SHAPE_ID" val="c2c08e6e-1089-47cf-8e7d-31b4a3193921"/>
</p:tagLst>
</file>

<file path=ppt/tags/tag312.xml><?xml version="1.0" encoding="utf-8"?>
<p:tagLst xmlns:a="http://schemas.openxmlformats.org/drawingml/2006/main" xmlns:r="http://schemas.openxmlformats.org/officeDocument/2006/relationships" xmlns:p="http://schemas.openxmlformats.org/presentationml/2006/main">
  <p:tag name="PS_COMPARE_SHAPE_ID" val="23e0c13d-a485-470a-a816-dd1730c156f7"/>
</p:tagLst>
</file>

<file path=ppt/tags/tag313.xml><?xml version="1.0" encoding="utf-8"?>
<p:tagLst xmlns:a="http://schemas.openxmlformats.org/drawingml/2006/main" xmlns:r="http://schemas.openxmlformats.org/officeDocument/2006/relationships" xmlns:p="http://schemas.openxmlformats.org/presentationml/2006/main">
  <p:tag name="PS_COMPARE_SHAPE_ID" val="b6ac9919-11b3-49cb-ae89-c32d4bb7e7c6"/>
</p:tagLst>
</file>

<file path=ppt/tags/tag314.xml><?xml version="1.0" encoding="utf-8"?>
<p:tagLst xmlns:a="http://schemas.openxmlformats.org/drawingml/2006/main" xmlns:r="http://schemas.openxmlformats.org/officeDocument/2006/relationships" xmlns:p="http://schemas.openxmlformats.org/presentationml/2006/main">
  <p:tag name="PS_COMPARE_SHAPE_ID" val="4735c48f-f420-4650-9193-257f2552faa6"/>
</p:tagLst>
</file>

<file path=ppt/tags/tag315.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316.xml><?xml version="1.0" encoding="utf-8"?>
<p:tagLst xmlns:a="http://schemas.openxmlformats.org/drawingml/2006/main" xmlns:r="http://schemas.openxmlformats.org/officeDocument/2006/relationships" xmlns:p="http://schemas.openxmlformats.org/presentationml/2006/main">
  <p:tag name="PS_COMPARE_SLIDE_ID" val="4e8d454a-e3dc-4cee-9352-2aebb8d8f880"/>
</p:tagLst>
</file>

<file path=ppt/tags/tag317.xml><?xml version="1.0" encoding="utf-8"?>
<p:tagLst xmlns:a="http://schemas.openxmlformats.org/drawingml/2006/main" xmlns:r="http://schemas.openxmlformats.org/officeDocument/2006/relationships" xmlns:p="http://schemas.openxmlformats.org/presentationml/2006/main">
  <p:tag name="PS_COMPARE_SHAPE_ID" val="7ec610f7-d34f-4029-a599-c699e779966f"/>
</p:tagLst>
</file>

<file path=ppt/tags/tag318.xml><?xml version="1.0" encoding="utf-8"?>
<p:tagLst xmlns:a="http://schemas.openxmlformats.org/drawingml/2006/main" xmlns:r="http://schemas.openxmlformats.org/officeDocument/2006/relationships" xmlns:p="http://schemas.openxmlformats.org/presentationml/2006/main">
  <p:tag name="PS_COMPARE_SHAPE_ID" val="2b98bbb9-13f8-454e-868c-f05cd40ac0d8"/>
</p:tagLst>
</file>

<file path=ppt/tags/tag319.xml><?xml version="1.0" encoding="utf-8"?>
<p:tagLst xmlns:a="http://schemas.openxmlformats.org/drawingml/2006/main" xmlns:r="http://schemas.openxmlformats.org/officeDocument/2006/relationships" xmlns:p="http://schemas.openxmlformats.org/presentationml/2006/main">
  <p:tag name="CREATE_TABLE_FORMAT" val="c407572e-b3bf-44ef-ab0d-f005a362588c"/>
  <p:tag name="CREATE_TABLE_VARIATION" val="c407572e-b3bf-44ef-ab0d-f005a362588c"/>
</p:tagLst>
</file>

<file path=ppt/tags/tag32.xml><?xml version="1.0" encoding="utf-8"?>
<p:tagLst xmlns:a="http://schemas.openxmlformats.org/drawingml/2006/main" xmlns:r="http://schemas.openxmlformats.org/officeDocument/2006/relationships" xmlns:p="http://schemas.openxmlformats.org/presentationml/2006/main">
  <p:tag name="PLACEHOLDER" val="11"/>
</p:tagLst>
</file>

<file path=ppt/tags/tag320.xml><?xml version="1.0" encoding="utf-8"?>
<p:tagLst xmlns:a="http://schemas.openxmlformats.org/drawingml/2006/main" xmlns:r="http://schemas.openxmlformats.org/officeDocument/2006/relationships" xmlns:p="http://schemas.openxmlformats.org/presentationml/2006/main">
  <p:tag name="POWER_USER_ID_TEMPLATES" val="Timeline_4"/>
</p:tagLst>
</file>

<file path=ppt/tags/tag321.xml><?xml version="1.0" encoding="utf-8"?>
<p:tagLst xmlns:a="http://schemas.openxmlformats.org/drawingml/2006/main" xmlns:r="http://schemas.openxmlformats.org/officeDocument/2006/relationships" xmlns:p="http://schemas.openxmlformats.org/presentationml/2006/main">
  <p:tag name="POWER_USER_ID_TEMPLATES" val="Timeline_4"/>
</p:tagLst>
</file>

<file path=ppt/tags/tag322.xml><?xml version="1.0" encoding="utf-8"?>
<p:tagLst xmlns:a="http://schemas.openxmlformats.org/drawingml/2006/main" xmlns:r="http://schemas.openxmlformats.org/officeDocument/2006/relationships" xmlns:p="http://schemas.openxmlformats.org/presentationml/2006/main">
  <p:tag name="POWER_USER_ID_TEMPLATES" val="Timeline_4"/>
</p:tagLst>
</file>

<file path=ppt/tags/tag323.xml><?xml version="1.0" encoding="utf-8"?>
<p:tagLst xmlns:a="http://schemas.openxmlformats.org/drawingml/2006/main" xmlns:r="http://schemas.openxmlformats.org/officeDocument/2006/relationships" xmlns:p="http://schemas.openxmlformats.org/presentationml/2006/main">
  <p:tag name="PS_COMPARE_SLIDE_ID" val="a529710d-8197-4072-96d9-09ee717f3697"/>
</p:tagLst>
</file>

<file path=ppt/tags/tag324.xml><?xml version="1.0" encoding="utf-8"?>
<p:tagLst xmlns:a="http://schemas.openxmlformats.org/drawingml/2006/main" xmlns:r="http://schemas.openxmlformats.org/officeDocument/2006/relationships" xmlns:p="http://schemas.openxmlformats.org/presentationml/2006/main">
  <p:tag name="FOOTER_ALIGNMENT" val="bottom"/>
  <p:tag name="FOOTER_INDEX" val="1"/>
  <p:tag name="ALIGN_TO_THIS" val="DisclaimerWhite"/>
  <p:tag name="PS_COMPARE_SHAPE_ID" val="0bd5e0ea-5322-445d-88b6-7eb7b99babba"/>
</p:tagLst>
</file>

<file path=ppt/tags/tag325.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52cdc08-e2d6-4dbf-ba68-db5560d8a23a"/>
  <p:tag name="ALIGN_TO_THIS" val="OfficeAddressWhite"/>
</p:tagLst>
</file>

<file path=ppt/tags/tag326.xml><?xml version="1.0" encoding="utf-8"?>
<p:tagLst xmlns:a="http://schemas.openxmlformats.org/drawingml/2006/main" xmlns:r="http://schemas.openxmlformats.org/officeDocument/2006/relationships" xmlns:p="http://schemas.openxmlformats.org/presentationml/2006/main">
  <p:tag name="PS_COMPARE_SHAPE_ID" val="d422b4ac-c682-4fd6-93bf-f3bbe2fd1eea"/>
</p:tagLst>
</file>

<file path=ppt/tags/tag327.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7278673-18c7-4f36-8a9b-fdf7312c0ebf"/>
</p:tagLst>
</file>

<file path=ppt/tags/tag328.xml><?xml version="1.0" encoding="utf-8"?>
<p:tagLst xmlns:a="http://schemas.openxmlformats.org/drawingml/2006/main" xmlns:r="http://schemas.openxmlformats.org/officeDocument/2006/relationships" xmlns:p="http://schemas.openxmlformats.org/presentationml/2006/main">
  <p:tag name="FOOTER_ALIGNMENT" val="bottom"/>
  <p:tag name="FOOTER_INDEX" val="4"/>
  <p:tag name="PS_COMPARE_SHAPE_ID" val="6402414d-f823-4701-88e3-8cb3032062a9"/>
</p:tagLst>
</file>

<file path=ppt/tags/tag33.xml><?xml version="1.0" encoding="utf-8"?>
<p:tagLst xmlns:a="http://schemas.openxmlformats.org/drawingml/2006/main" xmlns:r="http://schemas.openxmlformats.org/officeDocument/2006/relationships" xmlns:p="http://schemas.openxmlformats.org/presentationml/2006/main">
  <p:tag name="PLACEHOLDER" val="12"/>
</p:tagLst>
</file>

<file path=ppt/tags/tag34.xml><?xml version="1.0" encoding="utf-8"?>
<p:tagLst xmlns:a="http://schemas.openxmlformats.org/drawingml/2006/main" xmlns:r="http://schemas.openxmlformats.org/officeDocument/2006/relationships" xmlns:p="http://schemas.openxmlformats.org/presentationml/2006/main">
  <p:tag name="PLACEHOLDER" val="13"/>
</p:tagLst>
</file>

<file path=ppt/tags/tag35.xml><?xml version="1.0" encoding="utf-8"?>
<p:tagLst xmlns:a="http://schemas.openxmlformats.org/drawingml/2006/main" xmlns:r="http://schemas.openxmlformats.org/officeDocument/2006/relationships" xmlns:p="http://schemas.openxmlformats.org/presentationml/2006/main">
  <p:tag name="PLACEHOLDER" val="14"/>
</p:tagLst>
</file>

<file path=ppt/tags/tag36.xml><?xml version="1.0" encoding="utf-8"?>
<p:tagLst xmlns:a="http://schemas.openxmlformats.org/drawingml/2006/main" xmlns:r="http://schemas.openxmlformats.org/officeDocument/2006/relationships" xmlns:p="http://schemas.openxmlformats.org/presentationml/2006/main">
  <p:tag name="PLACEHOLDER" val="15"/>
</p:tagLst>
</file>

<file path=ppt/tags/tag37.xml><?xml version="1.0" encoding="utf-8"?>
<p:tagLst xmlns:a="http://schemas.openxmlformats.org/drawingml/2006/main" xmlns:r="http://schemas.openxmlformats.org/officeDocument/2006/relationships" xmlns:p="http://schemas.openxmlformats.org/presentationml/2006/main">
  <p:tag name="PLACEHOLDER" val="16"/>
</p:tagLst>
</file>

<file path=ppt/tags/tag38.xml><?xml version="1.0" encoding="utf-8"?>
<p:tagLst xmlns:a="http://schemas.openxmlformats.org/drawingml/2006/main" xmlns:r="http://schemas.openxmlformats.org/officeDocument/2006/relationships" xmlns:p="http://schemas.openxmlformats.org/presentationml/2006/main">
  <p:tag name="PLACEHOLDER" val="17"/>
</p:tagLst>
</file>

<file path=ppt/tags/tag39.xml><?xml version="1.0" encoding="utf-8"?>
<p:tagLst xmlns:a="http://schemas.openxmlformats.org/drawingml/2006/main" xmlns:r="http://schemas.openxmlformats.org/officeDocument/2006/relationships" xmlns:p="http://schemas.openxmlformats.org/presentationml/2006/main">
  <p:tag name="PLACEHOLDER" val="18"/>
</p:tagLst>
</file>

<file path=ppt/tags/tag4.xml><?xml version="1.0" encoding="utf-8"?>
<p:tagLst xmlns:a="http://schemas.openxmlformats.org/drawingml/2006/main" xmlns:r="http://schemas.openxmlformats.org/officeDocument/2006/relationships" xmlns:p="http://schemas.openxmlformats.org/presentationml/2006/main">
  <p:tag name="PLACEHOLDER" val="3"/>
</p:tagLst>
</file>

<file path=ppt/tags/tag40.xml><?xml version="1.0" encoding="utf-8"?>
<p:tagLst xmlns:a="http://schemas.openxmlformats.org/drawingml/2006/main" xmlns:r="http://schemas.openxmlformats.org/officeDocument/2006/relationships" xmlns:p="http://schemas.openxmlformats.org/presentationml/2006/main">
  <p:tag name="PLACEHOLDER" val="19"/>
</p:tagLst>
</file>

<file path=ppt/tags/tag41.xml><?xml version="1.0" encoding="utf-8"?>
<p:tagLst xmlns:a="http://schemas.openxmlformats.org/drawingml/2006/main" xmlns:r="http://schemas.openxmlformats.org/officeDocument/2006/relationships" xmlns:p="http://schemas.openxmlformats.org/presentationml/2006/main">
  <p:tag name="PLACEHOLDER" val="20"/>
</p:tagLst>
</file>

<file path=ppt/tags/tag42.xml><?xml version="1.0" encoding="utf-8"?>
<p:tagLst xmlns:a="http://schemas.openxmlformats.org/drawingml/2006/main" xmlns:r="http://schemas.openxmlformats.org/officeDocument/2006/relationships" xmlns:p="http://schemas.openxmlformats.org/presentationml/2006/main">
  <p:tag name="PLACEHOLDER" val="1"/>
</p:tagLst>
</file>

<file path=ppt/tags/tag43.xml><?xml version="1.0" encoding="utf-8"?>
<p:tagLst xmlns:a="http://schemas.openxmlformats.org/drawingml/2006/main" xmlns:r="http://schemas.openxmlformats.org/officeDocument/2006/relationships" xmlns:p="http://schemas.openxmlformats.org/presentationml/2006/main">
  <p:tag name="PLACEHOLDER" val="2"/>
</p:tagLst>
</file>

<file path=ppt/tags/tag44.xml><?xml version="1.0" encoding="utf-8"?>
<p:tagLst xmlns:a="http://schemas.openxmlformats.org/drawingml/2006/main" xmlns:r="http://schemas.openxmlformats.org/officeDocument/2006/relationships" xmlns:p="http://schemas.openxmlformats.org/presentationml/2006/main">
  <p:tag name="PLACEHOLDER" val="3"/>
</p:tagLst>
</file>

<file path=ppt/tags/tag45.xml><?xml version="1.0" encoding="utf-8"?>
<p:tagLst xmlns:a="http://schemas.openxmlformats.org/drawingml/2006/main" xmlns:r="http://schemas.openxmlformats.org/officeDocument/2006/relationships" xmlns:p="http://schemas.openxmlformats.org/presentationml/2006/main">
  <p:tag name="PLACEHOLDER" val="4"/>
</p:tagLst>
</file>

<file path=ppt/tags/tag46.xml><?xml version="1.0" encoding="utf-8"?>
<p:tagLst xmlns:a="http://schemas.openxmlformats.org/drawingml/2006/main" xmlns:r="http://schemas.openxmlformats.org/officeDocument/2006/relationships" xmlns:p="http://schemas.openxmlformats.org/presentationml/2006/main">
  <p:tag name="PLACEHOLDER" val="5"/>
</p:tagLst>
</file>

<file path=ppt/tags/tag47.xml><?xml version="1.0" encoding="utf-8"?>
<p:tagLst xmlns:a="http://schemas.openxmlformats.org/drawingml/2006/main" xmlns:r="http://schemas.openxmlformats.org/officeDocument/2006/relationships" xmlns:p="http://schemas.openxmlformats.org/presentationml/2006/main">
  <p:tag name="PLACEHOLDER" val="6"/>
</p:tagLst>
</file>

<file path=ppt/tags/tag48.xml><?xml version="1.0" encoding="utf-8"?>
<p:tagLst xmlns:a="http://schemas.openxmlformats.org/drawingml/2006/main" xmlns:r="http://schemas.openxmlformats.org/officeDocument/2006/relationships" xmlns:p="http://schemas.openxmlformats.org/presentationml/2006/main">
  <p:tag name="PLACEHOLDER" val="7"/>
</p:tagLst>
</file>

<file path=ppt/tags/tag49.xml><?xml version="1.0" encoding="utf-8"?>
<p:tagLst xmlns:a="http://schemas.openxmlformats.org/drawingml/2006/main" xmlns:r="http://schemas.openxmlformats.org/officeDocument/2006/relationships" xmlns:p="http://schemas.openxmlformats.org/presentationml/2006/main">
  <p:tag name="PLACEHOLDER" val="8"/>
</p:tagLst>
</file>

<file path=ppt/tags/tag5.xml><?xml version="1.0" encoding="utf-8"?>
<p:tagLst xmlns:a="http://schemas.openxmlformats.org/drawingml/2006/main" xmlns:r="http://schemas.openxmlformats.org/officeDocument/2006/relationships" xmlns:p="http://schemas.openxmlformats.org/presentationml/2006/main">
  <p:tag name="PLACEHOLDER" val="4"/>
</p:tagLst>
</file>

<file path=ppt/tags/tag50.xml><?xml version="1.0" encoding="utf-8"?>
<p:tagLst xmlns:a="http://schemas.openxmlformats.org/drawingml/2006/main" xmlns:r="http://schemas.openxmlformats.org/officeDocument/2006/relationships" xmlns:p="http://schemas.openxmlformats.org/presentationml/2006/main">
  <p:tag name="PLACEHOLDER" val="9"/>
</p:tagLst>
</file>

<file path=ppt/tags/tag51.xml><?xml version="1.0" encoding="utf-8"?>
<p:tagLst xmlns:a="http://schemas.openxmlformats.org/drawingml/2006/main" xmlns:r="http://schemas.openxmlformats.org/officeDocument/2006/relationships" xmlns:p="http://schemas.openxmlformats.org/presentationml/2006/main">
  <p:tag name="PLACEHOLDER" val="10"/>
</p:tagLst>
</file>

<file path=ppt/tags/tag52.xml><?xml version="1.0" encoding="utf-8"?>
<p:tagLst xmlns:a="http://schemas.openxmlformats.org/drawingml/2006/main" xmlns:r="http://schemas.openxmlformats.org/officeDocument/2006/relationships" xmlns:p="http://schemas.openxmlformats.org/presentationml/2006/main">
  <p:tag name="PLACEHOLDER" val="11"/>
</p:tagLst>
</file>

<file path=ppt/tags/tag53.xml><?xml version="1.0" encoding="utf-8"?>
<p:tagLst xmlns:a="http://schemas.openxmlformats.org/drawingml/2006/main" xmlns:r="http://schemas.openxmlformats.org/officeDocument/2006/relationships" xmlns:p="http://schemas.openxmlformats.org/presentationml/2006/main">
  <p:tag name="PLACEHOLDER" val="12"/>
</p:tagLst>
</file>

<file path=ppt/tags/tag54.xml><?xml version="1.0" encoding="utf-8"?>
<p:tagLst xmlns:a="http://schemas.openxmlformats.org/drawingml/2006/main" xmlns:r="http://schemas.openxmlformats.org/officeDocument/2006/relationships" xmlns:p="http://schemas.openxmlformats.org/presentationml/2006/main">
  <p:tag name="PLACEHOLDER" val="13"/>
</p:tagLst>
</file>

<file path=ppt/tags/tag55.xml><?xml version="1.0" encoding="utf-8"?>
<p:tagLst xmlns:a="http://schemas.openxmlformats.org/drawingml/2006/main" xmlns:r="http://schemas.openxmlformats.org/officeDocument/2006/relationships" xmlns:p="http://schemas.openxmlformats.org/presentationml/2006/main">
  <p:tag name="PLACEHOLDER" val="14"/>
</p:tagLst>
</file>

<file path=ppt/tags/tag56.xml><?xml version="1.0" encoding="utf-8"?>
<p:tagLst xmlns:a="http://schemas.openxmlformats.org/drawingml/2006/main" xmlns:r="http://schemas.openxmlformats.org/officeDocument/2006/relationships" xmlns:p="http://schemas.openxmlformats.org/presentationml/2006/main">
  <p:tag name="PLACEHOLDER" val="15"/>
</p:tagLst>
</file>

<file path=ppt/tags/tag57.xml><?xml version="1.0" encoding="utf-8"?>
<p:tagLst xmlns:a="http://schemas.openxmlformats.org/drawingml/2006/main" xmlns:r="http://schemas.openxmlformats.org/officeDocument/2006/relationships" xmlns:p="http://schemas.openxmlformats.org/presentationml/2006/main">
  <p:tag name="PLACEHOLDER" val="16"/>
</p:tagLst>
</file>

<file path=ppt/tags/tag58.xml><?xml version="1.0" encoding="utf-8"?>
<p:tagLst xmlns:a="http://schemas.openxmlformats.org/drawingml/2006/main" xmlns:r="http://schemas.openxmlformats.org/officeDocument/2006/relationships" xmlns:p="http://schemas.openxmlformats.org/presentationml/2006/main">
  <p:tag name="PLACEHOLDER" val="17"/>
</p:tagLst>
</file>

<file path=ppt/tags/tag59.xml><?xml version="1.0" encoding="utf-8"?>
<p:tagLst xmlns:a="http://schemas.openxmlformats.org/drawingml/2006/main" xmlns:r="http://schemas.openxmlformats.org/officeDocument/2006/relationships" xmlns:p="http://schemas.openxmlformats.org/presentationml/2006/main">
  <p:tag name="PLACEHOLDER" val="18"/>
</p:tagLst>
</file>

<file path=ppt/tags/tag6.xml><?xml version="1.0" encoding="utf-8"?>
<p:tagLst xmlns:a="http://schemas.openxmlformats.org/drawingml/2006/main" xmlns:r="http://schemas.openxmlformats.org/officeDocument/2006/relationships" xmlns:p="http://schemas.openxmlformats.org/presentationml/2006/main">
  <p:tag name="PLACEHOLDER" val="5"/>
</p:tagLst>
</file>

<file path=ppt/tags/tag60.xml><?xml version="1.0" encoding="utf-8"?>
<p:tagLst xmlns:a="http://schemas.openxmlformats.org/drawingml/2006/main" xmlns:r="http://schemas.openxmlformats.org/officeDocument/2006/relationships" xmlns:p="http://schemas.openxmlformats.org/presentationml/2006/main">
  <p:tag name="PLACEHOLDER" val="19"/>
</p:tagLst>
</file>

<file path=ppt/tags/tag61.xml><?xml version="1.0" encoding="utf-8"?>
<p:tagLst xmlns:a="http://schemas.openxmlformats.org/drawingml/2006/main" xmlns:r="http://schemas.openxmlformats.org/officeDocument/2006/relationships" xmlns:p="http://schemas.openxmlformats.org/presentationml/2006/main">
  <p:tag name="PLACEHOLDER" val="20"/>
</p:tagLst>
</file>

<file path=ppt/tags/tag62.xml><?xml version="1.0" encoding="utf-8"?>
<p:tagLst xmlns:a="http://schemas.openxmlformats.org/drawingml/2006/main" xmlns:r="http://schemas.openxmlformats.org/officeDocument/2006/relationships" xmlns:p="http://schemas.openxmlformats.org/presentationml/2006/main">
  <p:tag name="PLACEHOLDER" val="1"/>
</p:tagLst>
</file>

<file path=ppt/tags/tag63.xml><?xml version="1.0" encoding="utf-8"?>
<p:tagLst xmlns:a="http://schemas.openxmlformats.org/drawingml/2006/main" xmlns:r="http://schemas.openxmlformats.org/officeDocument/2006/relationships" xmlns:p="http://schemas.openxmlformats.org/presentationml/2006/main">
  <p:tag name="PLACEHOLDER" val="2"/>
</p:tagLst>
</file>

<file path=ppt/tags/tag64.xml><?xml version="1.0" encoding="utf-8"?>
<p:tagLst xmlns:a="http://schemas.openxmlformats.org/drawingml/2006/main" xmlns:r="http://schemas.openxmlformats.org/officeDocument/2006/relationships" xmlns:p="http://schemas.openxmlformats.org/presentationml/2006/main">
  <p:tag name="PLACEHOLDER" val="3"/>
</p:tagLst>
</file>

<file path=ppt/tags/tag65.xml><?xml version="1.0" encoding="utf-8"?>
<p:tagLst xmlns:a="http://schemas.openxmlformats.org/drawingml/2006/main" xmlns:r="http://schemas.openxmlformats.org/officeDocument/2006/relationships" xmlns:p="http://schemas.openxmlformats.org/presentationml/2006/main">
  <p:tag name="PLACEHOLDER" val="4"/>
</p:tagLst>
</file>

<file path=ppt/tags/tag66.xml><?xml version="1.0" encoding="utf-8"?>
<p:tagLst xmlns:a="http://schemas.openxmlformats.org/drawingml/2006/main" xmlns:r="http://schemas.openxmlformats.org/officeDocument/2006/relationships" xmlns:p="http://schemas.openxmlformats.org/presentationml/2006/main">
  <p:tag name="PLACEHOLDER" val="5"/>
</p:tagLst>
</file>

<file path=ppt/tags/tag67.xml><?xml version="1.0" encoding="utf-8"?>
<p:tagLst xmlns:a="http://schemas.openxmlformats.org/drawingml/2006/main" xmlns:r="http://schemas.openxmlformats.org/officeDocument/2006/relationships" xmlns:p="http://schemas.openxmlformats.org/presentationml/2006/main">
  <p:tag name="PLACEHOLDER" val="6"/>
</p:tagLst>
</file>

<file path=ppt/tags/tag68.xml><?xml version="1.0" encoding="utf-8"?>
<p:tagLst xmlns:a="http://schemas.openxmlformats.org/drawingml/2006/main" xmlns:r="http://schemas.openxmlformats.org/officeDocument/2006/relationships" xmlns:p="http://schemas.openxmlformats.org/presentationml/2006/main">
  <p:tag name="PLACEHOLDER" val="7"/>
</p:tagLst>
</file>

<file path=ppt/tags/tag69.xml><?xml version="1.0" encoding="utf-8"?>
<p:tagLst xmlns:a="http://schemas.openxmlformats.org/drawingml/2006/main" xmlns:r="http://schemas.openxmlformats.org/officeDocument/2006/relationships" xmlns:p="http://schemas.openxmlformats.org/presentationml/2006/main">
  <p:tag name="PLACEHOLDER" val="8"/>
</p:tagLst>
</file>

<file path=ppt/tags/tag7.xml><?xml version="1.0" encoding="utf-8"?>
<p:tagLst xmlns:a="http://schemas.openxmlformats.org/drawingml/2006/main" xmlns:r="http://schemas.openxmlformats.org/officeDocument/2006/relationships" xmlns:p="http://schemas.openxmlformats.org/presentationml/2006/main">
  <p:tag name="PLACEHOLDER" val="6"/>
</p:tagLst>
</file>

<file path=ppt/tags/tag70.xml><?xml version="1.0" encoding="utf-8"?>
<p:tagLst xmlns:a="http://schemas.openxmlformats.org/drawingml/2006/main" xmlns:r="http://schemas.openxmlformats.org/officeDocument/2006/relationships" xmlns:p="http://schemas.openxmlformats.org/presentationml/2006/main">
  <p:tag name="PLACEHOLDER" val="9"/>
</p:tagLst>
</file>

<file path=ppt/tags/tag71.xml><?xml version="1.0" encoding="utf-8"?>
<p:tagLst xmlns:a="http://schemas.openxmlformats.org/drawingml/2006/main" xmlns:r="http://schemas.openxmlformats.org/officeDocument/2006/relationships" xmlns:p="http://schemas.openxmlformats.org/presentationml/2006/main">
  <p:tag name="PLACEHOLDER" val="10"/>
</p:tagLst>
</file>

<file path=ppt/tags/tag72.xml><?xml version="1.0" encoding="utf-8"?>
<p:tagLst xmlns:a="http://schemas.openxmlformats.org/drawingml/2006/main" xmlns:r="http://schemas.openxmlformats.org/officeDocument/2006/relationships" xmlns:p="http://schemas.openxmlformats.org/presentationml/2006/main">
  <p:tag name="PLACEHOLDER" val="11"/>
</p:tagLst>
</file>

<file path=ppt/tags/tag73.xml><?xml version="1.0" encoding="utf-8"?>
<p:tagLst xmlns:a="http://schemas.openxmlformats.org/drawingml/2006/main" xmlns:r="http://schemas.openxmlformats.org/officeDocument/2006/relationships" xmlns:p="http://schemas.openxmlformats.org/presentationml/2006/main">
  <p:tag name="PLACEHOLDER" val="12"/>
</p:tagLst>
</file>

<file path=ppt/tags/tag74.xml><?xml version="1.0" encoding="utf-8"?>
<p:tagLst xmlns:a="http://schemas.openxmlformats.org/drawingml/2006/main" xmlns:r="http://schemas.openxmlformats.org/officeDocument/2006/relationships" xmlns:p="http://schemas.openxmlformats.org/presentationml/2006/main">
  <p:tag name="PLACEHOLDER" val="13"/>
</p:tagLst>
</file>

<file path=ppt/tags/tag75.xml><?xml version="1.0" encoding="utf-8"?>
<p:tagLst xmlns:a="http://schemas.openxmlformats.org/drawingml/2006/main" xmlns:r="http://schemas.openxmlformats.org/officeDocument/2006/relationships" xmlns:p="http://schemas.openxmlformats.org/presentationml/2006/main">
  <p:tag name="PLACEHOLDER" val="14"/>
</p:tagLst>
</file>

<file path=ppt/tags/tag76.xml><?xml version="1.0" encoding="utf-8"?>
<p:tagLst xmlns:a="http://schemas.openxmlformats.org/drawingml/2006/main" xmlns:r="http://schemas.openxmlformats.org/officeDocument/2006/relationships" xmlns:p="http://schemas.openxmlformats.org/presentationml/2006/main">
  <p:tag name="PLACEHOLDER" val="15"/>
</p:tagLst>
</file>

<file path=ppt/tags/tag77.xml><?xml version="1.0" encoding="utf-8"?>
<p:tagLst xmlns:a="http://schemas.openxmlformats.org/drawingml/2006/main" xmlns:r="http://schemas.openxmlformats.org/officeDocument/2006/relationships" xmlns:p="http://schemas.openxmlformats.org/presentationml/2006/main">
  <p:tag name="PLACEHOLDER" val="16"/>
</p:tagLst>
</file>

<file path=ppt/tags/tag78.xml><?xml version="1.0" encoding="utf-8"?>
<p:tagLst xmlns:a="http://schemas.openxmlformats.org/drawingml/2006/main" xmlns:r="http://schemas.openxmlformats.org/officeDocument/2006/relationships" xmlns:p="http://schemas.openxmlformats.org/presentationml/2006/main">
  <p:tag name="PLACEHOLDER" val="17"/>
</p:tagLst>
</file>

<file path=ppt/tags/tag79.xml><?xml version="1.0" encoding="utf-8"?>
<p:tagLst xmlns:a="http://schemas.openxmlformats.org/drawingml/2006/main" xmlns:r="http://schemas.openxmlformats.org/officeDocument/2006/relationships" xmlns:p="http://schemas.openxmlformats.org/presentationml/2006/main">
  <p:tag name="PLACEHOLDER" val="18"/>
</p:tagLst>
</file>

<file path=ppt/tags/tag8.xml><?xml version="1.0" encoding="utf-8"?>
<p:tagLst xmlns:a="http://schemas.openxmlformats.org/drawingml/2006/main" xmlns:r="http://schemas.openxmlformats.org/officeDocument/2006/relationships" xmlns:p="http://schemas.openxmlformats.org/presentationml/2006/main">
  <p:tag name="PLACEHOLDER" val="7"/>
</p:tagLst>
</file>

<file path=ppt/tags/tag80.xml><?xml version="1.0" encoding="utf-8"?>
<p:tagLst xmlns:a="http://schemas.openxmlformats.org/drawingml/2006/main" xmlns:r="http://schemas.openxmlformats.org/officeDocument/2006/relationships" xmlns:p="http://schemas.openxmlformats.org/presentationml/2006/main">
  <p:tag name="PLACEHOLDER" val="19"/>
</p:tagLst>
</file>

<file path=ppt/tags/tag81.xml><?xml version="1.0" encoding="utf-8"?>
<p:tagLst xmlns:a="http://schemas.openxmlformats.org/drawingml/2006/main" xmlns:r="http://schemas.openxmlformats.org/officeDocument/2006/relationships" xmlns:p="http://schemas.openxmlformats.org/presentationml/2006/main">
  <p:tag name="PLACEHOLDER" val="20"/>
</p:tagLst>
</file>

<file path=ppt/tags/tag82.xml><?xml version="1.0" encoding="utf-8"?>
<p:tagLst xmlns:a="http://schemas.openxmlformats.org/drawingml/2006/main" xmlns:r="http://schemas.openxmlformats.org/officeDocument/2006/relationships" xmlns:p="http://schemas.openxmlformats.org/presentationml/2006/main">
  <p:tag name="PLACEHOLDER" val="1"/>
</p:tagLst>
</file>

<file path=ppt/tags/tag83.xml><?xml version="1.0" encoding="utf-8"?>
<p:tagLst xmlns:a="http://schemas.openxmlformats.org/drawingml/2006/main" xmlns:r="http://schemas.openxmlformats.org/officeDocument/2006/relationships" xmlns:p="http://schemas.openxmlformats.org/presentationml/2006/main">
  <p:tag name="PLACEHOLDER" val="2"/>
</p:tagLst>
</file>

<file path=ppt/tags/tag84.xml><?xml version="1.0" encoding="utf-8"?>
<p:tagLst xmlns:a="http://schemas.openxmlformats.org/drawingml/2006/main" xmlns:r="http://schemas.openxmlformats.org/officeDocument/2006/relationships" xmlns:p="http://schemas.openxmlformats.org/presentationml/2006/main">
  <p:tag name="PLACEHOLDER" val="3"/>
</p:tagLst>
</file>

<file path=ppt/tags/tag85.xml><?xml version="1.0" encoding="utf-8"?>
<p:tagLst xmlns:a="http://schemas.openxmlformats.org/drawingml/2006/main" xmlns:r="http://schemas.openxmlformats.org/officeDocument/2006/relationships" xmlns:p="http://schemas.openxmlformats.org/presentationml/2006/main">
  <p:tag name="PLACEHOLDER" val="4"/>
</p:tagLst>
</file>

<file path=ppt/tags/tag86.xml><?xml version="1.0" encoding="utf-8"?>
<p:tagLst xmlns:a="http://schemas.openxmlformats.org/drawingml/2006/main" xmlns:r="http://schemas.openxmlformats.org/officeDocument/2006/relationships" xmlns:p="http://schemas.openxmlformats.org/presentationml/2006/main">
  <p:tag name="PLACEHOLDER" val="5"/>
</p:tagLst>
</file>

<file path=ppt/tags/tag87.xml><?xml version="1.0" encoding="utf-8"?>
<p:tagLst xmlns:a="http://schemas.openxmlformats.org/drawingml/2006/main" xmlns:r="http://schemas.openxmlformats.org/officeDocument/2006/relationships" xmlns:p="http://schemas.openxmlformats.org/presentationml/2006/main">
  <p:tag name="PLACEHOLDER" val="6"/>
</p:tagLst>
</file>

<file path=ppt/tags/tag88.xml><?xml version="1.0" encoding="utf-8"?>
<p:tagLst xmlns:a="http://schemas.openxmlformats.org/drawingml/2006/main" xmlns:r="http://schemas.openxmlformats.org/officeDocument/2006/relationships" xmlns:p="http://schemas.openxmlformats.org/presentationml/2006/main">
  <p:tag name="PLACEHOLDER" val="7"/>
</p:tagLst>
</file>

<file path=ppt/tags/tag89.xml><?xml version="1.0" encoding="utf-8"?>
<p:tagLst xmlns:a="http://schemas.openxmlformats.org/drawingml/2006/main" xmlns:r="http://schemas.openxmlformats.org/officeDocument/2006/relationships" xmlns:p="http://schemas.openxmlformats.org/presentationml/2006/main">
  <p:tag name="PLACEHOLDER" val="8"/>
</p:tagLst>
</file>

<file path=ppt/tags/tag9.xml><?xml version="1.0" encoding="utf-8"?>
<p:tagLst xmlns:a="http://schemas.openxmlformats.org/drawingml/2006/main" xmlns:r="http://schemas.openxmlformats.org/officeDocument/2006/relationships" xmlns:p="http://schemas.openxmlformats.org/presentationml/2006/main">
  <p:tag name="PLACEHOLDER" val="8"/>
</p:tagLst>
</file>

<file path=ppt/tags/tag90.xml><?xml version="1.0" encoding="utf-8"?>
<p:tagLst xmlns:a="http://schemas.openxmlformats.org/drawingml/2006/main" xmlns:r="http://schemas.openxmlformats.org/officeDocument/2006/relationships" xmlns:p="http://schemas.openxmlformats.org/presentationml/2006/main">
  <p:tag name="PLACEHOLDER" val="9"/>
</p:tagLst>
</file>

<file path=ppt/tags/tag91.xml><?xml version="1.0" encoding="utf-8"?>
<p:tagLst xmlns:a="http://schemas.openxmlformats.org/drawingml/2006/main" xmlns:r="http://schemas.openxmlformats.org/officeDocument/2006/relationships" xmlns:p="http://schemas.openxmlformats.org/presentationml/2006/main">
  <p:tag name="PLACEHOLDER" val="10"/>
</p:tagLst>
</file>

<file path=ppt/tags/tag92.xml><?xml version="1.0" encoding="utf-8"?>
<p:tagLst xmlns:a="http://schemas.openxmlformats.org/drawingml/2006/main" xmlns:r="http://schemas.openxmlformats.org/officeDocument/2006/relationships" xmlns:p="http://schemas.openxmlformats.org/presentationml/2006/main">
  <p:tag name="PLACEHOLDER" val="11"/>
</p:tagLst>
</file>

<file path=ppt/tags/tag93.xml><?xml version="1.0" encoding="utf-8"?>
<p:tagLst xmlns:a="http://schemas.openxmlformats.org/drawingml/2006/main" xmlns:r="http://schemas.openxmlformats.org/officeDocument/2006/relationships" xmlns:p="http://schemas.openxmlformats.org/presentationml/2006/main">
  <p:tag name="PLACEHOLDER" val="12"/>
</p:tagLst>
</file>

<file path=ppt/tags/tag94.xml><?xml version="1.0" encoding="utf-8"?>
<p:tagLst xmlns:a="http://schemas.openxmlformats.org/drawingml/2006/main" xmlns:r="http://schemas.openxmlformats.org/officeDocument/2006/relationships" xmlns:p="http://schemas.openxmlformats.org/presentationml/2006/main">
  <p:tag name="PLACEHOLDER" val="13"/>
</p:tagLst>
</file>

<file path=ppt/tags/tag95.xml><?xml version="1.0" encoding="utf-8"?>
<p:tagLst xmlns:a="http://schemas.openxmlformats.org/drawingml/2006/main" xmlns:r="http://schemas.openxmlformats.org/officeDocument/2006/relationships" xmlns:p="http://schemas.openxmlformats.org/presentationml/2006/main">
  <p:tag name="PLACEHOLDER" val="14"/>
</p:tagLst>
</file>

<file path=ppt/tags/tag96.xml><?xml version="1.0" encoding="utf-8"?>
<p:tagLst xmlns:a="http://schemas.openxmlformats.org/drawingml/2006/main" xmlns:r="http://schemas.openxmlformats.org/officeDocument/2006/relationships" xmlns:p="http://schemas.openxmlformats.org/presentationml/2006/main">
  <p:tag name="PLACEHOLDER" val="15"/>
</p:tagLst>
</file>

<file path=ppt/tags/tag97.xml><?xml version="1.0" encoding="utf-8"?>
<p:tagLst xmlns:a="http://schemas.openxmlformats.org/drawingml/2006/main" xmlns:r="http://schemas.openxmlformats.org/officeDocument/2006/relationships" xmlns:p="http://schemas.openxmlformats.org/presentationml/2006/main">
  <p:tag name="PLACEHOLDER" val="16"/>
</p:tagLst>
</file>

<file path=ppt/tags/tag98.xml><?xml version="1.0" encoding="utf-8"?>
<p:tagLst xmlns:a="http://schemas.openxmlformats.org/drawingml/2006/main" xmlns:r="http://schemas.openxmlformats.org/officeDocument/2006/relationships" xmlns:p="http://schemas.openxmlformats.org/presentationml/2006/main">
  <p:tag name="PLACEHOLDER" val="17"/>
</p:tagLst>
</file>

<file path=ppt/tags/tag99.xml><?xml version="1.0" encoding="utf-8"?>
<p:tagLst xmlns:a="http://schemas.openxmlformats.org/drawingml/2006/main" xmlns:r="http://schemas.openxmlformats.org/officeDocument/2006/relationships" xmlns:p="http://schemas.openxmlformats.org/presentationml/2006/main">
  <p:tag name="PLACEHOLDER" val="18"/>
</p:tagLst>
</file>

<file path=ppt/theme/theme1.xml><?xml version="1.0" encoding="utf-8"?>
<a:theme xmlns:a="http://schemas.openxmlformats.org/drawingml/2006/main" name="Template Printbook">
  <a:themeElements>
    <a:clrScheme name="RSM 2024">
      <a:dk1>
        <a:srgbClr val="63666A"/>
      </a:dk1>
      <a:lt1>
        <a:srgbClr val="FFFFFF"/>
      </a:lt1>
      <a:dk2>
        <a:srgbClr val="00153D"/>
      </a:dk2>
      <a:lt2>
        <a:srgbClr val="CCCFCF"/>
      </a:lt2>
      <a:accent1>
        <a:srgbClr val="009CDE"/>
      </a:accent1>
      <a:accent2>
        <a:srgbClr val="3F9C35"/>
      </a:accent2>
      <a:accent3>
        <a:srgbClr val="888B8D"/>
      </a:accent3>
      <a:accent4>
        <a:srgbClr val="63666A"/>
      </a:accent4>
      <a:accent5>
        <a:srgbClr val="CCCFCF"/>
      </a:accent5>
      <a:accent6>
        <a:srgbClr val="00153D"/>
      </a:accent6>
      <a:hlink>
        <a:srgbClr val="33AFE4"/>
      </a:hlink>
      <a:folHlink>
        <a:srgbClr val="66C3EB"/>
      </a:folHlink>
    </a:clrScheme>
    <a:fontScheme name="RSM">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RSM 2024">
        <a:dk1>
          <a:srgbClr val="63666A"/>
        </a:dk1>
        <a:lt1>
          <a:srgbClr val="FFFFFF"/>
        </a:lt1>
        <a:dk2>
          <a:srgbClr val="00153D"/>
        </a:dk2>
        <a:lt2>
          <a:srgbClr val="CCCFCF"/>
        </a:lt2>
        <a:accent1>
          <a:srgbClr val="009CDE"/>
        </a:accent1>
        <a:accent2>
          <a:srgbClr val="3F9C35"/>
        </a:accent2>
        <a:accent3>
          <a:srgbClr val="888B8D"/>
        </a:accent3>
        <a:accent4>
          <a:srgbClr val="63666A"/>
        </a:accent4>
        <a:accent5>
          <a:srgbClr val="CCCFCF"/>
        </a:accent5>
        <a:accent6>
          <a:srgbClr val="00153D"/>
        </a:accent6>
        <a:hlink>
          <a:srgbClr val="33AFE4"/>
        </a:hlink>
        <a:folHlink>
          <a:srgbClr val="66C3EB"/>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 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RSM Blue 60%">
      <a:srgbClr val="66C3EB"/>
    </a:custClr>
    <a:custClr name="RSM Green 60%">
      <a:srgbClr val="8BC385"/>
    </a:custClr>
    <a:custClr name="RSM Mid Grey 60%">
      <a:srgbClr val="B7B9BA"/>
    </a:custClr>
    <a:custClr name="RSM 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RSM Blue 20%">
      <a:srgbClr val="CCEBF8"/>
    </a:custClr>
    <a:custClr name="RSM Green 20%">
      <a:srgbClr val="D8EBD6"/>
    </a:custClr>
    <a:custClr name="RSM Mid Grey 20%">
      <a:srgbClr val="E7E7E8"/>
    </a:custClr>
    <a:custClr name="RSM 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 name="Midnight Blue">
      <a:srgbClr val="00153D"/>
    </a:custClr>
    <a:custClr name="White">
      <a:srgbClr val="FFFFFF"/>
    </a:custClr>
    <a:custClr name="Light grey">
      <a:srgbClr val="CCCFCF"/>
    </a:custClr>
    <a:custClr name="80% Black">
      <a:srgbClr val="333333"/>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Widescreen_Main.potx" id="{1B3C0731-2F10-4391-B81D-BCC46D94D937}" vid="{E90DE13B-38DB-48B3-BC06-A4043A6E6F70}"/>
    </a:ext>
  </a:extLst>
</a:theme>
</file>

<file path=ppt/theme/theme2.xml><?xml version="1.0" encoding="utf-8"?>
<a:theme xmlns:a="http://schemas.openxmlformats.org/drawingml/2006/main" name="1_Template Printbook">
  <a:themeElements>
    <a:clrScheme name="Rebrand 1">
      <a:dk1>
        <a:srgbClr val="141439"/>
      </a:dk1>
      <a:lt1>
        <a:srgbClr val="FFFFFF"/>
      </a:lt1>
      <a:dk2>
        <a:srgbClr val="3F9C35"/>
      </a:dk2>
      <a:lt2>
        <a:srgbClr val="888B8D"/>
      </a:lt2>
      <a:accent1>
        <a:srgbClr val="009CDE"/>
      </a:accent1>
      <a:accent2>
        <a:srgbClr val="3F9C35"/>
      </a:accent2>
      <a:accent3>
        <a:srgbClr val="888B8D"/>
      </a:accent3>
      <a:accent4>
        <a:srgbClr val="63666A"/>
      </a:accent4>
      <a:accent5>
        <a:srgbClr val="CCCFCF"/>
      </a:accent5>
      <a:accent6>
        <a:srgbClr val="141439"/>
      </a:accent6>
      <a:hlink>
        <a:srgbClr val="009CDE"/>
      </a:hlink>
      <a:folHlink>
        <a:srgbClr val="3F9C35"/>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9525">
          <a:solidFill>
            <a:schemeClr val="accent1"/>
          </a:solidFill>
        </a:ln>
      </a:spPr>
      <a:bodyPr lIns="56346" tIns="56346" rIns="56346" bIns="56346" rtlCol="0" anchor="ctr">
        <a:noAutofit/>
      </a:bodyP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a:defPPr>
      </a:lstStyle>
    </a:txDef>
  </a:objectDefaults>
  <a:extraClrSchemeLst>
    <a:extraClrScheme>
      <a:clrScheme name="RSM from template">
        <a:dk1>
          <a:srgbClr val="63666A"/>
        </a:dk1>
        <a:lt1>
          <a:srgbClr val="FFFFFF"/>
        </a:lt1>
        <a:dk2>
          <a:srgbClr val="3F9C35"/>
        </a:dk2>
        <a:lt2>
          <a:srgbClr val="888B8D"/>
        </a:lt2>
        <a:accent1>
          <a:srgbClr val="009CDE"/>
        </a:accent1>
        <a:accent2>
          <a:srgbClr val="3F9C35"/>
        </a:accent2>
        <a:accent3>
          <a:srgbClr val="888B8D"/>
        </a:accent3>
        <a:accent4>
          <a:srgbClr val="63666A"/>
        </a:accent4>
        <a:accent5>
          <a:srgbClr val="34A798"/>
        </a:accent5>
        <a:accent6>
          <a:srgbClr val="9F5CC0"/>
        </a:accent6>
        <a:hlink>
          <a:srgbClr val="66C3EB"/>
        </a:hlink>
        <a:folHlink>
          <a:srgbClr val="98D7F1"/>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Blue 60%">
      <a:srgbClr val="66C3EB"/>
    </a:custClr>
    <a:custClr name="Green 60%">
      <a:srgbClr val="8BC385"/>
    </a:custClr>
    <a:custClr name="Mid-Grey 60%">
      <a:srgbClr val="B7B9BA"/>
    </a:custClr>
    <a:custClr name="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Blue 40%">
      <a:srgbClr val="98D7F1"/>
    </a:custClr>
    <a:custClr name="Green 40%">
      <a:srgbClr val="B2D7AE"/>
    </a:custClr>
    <a:custClr name="Mid Grey 40%">
      <a:srgbClr val="CFD0D1"/>
    </a:custClr>
    <a:custClr name="Dark Grey 40%">
      <a:srgbClr val="C0C1C3"/>
    </a:custClr>
    <a:custClr name="Teal 40%">
      <a:srgbClr val="ADDBD5"/>
    </a:custClr>
    <a:custClr name="Purple 40%">
      <a:srgbClr val="D8BDE5"/>
    </a:custClr>
    <a:custClr name="Yellow 40%">
      <a:srgbClr val="F9E0AD"/>
    </a:custClr>
    <a:custClr name="Red 40%">
      <a:srgbClr val="F498B4"/>
    </a:custClr>
    <a:custClr name="Olive 40%">
      <a:srgbClr val="D9DAC2"/>
    </a:custClr>
    <a:custClr name="Orange 40%">
      <a:srgbClr val="F5C8A6"/>
    </a:custClr>
    <a:custClr name="Blue 20%">
      <a:srgbClr val="CCEBF8"/>
    </a:custClr>
    <a:custClr name="Green 20%">
      <a:srgbClr val="D8EBD6"/>
    </a:custClr>
    <a:custClr name="Mid Grey 20%">
      <a:srgbClr val="E7E7E8"/>
    </a:custClr>
    <a:custClr name="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Lst>
  <a:extLst>
    <a:ext uri="{05A4C25C-085E-4340-85A3-A5531E510DB2}">
      <thm15:themeFamily xmlns:thm15="http://schemas.microsoft.com/office/thememl/2012/main" name="Presentation - RSM US - template.potx" id="{105F037C-FEB4-4F60-BABA-B468D68BEC1C}" vid="{41B9AF61-62DC-49F3-A2BF-31134E24BDD3}"/>
    </a:ext>
  </a:extLst>
</a:theme>
</file>

<file path=ppt/theme/theme3.xml><?xml version="1.0" encoding="utf-8"?>
<a:theme xmlns:a="http://schemas.openxmlformats.org/drawingml/2006/main" name="2_Template Printbook">
  <a:themeElements>
    <a:clrScheme name="Rebrand 1">
      <a:dk1>
        <a:srgbClr val="141439"/>
      </a:dk1>
      <a:lt1>
        <a:srgbClr val="FFFFFF"/>
      </a:lt1>
      <a:dk2>
        <a:srgbClr val="3F9C35"/>
      </a:dk2>
      <a:lt2>
        <a:srgbClr val="888B8D"/>
      </a:lt2>
      <a:accent1>
        <a:srgbClr val="009CDE"/>
      </a:accent1>
      <a:accent2>
        <a:srgbClr val="3F9C35"/>
      </a:accent2>
      <a:accent3>
        <a:srgbClr val="888B8D"/>
      </a:accent3>
      <a:accent4>
        <a:srgbClr val="63666A"/>
      </a:accent4>
      <a:accent5>
        <a:srgbClr val="CCCFCF"/>
      </a:accent5>
      <a:accent6>
        <a:srgbClr val="141439"/>
      </a:accent6>
      <a:hlink>
        <a:srgbClr val="009CDE"/>
      </a:hlink>
      <a:folHlink>
        <a:srgbClr val="3F9C35"/>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9525">
          <a:solidFill>
            <a:schemeClr val="accent1"/>
          </a:solidFill>
        </a:ln>
      </a:spPr>
      <a:bodyPr lIns="56346" tIns="56346" rIns="56346" bIns="56346" rtlCol="0" anchor="ctr">
        <a:noAutofit/>
      </a:bodyP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a:defPPr>
      </a:lstStyle>
    </a:txDef>
  </a:objectDefaults>
  <a:extraClrSchemeLst>
    <a:extraClrScheme>
      <a:clrScheme name="RSM from template">
        <a:dk1>
          <a:srgbClr val="63666A"/>
        </a:dk1>
        <a:lt1>
          <a:srgbClr val="FFFFFF"/>
        </a:lt1>
        <a:dk2>
          <a:srgbClr val="3F9C35"/>
        </a:dk2>
        <a:lt2>
          <a:srgbClr val="888B8D"/>
        </a:lt2>
        <a:accent1>
          <a:srgbClr val="009CDE"/>
        </a:accent1>
        <a:accent2>
          <a:srgbClr val="3F9C35"/>
        </a:accent2>
        <a:accent3>
          <a:srgbClr val="888B8D"/>
        </a:accent3>
        <a:accent4>
          <a:srgbClr val="63666A"/>
        </a:accent4>
        <a:accent5>
          <a:srgbClr val="34A798"/>
        </a:accent5>
        <a:accent6>
          <a:srgbClr val="9F5CC0"/>
        </a:accent6>
        <a:hlink>
          <a:srgbClr val="66C3EB"/>
        </a:hlink>
        <a:folHlink>
          <a:srgbClr val="98D7F1"/>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Blue 60%">
      <a:srgbClr val="66C3EB"/>
    </a:custClr>
    <a:custClr name="Green 60%">
      <a:srgbClr val="8BC385"/>
    </a:custClr>
    <a:custClr name="Mid-Grey 60%">
      <a:srgbClr val="B7B9BA"/>
    </a:custClr>
    <a:custClr name="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Blue 40%">
      <a:srgbClr val="98D7F1"/>
    </a:custClr>
    <a:custClr name="Green 40%">
      <a:srgbClr val="B2D7AE"/>
    </a:custClr>
    <a:custClr name="Mid Grey 40%">
      <a:srgbClr val="CFD0D1"/>
    </a:custClr>
    <a:custClr name="Dark Grey 40%">
      <a:srgbClr val="C0C1C3"/>
    </a:custClr>
    <a:custClr name="Teal 40%">
      <a:srgbClr val="ADDBD5"/>
    </a:custClr>
    <a:custClr name="Purple 40%">
      <a:srgbClr val="D8BDE5"/>
    </a:custClr>
    <a:custClr name="Yellow 40%">
      <a:srgbClr val="F9E0AD"/>
    </a:custClr>
    <a:custClr name="Red 40%">
      <a:srgbClr val="F498B4"/>
    </a:custClr>
    <a:custClr name="Olive 40%">
      <a:srgbClr val="D9DAC2"/>
    </a:custClr>
    <a:custClr name="Orange 40%">
      <a:srgbClr val="F5C8A6"/>
    </a:custClr>
    <a:custClr name="Blue 20%">
      <a:srgbClr val="CCEBF8"/>
    </a:custClr>
    <a:custClr name="Green 20%">
      <a:srgbClr val="D8EBD6"/>
    </a:custClr>
    <a:custClr name="Mid Grey 20%">
      <a:srgbClr val="E7E7E8"/>
    </a:custClr>
    <a:custClr name="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Lst>
  <a:extLst>
    <a:ext uri="{05A4C25C-085E-4340-85A3-A5531E510DB2}">
      <thm15:themeFamily xmlns:thm15="http://schemas.microsoft.com/office/thememl/2012/main" name="Widescreen blue_Main.potx" id="{21101615-1E7C-4FE3-9AC6-B029A14B1571}" vid="{9E60D072-1B06-4620-91D1-7C1AD322A704}"/>
    </a:ext>
  </a:extLst>
</a:theme>
</file>

<file path=ppt/theme/theme4.xml><?xml version="1.0" encoding="utf-8"?>
<a:theme xmlns:a="http://schemas.openxmlformats.org/drawingml/2006/main" name="4_Template Printbook">
  <a:themeElements>
    <a:clrScheme name="RSM 2024">
      <a:dk1>
        <a:srgbClr val="63666A"/>
      </a:dk1>
      <a:lt1>
        <a:srgbClr val="FFFFFF"/>
      </a:lt1>
      <a:dk2>
        <a:srgbClr val="00153D"/>
      </a:dk2>
      <a:lt2>
        <a:srgbClr val="CCCFCF"/>
      </a:lt2>
      <a:accent1>
        <a:srgbClr val="009CDE"/>
      </a:accent1>
      <a:accent2>
        <a:srgbClr val="3F9C35"/>
      </a:accent2>
      <a:accent3>
        <a:srgbClr val="888B8D"/>
      </a:accent3>
      <a:accent4>
        <a:srgbClr val="63666A"/>
      </a:accent4>
      <a:accent5>
        <a:srgbClr val="CCCFCF"/>
      </a:accent5>
      <a:accent6>
        <a:srgbClr val="00153D"/>
      </a:accent6>
      <a:hlink>
        <a:srgbClr val="33AFE4"/>
      </a:hlink>
      <a:folHlink>
        <a:srgbClr val="66C3EB"/>
      </a:folHlink>
    </a:clrScheme>
    <a:fontScheme name="RSM">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RSM 2024">
        <a:dk1>
          <a:srgbClr val="63666A"/>
        </a:dk1>
        <a:lt1>
          <a:srgbClr val="FFFFFF"/>
        </a:lt1>
        <a:dk2>
          <a:srgbClr val="00153D"/>
        </a:dk2>
        <a:lt2>
          <a:srgbClr val="CCCFCF"/>
        </a:lt2>
        <a:accent1>
          <a:srgbClr val="009CDE"/>
        </a:accent1>
        <a:accent2>
          <a:srgbClr val="3F9C35"/>
        </a:accent2>
        <a:accent3>
          <a:srgbClr val="888B8D"/>
        </a:accent3>
        <a:accent4>
          <a:srgbClr val="63666A"/>
        </a:accent4>
        <a:accent5>
          <a:srgbClr val="CCCFCF"/>
        </a:accent5>
        <a:accent6>
          <a:srgbClr val="00153D"/>
        </a:accent6>
        <a:hlink>
          <a:srgbClr val="33AFE4"/>
        </a:hlink>
        <a:folHlink>
          <a:srgbClr val="66C3EB"/>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 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RSM Blue 60%">
      <a:srgbClr val="66C3EB"/>
    </a:custClr>
    <a:custClr name="RSM Green 60%">
      <a:srgbClr val="8BC385"/>
    </a:custClr>
    <a:custClr name="RSM Mid Grey 60%">
      <a:srgbClr val="B7B9BA"/>
    </a:custClr>
    <a:custClr name="RSM 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RSM Blue 20%">
      <a:srgbClr val="CCEBF8"/>
    </a:custClr>
    <a:custClr name="RSM Green 20%">
      <a:srgbClr val="D8EBD6"/>
    </a:custClr>
    <a:custClr name="RSM Mid Grey 20%">
      <a:srgbClr val="E7E7E8"/>
    </a:custClr>
    <a:custClr name="RSM 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 name="Midnight Blue">
      <a:srgbClr val="00153D"/>
    </a:custClr>
    <a:custClr name="White">
      <a:srgbClr val="FFFFFF"/>
    </a:custClr>
    <a:custClr name="Light grey">
      <a:srgbClr val="CCCFCF"/>
    </a:custClr>
    <a:custClr name="80% Black">
      <a:srgbClr val="333333"/>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Widescreen_Main.potx" id="{1B3C0731-2F10-4391-B81D-BCC46D94D937}" vid="{E90DE13B-38DB-48B3-BC06-A4043A6E6F7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 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RSM Blue 60%">
      <a:srgbClr val="66C3EB"/>
    </a:custClr>
    <a:custClr name="RSM Green 60%">
      <a:srgbClr val="8BC385"/>
    </a:custClr>
    <a:custClr name="RSM Mid Grey 60%">
      <a:srgbClr val="B7B9BA"/>
    </a:custClr>
    <a:custClr name="RSM 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RSM Blue 20%">
      <a:srgbClr val="CCEBF8"/>
    </a:custClr>
    <a:custClr name="RSM Green 20%">
      <a:srgbClr val="D8EBD6"/>
    </a:custClr>
    <a:custClr name="RSM Mid Grey 20%">
      <a:srgbClr val="E7E7E8"/>
    </a:custClr>
    <a:custClr name="RSM 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 name="Midnight Blue">
      <a:srgbClr val="00153D"/>
    </a:custClr>
    <a:custClr name="White">
      <a:srgbClr val="FFFFFF"/>
    </a:custClr>
    <a:custClr name="Light grey">
      <a:srgbClr val="CCCFCF"/>
    </a:custClr>
    <a:custClr name="80% Black">
      <a:srgbClr val="333333"/>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customXsn xmlns="http://schemas.microsoft.com/office/2006/metadata/customXsn">
  <xsnLocation/>
  <cached>True</cached>
  <openByDefault>False</openByDefault>
  <xsnScope/>
</customXsn>
</file>

<file path=customXml/item2.xml><?xml version="1.0" encoding="utf-8"?>
<ct:contentTypeSchema xmlns:ct="http://schemas.microsoft.com/office/2006/metadata/contentType" xmlns:ma="http://schemas.microsoft.com/office/2006/metadata/properties/metaAttributes" ct:_="" ma:_="" ma:contentTypeName="Document" ma:contentTypeID="0x010100F95178AEB733DD44B60FBA5C4FA354B4" ma:contentTypeVersion="11" ma:contentTypeDescription="Create a new document." ma:contentTypeScope="" ma:versionID="da89edf09159865c352e681d941277d6">
  <xsd:schema xmlns:xsd="http://www.w3.org/2001/XMLSchema" xmlns:xs="http://www.w3.org/2001/XMLSchema" xmlns:p="http://schemas.microsoft.com/office/2006/metadata/properties" xmlns:ns2="aa592399-3eb9-4f08-89c6-de062ca29586" xmlns:ns3="4f416c11-336e-4501-be9d-05d48a5a3a7a" targetNamespace="http://schemas.microsoft.com/office/2006/metadata/properties" ma:root="true" ma:fieldsID="92407635405acf59e0e2988073dde1ad" ns2:_="" ns3:_="">
    <xsd:import namespace="aa592399-3eb9-4f08-89c6-de062ca29586"/>
    <xsd:import namespace="4f416c11-336e-4501-be9d-05d48a5a3a7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592399-3eb9-4f08-89c6-de062ca295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23509f2-f580-4555-85b3-7fe791ef4405"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f416c11-336e-4501-be9d-05d48a5a3a7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bc3cee0-230a-4db1-ac32-a84b09eece40}" ma:internalName="TaxCatchAll" ma:showField="CatchAllData" ma:web="4f416c11-336e-4501-be9d-05d48a5a3a7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f416c11-336e-4501-be9d-05d48a5a3a7a" xsi:nil="true"/>
    <lcf76f155ced4ddcb4097134ff3c332f xmlns="aa592399-3eb9-4f08-89c6-de062ca29586">
      <Terms xmlns="http://schemas.microsoft.com/office/infopath/2007/PartnerControls"/>
    </lcf76f155ced4ddcb4097134ff3c332f>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78DD632-4354-4E25-9A3E-E2C7A1F9932F}">
  <ds:schemaRefs>
    <ds:schemaRef ds:uri="http://schemas.microsoft.com/office/2006/metadata/customXsn"/>
  </ds:schemaRefs>
</ds:datastoreItem>
</file>

<file path=customXml/itemProps2.xml><?xml version="1.0" encoding="utf-8"?>
<ds:datastoreItem xmlns:ds="http://schemas.openxmlformats.org/officeDocument/2006/customXml" ds:itemID="{7C67FF70-55B7-4BF0-987B-5DA24F2C26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592399-3eb9-4f08-89c6-de062ca29586"/>
    <ds:schemaRef ds:uri="4f416c11-336e-4501-be9d-05d48a5a3a7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9779E12-FE3B-4551-B707-EFF798130CC3}">
  <ds:schemaRefs>
    <ds:schemaRef ds:uri="http://schemas.microsoft.com/office/infopath/2007/PartnerControls"/>
    <ds:schemaRef ds:uri="http://purl.org/dc/elements/1.1/"/>
    <ds:schemaRef ds:uri="http://purl.org/dc/dcmitype/"/>
    <ds:schemaRef ds:uri="http://schemas.microsoft.com/office/2006/metadata/properties"/>
    <ds:schemaRef ds:uri="http://purl.org/dc/terms/"/>
    <ds:schemaRef ds:uri="http://schemas.microsoft.com/office/2006/documentManagement/types"/>
    <ds:schemaRef ds:uri="http://www.w3.org/XML/1998/namespace"/>
    <ds:schemaRef ds:uri="http://schemas.openxmlformats.org/package/2006/metadata/core-properties"/>
    <ds:schemaRef ds:uri="4f416c11-336e-4501-be9d-05d48a5a3a7a"/>
    <ds:schemaRef ds:uri="aa592399-3eb9-4f08-89c6-de062ca29586"/>
  </ds:schemaRefs>
</ds:datastoreItem>
</file>

<file path=customXml/itemProps4.xml><?xml version="1.0" encoding="utf-8"?>
<ds:datastoreItem xmlns:ds="http://schemas.openxmlformats.org/officeDocument/2006/customXml" ds:itemID="{888AA039-15CA-43BF-9B41-05D5293F179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mpDF1E</Template>
  <TotalTime>298</TotalTime>
  <Words>4089</Words>
  <Application>Microsoft Office PowerPoint</Application>
  <PresentationFormat>Widescreen</PresentationFormat>
  <Paragraphs>696</Paragraphs>
  <Slides>26</Slides>
  <Notes>14</Notes>
  <HiddenSlides>0</HiddenSlides>
  <MMClips>0</MMClips>
  <ScaleCrop>false</ScaleCrop>
  <HeadingPairs>
    <vt:vector size="4" baseType="variant">
      <vt:variant>
        <vt:lpstr>Theme</vt:lpstr>
      </vt:variant>
      <vt:variant>
        <vt:i4>4</vt:i4>
      </vt:variant>
      <vt:variant>
        <vt:lpstr>Slide Titles</vt:lpstr>
      </vt:variant>
      <vt:variant>
        <vt:i4>26</vt:i4>
      </vt:variant>
    </vt:vector>
  </HeadingPairs>
  <TitlesOfParts>
    <vt:vector size="30" baseType="lpstr">
      <vt:lpstr>Template Printbook</vt:lpstr>
      <vt:lpstr>1_Template Printbook</vt:lpstr>
      <vt:lpstr>2_Template Printbook</vt:lpstr>
      <vt:lpstr>4_Template Printbook</vt:lpstr>
      <vt:lpstr>RSM Defense Overview</vt:lpstr>
      <vt:lpstr>Strength in numbers</vt:lpstr>
      <vt:lpstr>RSM Cyber | Meeting our clients where they need us most</vt:lpstr>
      <vt:lpstr>PowerPoint Presentation</vt:lpstr>
      <vt:lpstr>PowerPoint Presentation</vt:lpstr>
      <vt:lpstr>Day In The Life | Threat detection</vt:lpstr>
      <vt:lpstr>RSM Defense Tech Stack</vt:lpstr>
      <vt:lpstr>Fully managed NG-XDR service offering</vt:lpstr>
      <vt:lpstr>XDR Threat Detection Service</vt:lpstr>
      <vt:lpstr>XDR Service</vt:lpstr>
      <vt:lpstr>PowerPoint Presentation</vt:lpstr>
      <vt:lpstr>RSM Defense Onboarding Process</vt:lpstr>
      <vt:lpstr>Individual Services &amp; Capabilities</vt:lpstr>
      <vt:lpstr>Security monitoring and response</vt:lpstr>
      <vt:lpstr>Service Matrix</vt:lpstr>
      <vt:lpstr>PowerPoint Presentation</vt:lpstr>
      <vt:lpstr>PowerPoint Presentation</vt:lpstr>
      <vt:lpstr>PowerPoint Presentation</vt:lpstr>
      <vt:lpstr>PowerPoint Presentation</vt:lpstr>
      <vt:lpstr>PowerPoint Presentation</vt:lpstr>
      <vt:lpstr>More About RSM Defense</vt:lpstr>
      <vt:lpstr>PowerPoint Presentation</vt:lpstr>
      <vt:lpstr>RSM Defense by the numbers</vt:lpstr>
      <vt:lpstr>A Client Case Study</vt:lpstr>
      <vt:lpstr>PowerPoint Presentation</vt:lpstr>
      <vt:lpstr>PowerPoint Presentation</vt:lpstr>
    </vt:vector>
  </TitlesOfParts>
  <Company>McGladr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SM Defense Overview</dc:title>
  <dc:creator>Mahoney, Dave</dc:creator>
  <cp:lastModifiedBy>Mahoney, Dave</cp:lastModifiedBy>
  <cp:revision>2</cp:revision>
  <cp:lastPrinted>2024-04-09T14:33:44Z</cp:lastPrinted>
  <dcterms:created xsi:type="dcterms:W3CDTF">2024-04-04T12:39:40Z</dcterms:created>
  <dcterms:modified xsi:type="dcterms:W3CDTF">2024-07-17T14:2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S Create Alternate Numbering">
    <vt:bool>false</vt:bool>
  </property>
  <property fmtid="{D5CDD505-2E9C-101B-9397-08002B2CF9AE}" pid="3" name="PS Create Template Name">
    <vt:lpwstr>Widescreen</vt:lpwstr>
  </property>
  <property fmtid="{D5CDD505-2E9C-101B-9397-08002B2CF9AE}" pid="4" name="ContentTypeId">
    <vt:lpwstr>0x010100F95178AEB733DD44B60FBA5C4FA354B4</vt:lpwstr>
  </property>
  <property fmtid="{D5CDD505-2E9C-101B-9397-08002B2CF9AE}" pid="5" name="PS Create Section Nos">
    <vt:bool>true</vt:bool>
  </property>
  <property fmtid="{D5CDD505-2E9C-101B-9397-08002B2CF9AE}" pid="6" name="PS Create Appendix Nos">
    <vt:bool>true</vt:bool>
  </property>
  <property fmtid="{D5CDD505-2E9C-101B-9397-08002B2CF9AE}" pid="7" name="PS Create Divider Background">
    <vt:bool>false</vt:bool>
  </property>
  <property fmtid="{D5CDD505-2E9C-101B-9397-08002B2CF9AE}" pid="8" name="PS Create Divider Background Picture">
    <vt:lpwstr/>
  </property>
  <property fmtid="{D5CDD505-2E9C-101B-9397-08002B2CF9AE}" pid="9" name="PS Create Office Location">
    <vt:lpwstr>RSM US LLP Blue Bell</vt:lpwstr>
  </property>
</Properties>
</file>